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6.xml" ContentType="application/vnd.openxmlformats-officedocument.theme+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8.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3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9" r:id="rId5"/>
    <p:sldMasterId id="2147483676" r:id="rId6"/>
    <p:sldMasterId id="2147483683" r:id="rId7"/>
    <p:sldMasterId id="2147483690" r:id="rId8"/>
    <p:sldMasterId id="2147483697" r:id="rId9"/>
    <p:sldMasterId id="2147483705" r:id="rId10"/>
    <p:sldMasterId id="2147483734" r:id="rId11"/>
    <p:sldMasterId id="2147483765" r:id="rId12"/>
  </p:sldMasterIdLst>
  <p:notesMasterIdLst>
    <p:notesMasterId r:id="rId36"/>
  </p:notesMasterIdLst>
  <p:sldIdLst>
    <p:sldId id="262" r:id="rId13"/>
    <p:sldId id="257" r:id="rId14"/>
    <p:sldId id="258" r:id="rId15"/>
    <p:sldId id="259" r:id="rId16"/>
    <p:sldId id="302" r:id="rId17"/>
    <p:sldId id="303" r:id="rId18"/>
    <p:sldId id="333" r:id="rId19"/>
    <p:sldId id="334" r:id="rId20"/>
    <p:sldId id="339" r:id="rId21"/>
    <p:sldId id="313" r:id="rId22"/>
    <p:sldId id="274" r:id="rId23"/>
    <p:sldId id="331" r:id="rId24"/>
    <p:sldId id="273" r:id="rId25"/>
    <p:sldId id="338" r:id="rId26"/>
    <p:sldId id="341" r:id="rId27"/>
    <p:sldId id="342" r:id="rId28"/>
    <p:sldId id="343" r:id="rId29"/>
    <p:sldId id="344" r:id="rId30"/>
    <p:sldId id="345" r:id="rId31"/>
    <p:sldId id="346" r:id="rId32"/>
    <p:sldId id="355" r:id="rId33"/>
    <p:sldId id="307" r:id="rId34"/>
    <p:sldId id="351" r:id="rId3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5B9BD5"/>
    <a:srgbClr val="D83B0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snapVertSplitter="1" vertBarState="minimized" horzBarState="maximized">
    <p:restoredLeft sz="6322" autoAdjust="0"/>
    <p:restoredTop sz="96781" autoAdjust="0"/>
  </p:normalViewPr>
  <p:slideViewPr>
    <p:cSldViewPr snapToGrid="0">
      <p:cViewPr varScale="1">
        <p:scale>
          <a:sx n="92" d="100"/>
          <a:sy n="92" d="100"/>
        </p:scale>
        <p:origin x="1098" y="78"/>
      </p:cViewPr>
      <p:guideLst/>
    </p:cSldViewPr>
  </p:slideViewPr>
  <p:outlineViewPr>
    <p:cViewPr>
      <p:scale>
        <a:sx n="33" d="100"/>
        <a:sy n="33" d="100"/>
      </p:scale>
      <p:origin x="0" y="-30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65" d="100"/>
          <a:sy n="65" d="100"/>
        </p:scale>
        <p:origin x="3291" y="6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9.xml"/><Relationship Id="rId34" Type="http://schemas.openxmlformats.org/officeDocument/2006/relationships/slide" Target="slides/slide22.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4.xml"/><Relationship Id="rId20" Type="http://schemas.openxmlformats.org/officeDocument/2006/relationships/slide" Target="slides/slide8.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notesMaster" Target="notesMasters/notesMaster1.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95A6022-6469-4F9E-B558-A1B4856DEF93}" type="datetimeFigureOut">
              <a:rPr lang="en-US" smtClean="0"/>
              <a:t>12/3/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1E1D8D-1204-4C11-9A99-DC3CBA832A7C}" type="slidenum">
              <a:rPr lang="en-US" smtClean="0"/>
              <a:t>‹#›</a:t>
            </a:fld>
            <a:endParaRPr lang="en-US"/>
          </a:p>
        </p:txBody>
      </p:sp>
    </p:spTree>
    <p:extLst>
      <p:ext uri="{BB962C8B-B14F-4D97-AF65-F5344CB8AC3E}">
        <p14:creationId xmlns:p14="http://schemas.microsoft.com/office/powerpoint/2010/main" val="25240191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15000"/>
              </a:lnSpc>
              <a:spcBef>
                <a:spcPts val="0"/>
              </a:spcBef>
              <a:spcAft>
                <a:spcPts val="1015"/>
              </a:spcAft>
              <a:buClrTx/>
              <a:buSzTx/>
              <a:buFontTx/>
              <a:buChar char="-"/>
              <a:tabLst/>
              <a:defRPr/>
            </a:pPr>
            <a:endParaRPr lang="en-US" dirty="0"/>
          </a:p>
        </p:txBody>
      </p:sp>
      <p:sp>
        <p:nvSpPr>
          <p:cNvPr id="4" name="Header Placeholder 3"/>
          <p:cNvSpPr>
            <a:spLocks noGrp="1"/>
          </p:cNvSpPr>
          <p:nvPr>
            <p:ph type="hdr" sz="quarter" idx="10"/>
          </p:nvPr>
        </p:nvSpPr>
        <p:spPr>
          <a:xfrm>
            <a:off x="0" y="0"/>
            <a:ext cx="3037840" cy="461804"/>
          </a:xfrm>
          <a:prstGeom prst="rect">
            <a:avLst/>
          </a:prstGeom>
        </p:spPr>
        <p:txBody>
          <a:bodyPr lIns="92830" tIns="46415" rIns="92830" bIns="46415"/>
          <a:lstStyle/>
          <a:p>
            <a:endParaRPr lang="en-US" dirty="0">
              <a:solidFill>
                <a:prstClr val="black"/>
              </a:solidFill>
            </a:endParaRPr>
          </a:p>
        </p:txBody>
      </p:sp>
      <p:sp>
        <p:nvSpPr>
          <p:cNvPr id="5" name="Footer Placeholder 4"/>
          <p:cNvSpPr>
            <a:spLocks noGrp="1"/>
          </p:cNvSpPr>
          <p:nvPr>
            <p:ph type="ftr" sz="quarter" idx="11"/>
          </p:nvPr>
        </p:nvSpPr>
        <p:spPr>
          <a:xfrm>
            <a:off x="0" y="8772668"/>
            <a:ext cx="3037840" cy="461804"/>
          </a:xfrm>
          <a:prstGeom prst="rect">
            <a:avLst/>
          </a:prstGeom>
        </p:spPr>
        <p:txBody>
          <a:bodyPr lIns="92830" tIns="46415" rIns="92830" bIns="46415"/>
          <a:lstStyle/>
          <a:p>
            <a:pPr defTabSz="92799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27993"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970938" y="0"/>
            <a:ext cx="3037840" cy="461804"/>
          </a:xfrm>
          <a:prstGeom prst="rect">
            <a:avLst/>
          </a:prstGeom>
        </p:spPr>
        <p:txBody>
          <a:bodyPr lIns="92830" tIns="46415" rIns="92830" bIns="46415"/>
          <a:lstStyle/>
          <a:p>
            <a:fld id="{C763C1F6-9B4B-4F0C-9626-E365B2A1B9E1}"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3430819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t>10</a:t>
            </a:fld>
            <a:endParaRPr lang="en-US"/>
          </a:p>
        </p:txBody>
      </p:sp>
    </p:spTree>
    <p:extLst>
      <p:ext uri="{BB962C8B-B14F-4D97-AF65-F5344CB8AC3E}">
        <p14:creationId xmlns:p14="http://schemas.microsoft.com/office/powerpoint/2010/main" val="105302590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C1E1D8D-1204-4C11-9A99-DC3CBA832A7C}" type="slidenum">
              <a:rPr lang="en-US" smtClean="0"/>
              <a:t>11</a:t>
            </a:fld>
            <a:endParaRPr lang="en-US"/>
          </a:p>
        </p:txBody>
      </p:sp>
    </p:spTree>
    <p:extLst>
      <p:ext uri="{BB962C8B-B14F-4D97-AF65-F5344CB8AC3E}">
        <p14:creationId xmlns:p14="http://schemas.microsoft.com/office/powerpoint/2010/main" val="30557289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9276258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7" name="Slide Image Placeholder 1"/>
          <p:cNvSpPr>
            <a:spLocks noGrp="1" noRot="1" noChangeAspect="1"/>
          </p:cNvSpPr>
          <p:nvPr>
            <p:ph type="sldImg"/>
          </p:nvPr>
        </p:nvSpPr>
        <p:spPr bwMode="auto">
          <a:noFill/>
          <a:ln>
            <a:solidFill>
              <a:srgbClr val="000000"/>
            </a:solidFill>
            <a:miter lim="800000"/>
            <a:headEnd/>
            <a:tailEnd/>
          </a:ln>
          <a:extLst>
            <a:ext uri="{909E8E84-426E-40dd-AFC4-6F175D3DCCD1}">
              <a14:hiddenFill xmlns="" xmlns:a14="http://schemas.microsoft.com/office/drawing/2010/main">
                <a:solidFill>
                  <a:srgbClr val="FFFFFF"/>
                </a:solidFill>
              </a14:hiddenFill>
            </a:ext>
            <a:ext uri="{FAA26D3D-D897-4be2-8F04-BA451C77F1D7}">
              <ma14:placeholderFlag xmlns="" xmlns:ma14="http://schemas.microsoft.com/office/mac/drawingml/2011/main" val="1"/>
            </a:ext>
          </a:extLst>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5" name="Footer Placeholder 4"/>
          <p:cNvSpPr>
            <a:spLocks noGrp="1"/>
          </p:cNvSpPr>
          <p:nvPr>
            <p:ph type="ftr" sz="quarter" idx="4"/>
          </p:nvPr>
        </p:nvSpPr>
        <p:spPr>
          <a:xfrm>
            <a:off x="0" y="8829968"/>
            <a:ext cx="3037840" cy="466433"/>
          </a:xfrm>
        </p:spPr>
        <p:txBody>
          <a:bodyPr/>
          <a:lstStyle/>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49053" eaLnBrk="0" hangingPunct="0">
              <a:defRPr/>
            </a:pPr>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5540" name="Date Placeholder 5"/>
          <p:cNvSpPr>
            <a:spLocks noGrp="1"/>
          </p:cNvSpPr>
          <p:nvPr>
            <p:ph type="dt" sz="quarter" idx="1"/>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CEF0AA27-47B5-F141-B6E1-A24D30090DEA}" type="datetime1">
              <a:rPr lang="en-US">
                <a:solidFill>
                  <a:srgbClr val="000000"/>
                </a:solidFill>
                <a:latin typeface="Calibri" charset="0"/>
              </a:rPr>
              <a:pPr defTabSz="931863" fontAlgn="base">
                <a:spcBef>
                  <a:spcPct val="0"/>
                </a:spcBef>
                <a:spcAft>
                  <a:spcPct val="0"/>
                </a:spcAft>
              </a:pPr>
              <a:t>12/3/2015</a:t>
            </a:fld>
            <a:endParaRPr lang="en-US">
              <a:solidFill>
                <a:srgbClr val="000000"/>
              </a:solidFill>
              <a:latin typeface="Calibri" charset="0"/>
            </a:endParaRPr>
          </a:p>
        </p:txBody>
      </p:sp>
      <p:sp>
        <p:nvSpPr>
          <p:cNvPr id="65541" name="Slide Number Placeholder 6"/>
          <p:cNvSpPr>
            <a:spLocks noGrp="1"/>
          </p:cNvSpPr>
          <p:nvPr>
            <p:ph type="sldNum" sz="quarter" idx="5"/>
          </p:nvPr>
        </p:nvSpPr>
        <p:spPr bwMode="auto">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Segoe UI" charset="0"/>
                <a:ea typeface="ＭＳ Ｐゴシック" charset="0"/>
                <a:cs typeface="ＭＳ Ｐゴシック" charset="0"/>
              </a:defRPr>
            </a:lvl1pPr>
            <a:lvl2pPr marL="742950" indent="-285750">
              <a:defRPr>
                <a:solidFill>
                  <a:schemeClr val="tx1"/>
                </a:solidFill>
                <a:latin typeface="Segoe UI" charset="0"/>
                <a:ea typeface="ＭＳ Ｐゴシック" charset="0"/>
              </a:defRPr>
            </a:lvl2pPr>
            <a:lvl3pPr marL="1143000" indent="-228600">
              <a:defRPr>
                <a:solidFill>
                  <a:schemeClr val="tx1"/>
                </a:solidFill>
                <a:latin typeface="Segoe UI" charset="0"/>
                <a:ea typeface="ＭＳ Ｐゴシック" charset="0"/>
              </a:defRPr>
            </a:lvl3pPr>
            <a:lvl4pPr marL="1600200" indent="-228600">
              <a:defRPr>
                <a:solidFill>
                  <a:schemeClr val="tx1"/>
                </a:solidFill>
                <a:latin typeface="Segoe UI" charset="0"/>
                <a:ea typeface="ＭＳ Ｐゴシック" charset="0"/>
              </a:defRPr>
            </a:lvl4pPr>
            <a:lvl5pPr marL="2057400" indent="-228600">
              <a:defRPr>
                <a:solidFill>
                  <a:schemeClr val="tx1"/>
                </a:solidFill>
                <a:latin typeface="Segoe UI" charset="0"/>
                <a:ea typeface="ＭＳ Ｐゴシック" charset="0"/>
              </a:defRPr>
            </a:lvl5pPr>
            <a:lvl6pPr marL="2514600" indent="-228600" defTabSz="931863" fontAlgn="base">
              <a:spcBef>
                <a:spcPct val="0"/>
              </a:spcBef>
              <a:spcAft>
                <a:spcPct val="0"/>
              </a:spcAft>
              <a:defRPr>
                <a:solidFill>
                  <a:schemeClr val="tx1"/>
                </a:solidFill>
                <a:latin typeface="Segoe UI" charset="0"/>
                <a:ea typeface="ＭＳ Ｐゴシック" charset="0"/>
              </a:defRPr>
            </a:lvl6pPr>
            <a:lvl7pPr marL="2971800" indent="-228600" defTabSz="931863" fontAlgn="base">
              <a:spcBef>
                <a:spcPct val="0"/>
              </a:spcBef>
              <a:spcAft>
                <a:spcPct val="0"/>
              </a:spcAft>
              <a:defRPr>
                <a:solidFill>
                  <a:schemeClr val="tx1"/>
                </a:solidFill>
                <a:latin typeface="Segoe UI" charset="0"/>
                <a:ea typeface="ＭＳ Ｐゴシック" charset="0"/>
              </a:defRPr>
            </a:lvl7pPr>
            <a:lvl8pPr marL="3429000" indent="-228600" defTabSz="931863" fontAlgn="base">
              <a:spcBef>
                <a:spcPct val="0"/>
              </a:spcBef>
              <a:spcAft>
                <a:spcPct val="0"/>
              </a:spcAft>
              <a:defRPr>
                <a:solidFill>
                  <a:schemeClr val="tx1"/>
                </a:solidFill>
                <a:latin typeface="Segoe UI" charset="0"/>
                <a:ea typeface="ＭＳ Ｐゴシック" charset="0"/>
              </a:defRPr>
            </a:lvl8pPr>
            <a:lvl9pPr marL="3886200" indent="-228600" defTabSz="931863" fontAlgn="base">
              <a:spcBef>
                <a:spcPct val="0"/>
              </a:spcBef>
              <a:spcAft>
                <a:spcPct val="0"/>
              </a:spcAft>
              <a:defRPr>
                <a:solidFill>
                  <a:schemeClr val="tx1"/>
                </a:solidFill>
                <a:latin typeface="Segoe UI" charset="0"/>
                <a:ea typeface="ＭＳ Ｐゴシック" charset="0"/>
              </a:defRPr>
            </a:lvl9pPr>
          </a:lstStyle>
          <a:p>
            <a:pPr defTabSz="931863" fontAlgn="base">
              <a:spcBef>
                <a:spcPct val="0"/>
              </a:spcBef>
              <a:spcAft>
                <a:spcPct val="0"/>
              </a:spcAft>
            </a:pPr>
            <a:fld id="{577A0585-15A5-934F-8D5D-8936AD31FF52}" type="slidenum">
              <a:rPr lang="en-US">
                <a:solidFill>
                  <a:srgbClr val="000000"/>
                </a:solidFill>
                <a:latin typeface="Calibri" charset="0"/>
              </a:rPr>
              <a:pPr defTabSz="931863" fontAlgn="base">
                <a:spcBef>
                  <a:spcPct val="0"/>
                </a:spcBef>
                <a:spcAft>
                  <a:spcPct val="0"/>
                </a:spcAft>
              </a:pPr>
              <a:t>13</a:t>
            </a:fld>
            <a:endParaRPr lang="en-US">
              <a:solidFill>
                <a:srgbClr val="000000"/>
              </a:solidFill>
              <a:latin typeface="Calibri" charset="0"/>
            </a:endParaRPr>
          </a:p>
        </p:txBody>
      </p:sp>
    </p:spTree>
    <p:extLst>
      <p:ext uri="{BB962C8B-B14F-4D97-AF65-F5344CB8AC3E}">
        <p14:creationId xmlns:p14="http://schemas.microsoft.com/office/powerpoint/2010/main" val="277576491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40665142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195" rtl="0" eaLnBrk="1" fontAlgn="auto" latinLnBrk="0" hangingPunct="1">
              <a:lnSpc>
                <a:spcPct val="90000"/>
              </a:lnSpc>
              <a:spcBef>
                <a:spcPts val="0"/>
              </a:spcBef>
              <a:spcAft>
                <a:spcPts val="34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defTabSz="914400">
              <a:defRPr/>
            </a:pPr>
            <a:fld id="{0E0F7949-8AE9-4E5C-A2B1-913685B47E3F}" type="slidenum">
              <a:rPr lang="en-US" smtClean="0">
                <a:solidFill>
                  <a:prstClr val="black"/>
                </a:solidFill>
                <a:latin typeface="Calibri" panose="020F0502020204030204"/>
              </a:rPr>
              <a:pPr defTabSz="914400">
                <a:defRPr/>
              </a:pPr>
              <a:t>15</a:t>
            </a:fld>
            <a:endParaRPr lang="en-US">
              <a:solidFill>
                <a:prstClr val="black"/>
              </a:solidFill>
              <a:latin typeface="Calibri" panose="020F0502020204030204"/>
            </a:endParaRPr>
          </a:p>
        </p:txBody>
      </p:sp>
    </p:spTree>
    <p:extLst>
      <p:ext uri="{BB962C8B-B14F-4D97-AF65-F5344CB8AC3E}">
        <p14:creationId xmlns:p14="http://schemas.microsoft.com/office/powerpoint/2010/main" val="21182686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7C1E1D8D-1204-4C11-9A99-DC3CBA832A7C}" type="slidenum">
              <a:rPr lang="en-US" smtClean="0"/>
              <a:t>16</a:t>
            </a:fld>
            <a:endParaRPr lang="en-US"/>
          </a:p>
        </p:txBody>
      </p:sp>
    </p:spTree>
    <p:extLst>
      <p:ext uri="{BB962C8B-B14F-4D97-AF65-F5344CB8AC3E}">
        <p14:creationId xmlns:p14="http://schemas.microsoft.com/office/powerpoint/2010/main" val="7120102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F8A7F649-4D00-49D5-9A92-0B8EF338F86D}" type="slidenum">
              <a:rPr lang="en-US" smtClean="0"/>
              <a:t>17</a:t>
            </a:fld>
            <a:endParaRPr lang="en-US"/>
          </a:p>
        </p:txBody>
      </p:sp>
    </p:spTree>
    <p:extLst>
      <p:ext uri="{BB962C8B-B14F-4D97-AF65-F5344CB8AC3E}">
        <p14:creationId xmlns:p14="http://schemas.microsoft.com/office/powerpoint/2010/main" val="23291184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A7F649-4D00-49D5-9A92-0B8EF338F86D}" type="slidenum">
              <a:rPr lang="en-US" smtClean="0"/>
              <a:t>18</a:t>
            </a:fld>
            <a:endParaRPr lang="en-US"/>
          </a:p>
        </p:txBody>
      </p:sp>
    </p:spTree>
    <p:extLst>
      <p:ext uri="{BB962C8B-B14F-4D97-AF65-F5344CB8AC3E}">
        <p14:creationId xmlns:p14="http://schemas.microsoft.com/office/powerpoint/2010/main" val="11545489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8A7F649-4D00-49D5-9A92-0B8EF338F86D}" type="slidenum">
              <a:rPr lang="en-US" smtClean="0"/>
              <a:t>19</a:t>
            </a:fld>
            <a:endParaRPr lang="en-US"/>
          </a:p>
        </p:txBody>
      </p:sp>
    </p:spTree>
    <p:extLst>
      <p:ext uri="{BB962C8B-B14F-4D97-AF65-F5344CB8AC3E}">
        <p14:creationId xmlns:p14="http://schemas.microsoft.com/office/powerpoint/2010/main" val="10611408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15000"/>
              </a:lnSpc>
              <a:spcAft>
                <a:spcPts val="1030"/>
              </a:spcAft>
            </a:pPr>
            <a:endParaRPr lang="en-US" dirty="0"/>
          </a:p>
        </p:txBody>
      </p:sp>
      <p:sp>
        <p:nvSpPr>
          <p:cNvPr id="4" name="Header Placeholder 3"/>
          <p:cNvSpPr>
            <a:spLocks noGrp="1"/>
          </p:cNvSpPr>
          <p:nvPr>
            <p:ph type="hdr" sz="quarter" idx="10"/>
          </p:nvPr>
        </p:nvSpPr>
        <p:spPr>
          <a:xfrm>
            <a:off x="0" y="0"/>
            <a:ext cx="2971800" cy="458788"/>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0" y="8685213"/>
            <a:ext cx="2971800" cy="458787"/>
          </a:xfrm>
          <a:prstGeom prst="rect">
            <a:avLst/>
          </a:prstGeom>
        </p:spPr>
        <p:txBody>
          <a:bodyPr/>
          <a:lstStyle/>
          <a:p>
            <a:pPr defTabSz="9403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403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6" name="Date Placeholder 5"/>
          <p:cNvSpPr>
            <a:spLocks noGrp="1"/>
          </p:cNvSpPr>
          <p:nvPr>
            <p:ph type="dt" idx="12"/>
          </p:nvPr>
        </p:nvSpPr>
        <p:spPr>
          <a:xfrm>
            <a:off x="3884613" y="0"/>
            <a:ext cx="2971800" cy="458788"/>
          </a:xfrm>
          <a:prstGeom prst="rect">
            <a:avLst/>
          </a:prstGeom>
        </p:spPr>
        <p:txBody>
          <a:bodyPr/>
          <a:lstStyle/>
          <a:p>
            <a:fld id="{3AF89109-FECF-4F55-875E-EAF014861D0D}"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31411844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7C1E1D8D-1204-4C11-9A99-DC3CBA832A7C}" type="slidenum">
              <a:rPr lang="en-US" smtClean="0"/>
              <a:t>20</a:t>
            </a:fld>
            <a:endParaRPr lang="en-US"/>
          </a:p>
        </p:txBody>
      </p:sp>
    </p:spTree>
    <p:extLst>
      <p:ext uri="{BB962C8B-B14F-4D97-AF65-F5344CB8AC3E}">
        <p14:creationId xmlns:p14="http://schemas.microsoft.com/office/powerpoint/2010/main" val="22471858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21</a:t>
            </a:fld>
            <a:endParaRPr lang="en-US">
              <a:solidFill>
                <a:prstClr val="black"/>
              </a:solidFill>
            </a:endParaRPr>
          </a:p>
        </p:txBody>
      </p:sp>
    </p:spTree>
    <p:extLst>
      <p:ext uri="{BB962C8B-B14F-4D97-AF65-F5344CB8AC3E}">
        <p14:creationId xmlns:p14="http://schemas.microsoft.com/office/powerpoint/2010/main" val="337905306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2</a:t>
            </a:fld>
            <a:endParaRPr lang="en-US" dirty="0">
              <a:solidFill>
                <a:prstClr val="black"/>
              </a:solidFill>
            </a:endParaRPr>
          </a:p>
        </p:txBody>
      </p:sp>
    </p:spTree>
    <p:extLst>
      <p:ext uri="{BB962C8B-B14F-4D97-AF65-F5344CB8AC3E}">
        <p14:creationId xmlns:p14="http://schemas.microsoft.com/office/powerpoint/2010/main" val="102717527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a:xfrm>
            <a:off x="0" y="0"/>
            <a:ext cx="2971800" cy="457200"/>
          </a:xfrm>
          <a:prstGeom prst="rect">
            <a:avLst/>
          </a:prstGeom>
        </p:spPr>
        <p:txBody>
          <a:bodyPr/>
          <a:lstStyle/>
          <a:p>
            <a:endParaRPr lang="en-US" dirty="0">
              <a:solidFill>
                <a:prstClr val="black"/>
              </a:solidFill>
            </a:endParaRPr>
          </a:p>
        </p:txBody>
      </p:sp>
      <p:sp>
        <p:nvSpPr>
          <p:cNvPr id="5" name="Date Placeholder 4"/>
          <p:cNvSpPr>
            <a:spLocks noGrp="1"/>
          </p:cNvSpPr>
          <p:nvPr>
            <p:ph type="dt" idx="11"/>
          </p:nvPr>
        </p:nvSpPr>
        <p:spPr/>
        <p:txBody>
          <a:bodyPr/>
          <a:lstStyle/>
          <a:p>
            <a:fld id="{8A17D118-1690-458F-B4D2-F9DA5D6F5033}" type="datetime8">
              <a:rPr lang="en-US" smtClean="0">
                <a:solidFill>
                  <a:prstClr val="black"/>
                </a:solidFill>
              </a:rPr>
              <a:t>12/3/2015 9:36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23</a:t>
            </a:fld>
            <a:endParaRPr lang="en-US" dirty="0">
              <a:solidFill>
                <a:prstClr val="black"/>
              </a:solidFill>
            </a:endParaRPr>
          </a:p>
        </p:txBody>
      </p:sp>
      <p:sp>
        <p:nvSpPr>
          <p:cNvPr id="6" name="Footer Placeholder 5"/>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62031400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a:xfrm>
            <a:off x="0" y="8759190"/>
            <a:ext cx="5986526" cy="358930"/>
          </a:xfrm>
          <a:prstGeom prst="rect">
            <a:avLst/>
          </a:prstGeom>
        </p:spPr>
        <p:txBody>
          <a:bodyPr/>
          <a:lstStyle/>
          <a:p>
            <a:pPr defTabSz="92278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a:xfrm>
            <a:off x="3927775" y="0"/>
            <a:ext cx="3004820" cy="461010"/>
          </a:xfrm>
          <a:prstGeom prst="rect">
            <a:avLst/>
          </a:prstGeom>
        </p:spPr>
        <p:txBody>
          <a:bodyPr/>
          <a:lstStyle/>
          <a:p>
            <a:fld id="{E74353ED-ACB2-44BF-A903-985B0AF962B7}" type="datetime1">
              <a:rPr lang="en-US" smtClean="0"/>
              <a:t>12/3/2015</a:t>
            </a:fld>
            <a:endParaRPr lang="en-US" dirty="0"/>
          </a:p>
        </p:txBody>
      </p:sp>
      <p:sp>
        <p:nvSpPr>
          <p:cNvPr id="6" name="Slide Number Placeholder 5"/>
          <p:cNvSpPr>
            <a:spLocks noGrp="1"/>
          </p:cNvSpPr>
          <p:nvPr>
            <p:ph type="sldNum" sz="quarter" idx="12"/>
          </p:nvPr>
        </p:nvSpPr>
        <p:spPr/>
        <p:txBody>
          <a:bodyPr/>
          <a:lstStyle/>
          <a:p>
            <a:fld id="{B4008EB6-D09E-4580-8CD6-DDB14511944F}" type="slidenum">
              <a:rPr lang="en-US" smtClean="0"/>
              <a:pPr/>
              <a:t>3</a:t>
            </a:fld>
            <a:endParaRPr lang="en-US" dirty="0"/>
          </a:p>
        </p:txBody>
      </p:sp>
    </p:spTree>
    <p:extLst>
      <p:ext uri="{BB962C8B-B14F-4D97-AF65-F5344CB8AC3E}">
        <p14:creationId xmlns:p14="http://schemas.microsoft.com/office/powerpoint/2010/main" val="1174256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D6231CE3-B2D1-4742-A673-59FD91330216}" type="slidenum">
              <a:rPr lang="en-US" smtClean="0"/>
              <a:t>4</a:t>
            </a:fld>
            <a:endParaRPr lang="en-US"/>
          </a:p>
        </p:txBody>
      </p:sp>
    </p:spTree>
    <p:extLst>
      <p:ext uri="{BB962C8B-B14F-4D97-AF65-F5344CB8AC3E}">
        <p14:creationId xmlns:p14="http://schemas.microsoft.com/office/powerpoint/2010/main" val="4384007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0287572B-4882-432D-8FBF-D254F398B3AA}"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14086658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35070528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8A5F27D4-9122-47BC-9AC6-5C9D2E3822B3}" type="datetime1">
              <a:rPr lang="en-US" smtClean="0">
                <a:solidFill>
                  <a:prstClr val="black"/>
                </a:solidFill>
              </a:rPr>
              <a:pPr/>
              <a:t>12/3/2015</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3466173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1E4B192-2ACB-489C-8CF8-80A7D5A4C412}"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317668659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300000"/>
              </a:lnSpc>
              <a:spcBef>
                <a:spcPts val="600"/>
              </a:spcBef>
              <a:spcAft>
                <a:spcPts val="600"/>
              </a:spcAft>
            </a:pPr>
            <a:endParaRPr lang="en-US" dirty="0"/>
          </a:p>
        </p:txBody>
      </p:sp>
      <p:sp>
        <p:nvSpPr>
          <p:cNvPr id="4" name="Slide Number Placeholder 3"/>
          <p:cNvSpPr>
            <a:spLocks noGrp="1"/>
          </p:cNvSpPr>
          <p:nvPr>
            <p:ph type="sldNum" sz="quarter" idx="10"/>
          </p:nvPr>
        </p:nvSpPr>
        <p:spPr/>
        <p:txBody>
          <a:bodyPr/>
          <a:lstStyle/>
          <a:p>
            <a:fld id="{7C1E1D8D-1204-4C11-9A99-DC3CBA832A7C}" type="slidenum">
              <a:rPr lang="en-US" smtClean="0"/>
              <a:t>9</a:t>
            </a:fld>
            <a:endParaRPr lang="en-US"/>
          </a:p>
        </p:txBody>
      </p:sp>
    </p:spTree>
    <p:extLst>
      <p:ext uri="{BB962C8B-B14F-4D97-AF65-F5344CB8AC3E}">
        <p14:creationId xmlns:p14="http://schemas.microsoft.com/office/powerpoint/2010/main" val="115953407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8.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8.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6.png"/><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image" Target="../media/image4.jp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5.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5" Type="http://schemas.openxmlformats.org/officeDocument/2006/relationships/image" Target="../media/image3.emf"/><Relationship Id="rId4" Type="http://schemas.openxmlformats.org/officeDocument/2006/relationships/oleObject" Target="../embeddings/oleObject6.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5" Type="http://schemas.openxmlformats.org/officeDocument/2006/relationships/image" Target="../media/image3.emf"/><Relationship Id="rId4" Type="http://schemas.openxmlformats.org/officeDocument/2006/relationships/oleObject" Target="../embeddings/oleObject7.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5" Type="http://schemas.openxmlformats.org/officeDocument/2006/relationships/image" Target="../media/image3.emf"/><Relationship Id="rId4" Type="http://schemas.openxmlformats.org/officeDocument/2006/relationships/oleObject" Target="../embeddings/oleObject8.bin"/></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6.png"/><Relationship Id="rId2" Type="http://schemas.openxmlformats.org/officeDocument/2006/relationships/tags" Target="../tags/tag10.xml"/><Relationship Id="rId1" Type="http://schemas.openxmlformats.org/officeDocument/2006/relationships/vmlDrawing" Target="../drawings/vmlDrawing10.vml"/><Relationship Id="rId6" Type="http://schemas.openxmlformats.org/officeDocument/2006/relationships/image" Target="../media/image3.emf"/><Relationship Id="rId5" Type="http://schemas.openxmlformats.org/officeDocument/2006/relationships/oleObject" Target="../embeddings/oleObject10.bin"/><Relationship Id="rId4" Type="http://schemas.openxmlformats.org/officeDocument/2006/relationships/image" Target="../media/image4.jp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11.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3.emf"/><Relationship Id="rId4" Type="http://schemas.openxmlformats.org/officeDocument/2006/relationships/oleObject" Target="../embeddings/oleObject12.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3.emf"/><Relationship Id="rId4" Type="http://schemas.openxmlformats.org/officeDocument/2006/relationships/oleObject" Target="../embeddings/oleObject13.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4.vml"/><Relationship Id="rId5" Type="http://schemas.openxmlformats.org/officeDocument/2006/relationships/image" Target="../media/image3.emf"/><Relationship Id="rId4" Type="http://schemas.openxmlformats.org/officeDocument/2006/relationships/oleObject" Target="../embeddings/oleObject14.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png"/><Relationship Id="rId2" Type="http://schemas.openxmlformats.org/officeDocument/2006/relationships/tags" Target="../tags/tag16.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oleObject" Target="../embeddings/oleObject16.bin"/><Relationship Id="rId4" Type="http://schemas.openxmlformats.org/officeDocument/2006/relationships/image" Target="../media/image4.jp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xml"/><Relationship Id="rId1" Type="http://schemas.openxmlformats.org/officeDocument/2006/relationships/vmlDrawing" Target="../drawings/vmlDrawing17.v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17.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xml"/><Relationship Id="rId1" Type="http://schemas.openxmlformats.org/officeDocument/2006/relationships/vmlDrawing" Target="../drawings/vmlDrawing18.vml"/><Relationship Id="rId5" Type="http://schemas.openxmlformats.org/officeDocument/2006/relationships/image" Target="../media/image3.emf"/><Relationship Id="rId4" Type="http://schemas.openxmlformats.org/officeDocument/2006/relationships/oleObject" Target="../embeddings/oleObject18.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xml"/><Relationship Id="rId1" Type="http://schemas.openxmlformats.org/officeDocument/2006/relationships/vmlDrawing" Target="../drawings/vmlDrawing19.vml"/><Relationship Id="rId5" Type="http://schemas.openxmlformats.org/officeDocument/2006/relationships/image" Target="../media/image3.emf"/><Relationship Id="rId4" Type="http://schemas.openxmlformats.org/officeDocument/2006/relationships/oleObject" Target="../embeddings/oleObject19.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xml"/><Relationship Id="rId1" Type="http://schemas.openxmlformats.org/officeDocument/2006/relationships/vmlDrawing" Target="../drawings/vmlDrawing20.vml"/><Relationship Id="rId5" Type="http://schemas.openxmlformats.org/officeDocument/2006/relationships/image" Target="../media/image3.emf"/><Relationship Id="rId4" Type="http://schemas.openxmlformats.org/officeDocument/2006/relationships/oleObject" Target="../embeddings/oleObject20.bin"/></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7" Type="http://schemas.openxmlformats.org/officeDocument/2006/relationships/image" Target="../media/image6.png"/><Relationship Id="rId2" Type="http://schemas.openxmlformats.org/officeDocument/2006/relationships/tags" Target="../tags/tag22.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oleObject" Target="../embeddings/oleObject22.bin"/><Relationship Id="rId4" Type="http://schemas.openxmlformats.org/officeDocument/2006/relationships/image" Target="../media/image4.jpg"/></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3.v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23.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4.vml"/><Relationship Id="rId5" Type="http://schemas.openxmlformats.org/officeDocument/2006/relationships/image" Target="../media/image3.emf"/><Relationship Id="rId4" Type="http://schemas.openxmlformats.org/officeDocument/2006/relationships/oleObject" Target="../embeddings/oleObject24.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5.vml"/><Relationship Id="rId5" Type="http://schemas.openxmlformats.org/officeDocument/2006/relationships/image" Target="../media/image3.emf"/><Relationship Id="rId4" Type="http://schemas.openxmlformats.org/officeDocument/2006/relationships/oleObject" Target="../embeddings/oleObject25.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6.vml"/><Relationship Id="rId5" Type="http://schemas.openxmlformats.org/officeDocument/2006/relationships/image" Target="../media/image3.emf"/><Relationship Id="rId4" Type="http://schemas.openxmlformats.org/officeDocument/2006/relationships/oleObject" Target="../embeddings/oleObject26.bin"/></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6.xml"/><Relationship Id="rId7" Type="http://schemas.openxmlformats.org/officeDocument/2006/relationships/image" Target="../media/image6.png"/><Relationship Id="rId2" Type="http://schemas.openxmlformats.org/officeDocument/2006/relationships/tags" Target="../tags/tag28.xml"/><Relationship Id="rId1" Type="http://schemas.openxmlformats.org/officeDocument/2006/relationships/vmlDrawing" Target="../drawings/vmlDrawing28.vml"/><Relationship Id="rId6" Type="http://schemas.openxmlformats.org/officeDocument/2006/relationships/image" Target="../media/image3.emf"/><Relationship Id="rId5" Type="http://schemas.openxmlformats.org/officeDocument/2006/relationships/oleObject" Target="../embeddings/oleObject28.bin"/><Relationship Id="rId4" Type="http://schemas.openxmlformats.org/officeDocument/2006/relationships/image" Target="../media/image4.jp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29.xml"/><Relationship Id="rId1" Type="http://schemas.openxmlformats.org/officeDocument/2006/relationships/vmlDrawing" Target="../drawings/vmlDrawing29.vml"/><Relationship Id="rId6" Type="http://schemas.openxmlformats.org/officeDocument/2006/relationships/image" Target="../media/image4.jpg"/><Relationship Id="rId5" Type="http://schemas.openxmlformats.org/officeDocument/2006/relationships/image" Target="../media/image3.emf"/><Relationship Id="rId4" Type="http://schemas.openxmlformats.org/officeDocument/2006/relationships/oleObject" Target="../embeddings/oleObject29.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0.xml"/><Relationship Id="rId1" Type="http://schemas.openxmlformats.org/officeDocument/2006/relationships/vmlDrawing" Target="../drawings/vmlDrawing30.vml"/><Relationship Id="rId5" Type="http://schemas.openxmlformats.org/officeDocument/2006/relationships/image" Target="../media/image3.emf"/><Relationship Id="rId4" Type="http://schemas.openxmlformats.org/officeDocument/2006/relationships/oleObject" Target="../embeddings/oleObject30.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1.xml"/><Relationship Id="rId1" Type="http://schemas.openxmlformats.org/officeDocument/2006/relationships/vmlDrawing" Target="../drawings/vmlDrawing31.vml"/><Relationship Id="rId5" Type="http://schemas.openxmlformats.org/officeDocument/2006/relationships/image" Target="../media/image3.emf"/><Relationship Id="rId4" Type="http://schemas.openxmlformats.org/officeDocument/2006/relationships/oleObject" Target="../embeddings/oleObject31.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32.xml"/><Relationship Id="rId1" Type="http://schemas.openxmlformats.org/officeDocument/2006/relationships/vmlDrawing" Target="../drawings/vmlDrawing32.vml"/><Relationship Id="rId5" Type="http://schemas.openxmlformats.org/officeDocument/2006/relationships/image" Target="../media/image3.emf"/><Relationship Id="rId4" Type="http://schemas.openxmlformats.org/officeDocument/2006/relationships/oleObject" Target="../embeddings/oleObject32.bin"/></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7.xml"/><Relationship Id="rId4" Type="http://schemas.openxmlformats.org/officeDocument/2006/relationships/image" Target="../media/image10.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8.xml"/><Relationship Id="rId4" Type="http://schemas.openxmlformats.org/officeDocument/2006/relationships/image" Target="../media/image10.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8.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F387C1BE-9B19-41F9-838B-B934ABEFFCBD}" type="datetimeFigureOut">
              <a:rPr lang="en-US" smtClean="0"/>
              <a:t>1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419452696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387C1BE-9B19-41F9-838B-B934ABEFFCBD}" type="datetimeFigureOut">
              <a:rPr lang="en-US" smtClean="0"/>
              <a:t>1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333467169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75027867"/>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5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836995090"/>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5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4046663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112652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8_Title Slide Solid">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15486"/>
          <a:stretch/>
        </p:blipFill>
        <p:spPr>
          <a:xfrm>
            <a:off x="-1" y="-9524"/>
            <a:ext cx="12191999" cy="6867523"/>
          </a:xfrm>
          <a:prstGeom prst="rect">
            <a:avLst/>
          </a:prstGeom>
        </p:spPr>
      </p:pic>
      <p:sp>
        <p:nvSpPr>
          <p:cNvPr id="6" name="Rectangle 5"/>
          <p:cNvSpPr/>
          <p:nvPr userDrawn="1"/>
        </p:nvSpPr>
        <p:spPr bwMode="auto">
          <a:xfrm>
            <a:off x="269240" y="291070"/>
            <a:ext cx="6276530" cy="6278977"/>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175715" tIns="140572" rIns="175715" bIns="140572"/>
          <a:lstStyle/>
          <a:p>
            <a:pPr algn="ctr" defTabSz="895912" fontAlgn="base">
              <a:lnSpc>
                <a:spcPct val="90000"/>
              </a:lnSpc>
              <a:spcBef>
                <a:spcPct val="0"/>
              </a:spcBef>
              <a:spcAft>
                <a:spcPct val="0"/>
              </a:spcAft>
              <a:defRPr/>
            </a:pPr>
            <a:endParaRPr lang="en-US" sz="2306" dirty="0" err="1">
              <a:gradFill>
                <a:gsLst>
                  <a:gs pos="0">
                    <a:srgbClr val="FFFFFF"/>
                  </a:gs>
                  <a:gs pos="100000">
                    <a:srgbClr val="FFFFFF"/>
                  </a:gs>
                </a:gsLst>
                <a:lin ang="5400000" scaled="0"/>
              </a:gradFill>
              <a:ea typeface="Segoe UI" pitchFamily="34" charset="0"/>
              <a:cs typeface="Segoe UI" pitchFamily="34" charset="0"/>
            </a:endParaRPr>
          </a:p>
        </p:txBody>
      </p:sp>
      <p:pic>
        <p:nvPicPr>
          <p:cNvPr id="7" name="Picture 7"/>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auto">
          <a:xfrm>
            <a:off x="515135" y="552661"/>
            <a:ext cx="1229472" cy="26285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 name="TextBox 7"/>
          <p:cNvSpPr txBox="1"/>
          <p:nvPr userDrawn="1"/>
        </p:nvSpPr>
        <p:spPr>
          <a:xfrm>
            <a:off x="9918257" y="-1024186"/>
            <a:ext cx="896425" cy="896552"/>
          </a:xfrm>
          <a:prstGeom prst="rect">
            <a:avLst/>
          </a:prstGeom>
          <a:noFill/>
        </p:spPr>
        <p:txBody>
          <a:bodyPr wrap="none" lIns="175715" tIns="140572" rIns="175715" bIns="140572"/>
          <a:lstStyle/>
          <a:p>
            <a:pPr defTabSz="895327" fontAlgn="base">
              <a:lnSpc>
                <a:spcPct val="90000"/>
              </a:lnSpc>
              <a:spcBef>
                <a:spcPct val="0"/>
              </a:spcBef>
              <a:spcAft>
                <a:spcPts val="576"/>
              </a:spcAft>
              <a:defRPr/>
            </a:pPr>
            <a:endParaRPr lang="en-US" sz="2306" dirty="0">
              <a:gradFill>
                <a:gsLst>
                  <a:gs pos="2917">
                    <a:srgbClr val="000000"/>
                  </a:gs>
                  <a:gs pos="30000">
                    <a:srgbClr val="000000"/>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5715" tIns="140572" rIns="175715" bIns="140572"/>
          <a:lstStyle/>
          <a:p>
            <a:pPr defTabSz="895327" fontAlgn="base">
              <a:lnSpc>
                <a:spcPct val="90000"/>
              </a:lnSpc>
              <a:spcBef>
                <a:spcPct val="0"/>
              </a:spcBef>
              <a:spcAft>
                <a:spcPts val="576"/>
              </a:spcAft>
              <a:defRPr/>
            </a:pPr>
            <a:endParaRPr lang="en-US" sz="2306" dirty="0">
              <a:gradFill>
                <a:gsLst>
                  <a:gs pos="2917">
                    <a:srgbClr val="000000"/>
                  </a:gs>
                  <a:gs pos="30000">
                    <a:srgbClr val="000000"/>
                  </a:gs>
                </a:gsLst>
                <a:lin ang="5400000" scaled="0"/>
              </a:gradFill>
              <a:ea typeface="MS PGothic" charset="0"/>
            </a:endParaRPr>
          </a:p>
        </p:txBody>
      </p:sp>
      <p:sp>
        <p:nvSpPr>
          <p:cNvPr id="17" name="Title 1"/>
          <p:cNvSpPr>
            <a:spLocks noGrp="1"/>
          </p:cNvSpPr>
          <p:nvPr>
            <p:ph type="ctrTitle"/>
          </p:nvPr>
        </p:nvSpPr>
        <p:spPr>
          <a:xfrm>
            <a:off x="375953" y="1413022"/>
            <a:ext cx="6171371" cy="2488894"/>
          </a:xfrm>
        </p:spPr>
        <p:txBody>
          <a:bodyPr/>
          <a:lstStyle>
            <a:lvl1pPr>
              <a:defRPr sz="5765" baseline="0">
                <a:solidFill>
                  <a:schemeClr val="bg1"/>
                </a:solidFill>
              </a:defRPr>
            </a:lvl1pPr>
          </a:lstStyle>
          <a:p>
            <a:r>
              <a:rPr lang="en-US" dirty="0" smtClean="0"/>
              <a:t>Click to edit Master title style</a:t>
            </a:r>
            <a:endParaRPr lang="en-US" dirty="0"/>
          </a:p>
        </p:txBody>
      </p:sp>
      <p:sp>
        <p:nvSpPr>
          <p:cNvPr id="19" name="Subtitle 2"/>
          <p:cNvSpPr>
            <a:spLocks noGrp="1"/>
          </p:cNvSpPr>
          <p:nvPr>
            <p:ph type="subTitle" idx="1"/>
          </p:nvPr>
        </p:nvSpPr>
        <p:spPr>
          <a:xfrm>
            <a:off x="375955" y="5296816"/>
            <a:ext cx="5720046" cy="607067"/>
          </a:xfrm>
        </p:spPr>
        <p:txBody>
          <a:bodyPr anchor="ctr"/>
          <a:lstStyle>
            <a:lvl1pPr marL="0" indent="0" algn="l">
              <a:lnSpc>
                <a:spcPct val="100000"/>
              </a:lnSpc>
              <a:spcBef>
                <a:spcPts val="0"/>
              </a:spcBef>
              <a:buNone/>
              <a:defRPr sz="1537">
                <a:solidFill>
                  <a:schemeClr val="bg1"/>
                </a:solidFill>
                <a:latin typeface="+mj-lt"/>
              </a:defRPr>
            </a:lvl1pPr>
            <a:lvl2pPr marL="439274" indent="0" algn="ctr">
              <a:buNone/>
              <a:defRPr>
                <a:solidFill>
                  <a:schemeClr val="tx1">
                    <a:tint val="75000"/>
                  </a:schemeClr>
                </a:solidFill>
              </a:defRPr>
            </a:lvl2pPr>
            <a:lvl3pPr marL="878548" indent="0" algn="ctr">
              <a:buNone/>
              <a:defRPr>
                <a:solidFill>
                  <a:schemeClr val="tx1">
                    <a:tint val="75000"/>
                  </a:schemeClr>
                </a:solidFill>
              </a:defRPr>
            </a:lvl3pPr>
            <a:lvl4pPr marL="1317822" indent="0" algn="ctr">
              <a:buNone/>
              <a:defRPr>
                <a:solidFill>
                  <a:schemeClr val="tx1">
                    <a:tint val="75000"/>
                  </a:schemeClr>
                </a:solidFill>
              </a:defRPr>
            </a:lvl4pPr>
            <a:lvl5pPr marL="1757097" indent="0" algn="ctr">
              <a:buNone/>
              <a:defRPr>
                <a:solidFill>
                  <a:schemeClr val="tx1">
                    <a:tint val="75000"/>
                  </a:schemeClr>
                </a:solidFill>
              </a:defRPr>
            </a:lvl5pPr>
            <a:lvl6pPr marL="2196371" indent="0" algn="ctr">
              <a:buNone/>
              <a:defRPr>
                <a:solidFill>
                  <a:schemeClr val="tx1">
                    <a:tint val="75000"/>
                  </a:schemeClr>
                </a:solidFill>
              </a:defRPr>
            </a:lvl6pPr>
            <a:lvl7pPr marL="2635644" indent="0" algn="ctr">
              <a:buNone/>
              <a:defRPr>
                <a:solidFill>
                  <a:schemeClr val="tx1">
                    <a:tint val="75000"/>
                  </a:schemeClr>
                </a:solidFill>
              </a:defRPr>
            </a:lvl7pPr>
            <a:lvl8pPr marL="3074919" indent="0" algn="ctr">
              <a:buNone/>
              <a:defRPr>
                <a:solidFill>
                  <a:schemeClr val="tx1">
                    <a:tint val="75000"/>
                  </a:schemeClr>
                </a:solidFill>
              </a:defRPr>
            </a:lvl8pPr>
            <a:lvl9pPr marL="3514193" indent="0" algn="ctr">
              <a:buNone/>
              <a:defRPr>
                <a:solidFill>
                  <a:schemeClr val="tx1">
                    <a:tint val="75000"/>
                  </a:schemeClr>
                </a:solidFill>
              </a:defRPr>
            </a:lvl9pPr>
          </a:lstStyle>
          <a:p>
            <a:r>
              <a:rPr lang="en-US" smtClean="0"/>
              <a:t>Click to edit Master subtitle style</a:t>
            </a:r>
            <a:endParaRPr lang="en-US" dirty="0" smtClean="0"/>
          </a:p>
        </p:txBody>
      </p:sp>
    </p:spTree>
    <p:extLst>
      <p:ext uri="{BB962C8B-B14F-4D97-AF65-F5344CB8AC3E}">
        <p14:creationId xmlns:p14="http://schemas.microsoft.com/office/powerpoint/2010/main" val="70084013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9_Title Slide Solid">
    <p:spTree>
      <p:nvGrpSpPr>
        <p:cNvPr id="1" name=""/>
        <p:cNvGrpSpPr/>
        <p:nvPr/>
      </p:nvGrpSpPr>
      <p:grpSpPr>
        <a:xfrm>
          <a:off x="0" y="0"/>
          <a:ext cx="0" cy="0"/>
          <a:chOff x="0" y="0"/>
          <a:chExt cx="0" cy="0"/>
        </a:xfrm>
      </p:grpSpPr>
      <p:sp>
        <p:nvSpPr>
          <p:cNvPr id="8" name="TextBox 7"/>
          <p:cNvSpPr txBox="1"/>
          <p:nvPr userDrawn="1"/>
        </p:nvSpPr>
        <p:spPr>
          <a:xfrm>
            <a:off x="9918257" y="-1024186"/>
            <a:ext cx="896425" cy="896552"/>
          </a:xfrm>
          <a:prstGeom prst="rect">
            <a:avLst/>
          </a:prstGeom>
          <a:noFill/>
        </p:spPr>
        <p:txBody>
          <a:bodyPr wrap="none" lIns="175715" tIns="140572" rIns="175715" bIns="140572"/>
          <a:lstStyle/>
          <a:p>
            <a:pPr defTabSz="895327" fontAlgn="base">
              <a:lnSpc>
                <a:spcPct val="90000"/>
              </a:lnSpc>
              <a:spcBef>
                <a:spcPct val="0"/>
              </a:spcBef>
              <a:spcAft>
                <a:spcPts val="576"/>
              </a:spcAft>
              <a:defRPr/>
            </a:pPr>
            <a:endParaRPr lang="en-US" sz="2306" dirty="0">
              <a:gradFill>
                <a:gsLst>
                  <a:gs pos="2917">
                    <a:srgbClr val="000000"/>
                  </a:gs>
                  <a:gs pos="30000">
                    <a:srgbClr val="000000"/>
                  </a:gs>
                </a:gsLst>
                <a:lin ang="5400000" scaled="0"/>
              </a:gradFill>
              <a:ea typeface="MS PGothic" charset="0"/>
            </a:endParaRPr>
          </a:p>
        </p:txBody>
      </p:sp>
      <p:sp>
        <p:nvSpPr>
          <p:cNvPr id="9" name="TextBox 8"/>
          <p:cNvSpPr txBox="1"/>
          <p:nvPr userDrawn="1"/>
        </p:nvSpPr>
        <p:spPr>
          <a:xfrm>
            <a:off x="11052793" y="-1674809"/>
            <a:ext cx="896425" cy="896552"/>
          </a:xfrm>
          <a:prstGeom prst="rect">
            <a:avLst/>
          </a:prstGeom>
          <a:noFill/>
        </p:spPr>
        <p:txBody>
          <a:bodyPr wrap="none" lIns="175715" tIns="140572" rIns="175715" bIns="140572"/>
          <a:lstStyle/>
          <a:p>
            <a:pPr defTabSz="895327" fontAlgn="base">
              <a:lnSpc>
                <a:spcPct val="90000"/>
              </a:lnSpc>
              <a:spcBef>
                <a:spcPct val="0"/>
              </a:spcBef>
              <a:spcAft>
                <a:spcPts val="576"/>
              </a:spcAft>
              <a:defRPr/>
            </a:pPr>
            <a:endParaRPr lang="en-US" sz="2306" dirty="0">
              <a:gradFill>
                <a:gsLst>
                  <a:gs pos="2917">
                    <a:srgbClr val="000000"/>
                  </a:gs>
                  <a:gs pos="30000">
                    <a:srgbClr val="000000"/>
                  </a:gs>
                </a:gsLst>
                <a:lin ang="5400000" scaled="0"/>
              </a:gradFill>
              <a:ea typeface="MS PGothic" charset="0"/>
            </a:endParaRPr>
          </a:p>
        </p:txBody>
      </p:sp>
      <p:pic>
        <p:nvPicPr>
          <p:cNvPr id="5" name="Picture 4"/>
          <p:cNvPicPr>
            <a:picLocks noChangeAspect="1"/>
          </p:cNvPicPr>
          <p:nvPr userDrawn="1"/>
        </p:nvPicPr>
        <p:blipFill rotWithShape="1">
          <a:blip r:embed="rId2">
            <a:extLst>
              <a:ext uri="{28A0092B-C50C-407E-A947-70E740481C1C}">
                <a14:useLocalDpi xmlns:a14="http://schemas.microsoft.com/office/drawing/2010/main" val="0"/>
              </a:ext>
            </a:extLst>
          </a:blip>
          <a:srcRect t="15486"/>
          <a:stretch/>
        </p:blipFill>
        <p:spPr>
          <a:xfrm>
            <a:off x="-1" y="-9524"/>
            <a:ext cx="12191999" cy="6867523"/>
          </a:xfrm>
          <a:prstGeom prst="rect">
            <a:avLst/>
          </a:prstGeom>
        </p:spPr>
      </p:pic>
    </p:spTree>
    <p:extLst>
      <p:ext uri="{BB962C8B-B14F-4D97-AF65-F5344CB8AC3E}">
        <p14:creationId xmlns:p14="http://schemas.microsoft.com/office/powerpoint/2010/main" val="1489838132"/>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690" kern="1200" smtClean="0">
                <a:solidFill>
                  <a:schemeClr val="tx2"/>
                </a:solidFill>
                <a:latin typeface="+mj-lt"/>
                <a:ea typeface="+mn-ea"/>
                <a:cs typeface="+mn-cs"/>
              </a:defRPr>
            </a:lvl1pPr>
            <a:lvl2pPr marL="0" indent="0">
              <a:buNone/>
              <a:defRPr lang="en-US" sz="3046" kern="1200" smtClean="0">
                <a:solidFill>
                  <a:schemeClr val="bg1"/>
                </a:solidFill>
                <a:latin typeface="+mj-lt"/>
                <a:ea typeface="+mn-ea"/>
                <a:cs typeface="+mn-cs"/>
              </a:defRPr>
            </a:lvl2pPr>
            <a:lvl3pPr marL="0" indent="0">
              <a:buNone/>
              <a:defRPr lang="en-US" sz="3046" kern="1200" smtClean="0">
                <a:solidFill>
                  <a:schemeClr val="bg1"/>
                </a:solidFill>
                <a:latin typeface="+mj-lt"/>
                <a:ea typeface="+mn-ea"/>
                <a:cs typeface="+mn-cs"/>
              </a:defRPr>
            </a:lvl3pPr>
            <a:lvl4pPr marL="0" indent="0">
              <a:buNone/>
              <a:defRPr lang="en-US" sz="3046" kern="1200" smtClean="0">
                <a:solidFill>
                  <a:schemeClr val="bg1"/>
                </a:solidFill>
                <a:latin typeface="+mj-lt"/>
                <a:ea typeface="+mn-ea"/>
                <a:cs typeface="+mn-cs"/>
              </a:defRPr>
            </a:lvl4pPr>
            <a:lvl5pPr marL="0" indent="0">
              <a:buNone/>
              <a:defRPr lang="en-US" sz="3046"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670776192"/>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Footer Placeholder 1"/>
          <p:cNvSpPr>
            <a:spLocks noGrp="1"/>
          </p:cNvSpPr>
          <p:nvPr>
            <p:ph type="ftr" sz="quarter" idx="10"/>
          </p:nvPr>
        </p:nvSpPr>
        <p:spPr/>
        <p:txBody>
          <a:bodyPr/>
          <a:lstStyle>
            <a:lvl1pPr fontAlgn="base">
              <a:spcBef>
                <a:spcPct val="0"/>
              </a:spcBef>
              <a:spcAft>
                <a:spcPct val="0"/>
              </a:spcAft>
              <a:defRPr>
                <a:solidFill>
                  <a:srgbClr val="000000"/>
                </a:solidFill>
              </a:defRPr>
            </a:lvl1pPr>
          </a:lstStyle>
          <a:p>
            <a:pPr>
              <a:defRPr/>
            </a:pPr>
            <a:r>
              <a:t>Microsoft Confidential</a:t>
            </a:r>
          </a:p>
        </p:txBody>
      </p:sp>
      <p:sp>
        <p:nvSpPr>
          <p:cNvPr id="3" name="Slide Number Placeholder 2"/>
          <p:cNvSpPr>
            <a:spLocks noGrp="1"/>
          </p:cNvSpPr>
          <p:nvPr>
            <p:ph type="sldNum" sz="quarter" idx="11"/>
          </p:nvPr>
        </p:nvSpPr>
        <p:spPr/>
        <p:txBody>
          <a:bodyPr/>
          <a:lstStyle>
            <a:lvl1pPr>
              <a:defRPr>
                <a:solidFill>
                  <a:srgbClr val="000000"/>
                </a:solidFill>
              </a:defRPr>
            </a:lvl1pPr>
          </a:lstStyle>
          <a:p>
            <a:fld id="{675909FA-3F91-0646-A6A8-60C236B90508}" type="slidenum">
              <a:rPr lang="en-US"/>
              <a:pPr/>
              <a:t>‹#›</a:t>
            </a:fld>
            <a:endParaRPr lang="en-US"/>
          </a:p>
        </p:txBody>
      </p:sp>
    </p:spTree>
    <p:extLst>
      <p:ext uri="{BB962C8B-B14F-4D97-AF65-F5344CB8AC3E}">
        <p14:creationId xmlns:p14="http://schemas.microsoft.com/office/powerpoint/2010/main" val="3761368594"/>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Title Only">
    <p:bg>
      <p:bgPr>
        <a:solidFill>
          <a:schemeClr val="bg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147604290"/>
      </p:ext>
    </p:extLst>
  </p:cSld>
  <p:clrMapOvr>
    <a:masterClrMapping/>
  </p:clrMapOvr>
  <p:transition spd="med">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5098"/>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838844" y="6356803"/>
            <a:ext cx="2742188" cy="364224"/>
          </a:xfrm>
          <a:prstGeom prst="rect">
            <a:avLst/>
          </a:prstGeom>
        </p:spPr>
        <p:txBody>
          <a:bodyPr vert="horz" wrap="square" lIns="93269" tIns="46634" rIns="93269" bIns="46634" numCol="1" anchor="t" anchorCtr="0" compatLnSpc="1">
            <a:prstTxWarp prst="textNoShape">
              <a:avLst/>
            </a:prstTxWarp>
          </a:bodyPr>
          <a:lstStyle>
            <a:lvl1pPr>
              <a:defRPr/>
            </a:lvl1pPr>
          </a:lstStyle>
          <a:p>
            <a:pPr defTabSz="895327" fontAlgn="base">
              <a:spcBef>
                <a:spcPct val="0"/>
              </a:spcBef>
              <a:spcAft>
                <a:spcPct val="0"/>
              </a:spcAft>
            </a:pPr>
            <a:fld id="{408A1D38-3FFF-6847-BA5D-DDD4EBA3D353}" type="datetimeFigureOut">
              <a:rPr lang="en-US" sz="2306" smtClean="0">
                <a:solidFill>
                  <a:srgbClr val="000000"/>
                </a:solidFill>
                <a:ea typeface="ＭＳ Ｐゴシック" charset="0"/>
              </a:rPr>
              <a:pPr defTabSz="895327" fontAlgn="base">
                <a:spcBef>
                  <a:spcPct val="0"/>
                </a:spcBef>
                <a:spcAft>
                  <a:spcPct val="0"/>
                </a:spcAft>
              </a:pPr>
              <a:t>12/3/2015</a:t>
            </a:fld>
            <a:endParaRPr lang="en-US" sz="2306">
              <a:solidFill>
                <a:srgbClr val="000000"/>
              </a:solidFill>
              <a:ea typeface="ＭＳ Ｐゴシック" charset="0"/>
            </a:endParaRPr>
          </a:p>
        </p:txBody>
      </p:sp>
      <p:sp>
        <p:nvSpPr>
          <p:cNvPr id="5" name="Footer Placeholder 4"/>
          <p:cNvSpPr>
            <a:spLocks noGrp="1"/>
          </p:cNvSpPr>
          <p:nvPr>
            <p:ph type="ftr" sz="quarter" idx="11"/>
          </p:nvPr>
        </p:nvSpPr>
        <p:spPr/>
        <p:txBody>
          <a:bodyPr/>
          <a:lstStyle>
            <a:lvl1pPr>
              <a:defRPr/>
            </a:lvl1pPr>
          </a:lstStyle>
          <a:p>
            <a:pPr>
              <a:defRPr/>
            </a:pPr>
            <a:endParaRPr/>
          </a:p>
        </p:txBody>
      </p:sp>
      <p:sp>
        <p:nvSpPr>
          <p:cNvPr id="6" name="Slide Number Placeholder 5"/>
          <p:cNvSpPr>
            <a:spLocks noGrp="1"/>
          </p:cNvSpPr>
          <p:nvPr>
            <p:ph type="sldNum" sz="quarter" idx="12"/>
          </p:nvPr>
        </p:nvSpPr>
        <p:spPr/>
        <p:txBody>
          <a:bodyPr/>
          <a:lstStyle>
            <a:lvl1pPr>
              <a:defRPr/>
            </a:lvl1pPr>
          </a:lstStyle>
          <a:p>
            <a:fld id="{1FFE1056-4441-BC46-B7C7-76B2715806F2}" type="slidenum">
              <a:rPr lang="en-US"/>
              <a:pPr/>
              <a:t>‹#›</a:t>
            </a:fld>
            <a:endParaRPr lang="en-US"/>
          </a:p>
        </p:txBody>
      </p:sp>
    </p:spTree>
    <p:extLst>
      <p:ext uri="{BB962C8B-B14F-4D97-AF65-F5344CB8AC3E}">
        <p14:creationId xmlns:p14="http://schemas.microsoft.com/office/powerpoint/2010/main" val="257225447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387C1BE-9B19-41F9-838B-B934ABEFFCBD}" type="datetimeFigureOut">
              <a:rPr lang="en-US" smtClean="0"/>
              <a:t>1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131083034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Blank Accent Color 1">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911789517"/>
      </p:ext>
    </p:extLst>
  </p:cSld>
  <p:clrMapOvr>
    <a:masterClrMapping/>
  </p:clrMapOvr>
  <p:transition>
    <p:fade/>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Speaker notes">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bg1"/>
                </a:solidFill>
              </a:defRPr>
            </a:lvl1pPr>
          </a:lstStyle>
          <a:p>
            <a:r>
              <a:rPr lang="en-US" dirty="0" smtClean="0"/>
              <a:t>Click to add title</a:t>
            </a:r>
            <a:endParaRPr lang="en-US" dirty="0"/>
          </a:p>
        </p:txBody>
      </p:sp>
      <p:sp>
        <p:nvSpPr>
          <p:cNvPr id="5" name="Text Placeholder 15"/>
          <p:cNvSpPr>
            <a:spLocks noGrp="1"/>
          </p:cNvSpPr>
          <p:nvPr>
            <p:ph type="body" sz="quarter" idx="14" hasCustomPrompt="1"/>
          </p:nvPr>
        </p:nvSpPr>
        <p:spPr>
          <a:xfrm>
            <a:off x="227071" y="1600201"/>
            <a:ext cx="11356757" cy="4572000"/>
          </a:xfrm>
        </p:spPr>
        <p:txBody>
          <a:bodyPr/>
          <a:lstStyle>
            <a:lvl1pPr>
              <a:buClr>
                <a:schemeClr val="bg1"/>
              </a:buCl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Click to add speaker not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2394" tIns="76197" rIns="152394" bIns="76197" anchor="b" anchorCtr="0">
            <a:noAutofit/>
          </a:bodyPr>
          <a:lstStyle>
            <a:lvl1pPr algn="r">
              <a:buFont typeface="Arial" pitchFamily="34" charset="0"/>
              <a:buNone/>
              <a:defRPr sz="3627" spc="-59" baseline="0">
                <a:gradFill>
                  <a:gsLst>
                    <a:gs pos="0">
                      <a:srgbClr val="000000"/>
                    </a:gs>
                    <a:gs pos="100000">
                      <a:srgbClr val="000000"/>
                    </a:gs>
                  </a:gsLst>
                  <a:lin ang="5400000" scaled="0"/>
                </a:gradFill>
                <a:effectLst/>
                <a:latin typeface="Segoe UI Light" pitchFamily="34" charset="0"/>
                <a:ea typeface="Segoe UI" pitchFamily="34" charset="0"/>
                <a:cs typeface="Segoe UI" pitchFamily="34" charset="0"/>
              </a:defRPr>
            </a:lvl1pPr>
          </a:lstStyle>
          <a:p>
            <a:pPr lvl="0"/>
            <a:r>
              <a:rPr lang="en-US" dirty="0" smtClean="0"/>
              <a:t>Next slide topic</a:t>
            </a:r>
          </a:p>
        </p:txBody>
      </p:sp>
    </p:spTree>
    <p:extLst>
      <p:ext uri="{BB962C8B-B14F-4D97-AF65-F5344CB8AC3E}">
        <p14:creationId xmlns:p14="http://schemas.microsoft.com/office/powerpoint/2010/main" val="469470217"/>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001">
    <p:spTree>
      <p:nvGrpSpPr>
        <p:cNvPr id="1" name=""/>
        <p:cNvGrpSpPr/>
        <p:nvPr/>
      </p:nvGrpSpPr>
      <p:grpSpPr>
        <a:xfrm>
          <a:off x="0" y="0"/>
          <a:ext cx="0" cy="0"/>
          <a:chOff x="0" y="0"/>
          <a:chExt cx="0" cy="0"/>
        </a:xfrm>
      </p:grpSpPr>
      <p:sp>
        <p:nvSpPr>
          <p:cNvPr id="6" name="Text Placeholder 5"/>
          <p:cNvSpPr>
            <a:spLocks noGrp="1"/>
          </p:cNvSpPr>
          <p:nvPr>
            <p:ph type="body" sz="quarter" idx="13" hasCustomPrompt="1"/>
          </p:nvPr>
        </p:nvSpPr>
        <p:spPr>
          <a:xfrm>
            <a:off x="1" y="573605"/>
            <a:ext cx="11510053" cy="373063"/>
          </a:xfrm>
          <a:prstGeom prst="rect">
            <a:avLst/>
          </a:prstGeom>
          <a:noFill/>
        </p:spPr>
        <p:txBody>
          <a:bodyPr lIns="380893" tIns="53325" rIns="53325" bIns="53325">
            <a:noAutofit/>
          </a:bodyPr>
          <a:lstStyle>
            <a:lvl1pPr marL="0" indent="0">
              <a:buNone/>
              <a:defRPr sz="2000">
                <a:latin typeface="Segoe UI Light" pitchFamily="34" charset="0"/>
              </a:defRPr>
            </a:lvl1pPr>
            <a:lvl2pPr marL="281674" indent="0">
              <a:buNone/>
              <a:defRPr/>
            </a:lvl2pPr>
            <a:lvl3pPr marL="588476" indent="0">
              <a:buNone/>
              <a:defRPr/>
            </a:lvl3pPr>
            <a:lvl4pPr marL="870150" indent="0">
              <a:buNone/>
              <a:defRPr/>
            </a:lvl4pPr>
            <a:lvl5pPr marL="1105540" indent="0">
              <a:buNone/>
              <a:defRPr/>
            </a:lvl5pPr>
          </a:lstStyle>
          <a:p>
            <a:pPr lvl="0"/>
            <a:r>
              <a:rPr lang="en-US" dirty="0" smtClean="0"/>
              <a:t>Click to add subtitle</a:t>
            </a:r>
          </a:p>
        </p:txBody>
      </p:sp>
      <p:sp>
        <p:nvSpPr>
          <p:cNvPr id="9" name="8 Título"/>
          <p:cNvSpPr>
            <a:spLocks noGrp="1"/>
          </p:cNvSpPr>
          <p:nvPr>
            <p:ph type="title" hasCustomPrompt="1"/>
          </p:nvPr>
        </p:nvSpPr>
        <p:spPr>
          <a:xfrm>
            <a:off x="1" y="2"/>
            <a:ext cx="11510053" cy="646042"/>
          </a:xfrm>
        </p:spPr>
        <p:txBody>
          <a:bodyPr>
            <a:normAutofit/>
          </a:bodyPr>
          <a:lstStyle>
            <a:lvl1pPr>
              <a:defRPr sz="4000">
                <a:solidFill>
                  <a:schemeClr val="tx1"/>
                </a:solidFill>
                <a:latin typeface="Segoe UI Light" panose="020B0502040204020203" pitchFamily="34" charset="0"/>
                <a:cs typeface="Segoe UI Light" panose="020B0502040204020203" pitchFamily="34" charset="0"/>
              </a:defRPr>
            </a:lvl1pPr>
          </a:lstStyle>
          <a:p>
            <a:r>
              <a:rPr lang="es-ES" dirty="0" smtClean="0"/>
              <a:t>Click to add title</a:t>
            </a:r>
            <a:endParaRPr lang="es-AR" dirty="0"/>
          </a:p>
        </p:txBody>
      </p:sp>
    </p:spTree>
    <p:extLst>
      <p:ext uri="{BB962C8B-B14F-4D97-AF65-F5344CB8AC3E}">
        <p14:creationId xmlns:p14="http://schemas.microsoft.com/office/powerpoint/2010/main" val="84533452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5_EXAMPLE ONLY: Title with photo">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15486"/>
          <a:stretch/>
        </p:blipFill>
        <p:spPr>
          <a:xfrm>
            <a:off x="-1" y="-9525"/>
            <a:ext cx="12191999" cy="6867523"/>
          </a:xfrm>
          <a:prstGeom prst="rect">
            <a:avLst/>
          </a:prstGeom>
        </p:spPr>
      </p:pic>
      <p:sp>
        <p:nvSpPr>
          <p:cNvPr id="12" name="Rectangle 11"/>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3" name="Rectangle 12"/>
          <p:cNvSpPr/>
          <p:nvPr/>
        </p:nvSpPr>
        <p:spPr bwMode="gray">
          <a:xfrm>
            <a:off x="150852" y="2057400"/>
            <a:ext cx="5487829" cy="3657600"/>
          </a:xfrm>
          <a:prstGeom prst="rect">
            <a:avLst/>
          </a:prstGeom>
          <a:solidFill>
            <a:schemeClr val="bg2">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4009"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150852" y="2057400"/>
            <a:ext cx="5487829" cy="2743426"/>
          </a:xfrm>
          <a:noFill/>
        </p:spPr>
        <p:txBody>
          <a:bodyPr vert="horz" lIns="137160" tIns="182880" rIns="146304" bIns="91440" rtlCol="0" anchor="t" anchorCtr="0">
            <a:normAutofit/>
          </a:bodyPr>
          <a:lstStyle>
            <a:lvl1pPr>
              <a:defRPr lang="en-US" sz="4400" spc="-98"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4" name="Text Placeholder 3"/>
          <p:cNvSpPr>
            <a:spLocks noGrp="1"/>
          </p:cNvSpPr>
          <p:nvPr>
            <p:ph type="body" sz="quarter" idx="10" hasCustomPrompt="1"/>
          </p:nvPr>
        </p:nvSpPr>
        <p:spPr>
          <a:xfrm>
            <a:off x="150852" y="4800600"/>
            <a:ext cx="5487829" cy="914400"/>
          </a:xfrm>
        </p:spPr>
        <p:txBody>
          <a:bodyPr lIns="137160" tIns="91440">
            <a:noAutofit/>
          </a:bodyPr>
          <a:lstStyle>
            <a:lvl1pPr marL="0" indent="0">
              <a:spcBef>
                <a:spcPts val="0"/>
              </a:spcBef>
              <a:buNone/>
              <a:defRPr sz="2000">
                <a:solidFill>
                  <a:schemeClr val="bg1"/>
                </a:solidFill>
              </a:defRPr>
            </a:lvl1pPr>
            <a:lvl2pPr marL="281674" indent="0">
              <a:buNone/>
              <a:defRPr sz="2000">
                <a:solidFill>
                  <a:schemeClr val="bg1"/>
                </a:solidFill>
              </a:defRPr>
            </a:lvl2pPr>
            <a:lvl3pPr marL="588476" indent="0">
              <a:buNone/>
              <a:defRPr sz="2000">
                <a:solidFill>
                  <a:schemeClr val="bg1"/>
                </a:solidFill>
              </a:defRPr>
            </a:lvl3pPr>
            <a:lvl4pPr marL="870150" indent="0">
              <a:buNone/>
              <a:defRPr sz="2000">
                <a:solidFill>
                  <a:schemeClr val="bg1"/>
                </a:solidFill>
              </a:defRPr>
            </a:lvl4pPr>
            <a:lvl5pPr marL="1105540" indent="0">
              <a:buNone/>
              <a:defRPr sz="2000">
                <a:solidFill>
                  <a:schemeClr val="bg1"/>
                </a:solidFill>
              </a:defRPr>
            </a:lvl5pPr>
          </a:lstStyle>
          <a:p>
            <a:pPr lvl="0"/>
            <a:r>
              <a:rPr lang="en-US" dirty="0" smtClean="0"/>
              <a:t>Speaker Name</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9245" y="198358"/>
            <a:ext cx="1948179" cy="716439"/>
          </a:xfrm>
          <a:prstGeom prst="rect">
            <a:avLst/>
          </a:prstGeom>
        </p:spPr>
      </p:pic>
    </p:spTree>
    <p:extLst>
      <p:ext uri="{BB962C8B-B14F-4D97-AF65-F5344CB8AC3E}">
        <p14:creationId xmlns:p14="http://schemas.microsoft.com/office/powerpoint/2010/main" val="3283624084"/>
      </p:ext>
    </p:extLst>
  </p:cSld>
  <p:clrMapOvr>
    <a:masterClrMapping/>
  </p:clrMapOvr>
  <p:transition>
    <p:fade/>
  </p:transition>
  <p:extLst mod="1">
    <p:ext uri="{DCECCB84-F9BA-43D5-87BE-67443E8EF086}">
      <p15:sldGuideLst xmlns:p15="http://schemas.microsoft.com/office/powerpoint/2012/main">
        <p15:guide id="1" pos="95">
          <p15:clr>
            <a:srgbClr val="5ACBF0"/>
          </p15:clr>
        </p15:guide>
        <p15:guide id="2" pos="671">
          <p15:clr>
            <a:srgbClr val="5ACBF0"/>
          </p15:clr>
        </p15:guide>
        <p15:guide id="3" pos="1247">
          <p15:clr>
            <a:srgbClr val="5ACBF0"/>
          </p15:clr>
        </p15:guide>
        <p15:guide id="4" pos="1823">
          <p15:clr>
            <a:srgbClr val="5ACBF0"/>
          </p15:clr>
        </p15:guide>
        <p15:guide id="5" pos="2399">
          <p15:clr>
            <a:srgbClr val="5ACBF0"/>
          </p15:clr>
        </p15:guide>
        <p15:guide id="6" pos="2975">
          <p15:clr>
            <a:srgbClr val="5ACBF0"/>
          </p15:clr>
        </p15:guide>
        <p15:guide id="7" pos="3551">
          <p15:clr>
            <a:srgbClr val="5ACBF0"/>
          </p15:clr>
        </p15:guide>
        <p15:guide id="8" pos="4127">
          <p15:clr>
            <a:srgbClr val="5ACBF0"/>
          </p15:clr>
        </p15:guide>
        <p15:guide id="9" pos="4703">
          <p15:clr>
            <a:srgbClr val="5ACBF0"/>
          </p15:clr>
        </p15:guide>
        <p15:guide id="10" pos="5279">
          <p15:clr>
            <a:srgbClr val="5ACBF0"/>
          </p15:clr>
        </p15:guide>
        <p15:guide id="11" pos="5855">
          <p15:clr>
            <a:srgbClr val="5ACBF0"/>
          </p15:clr>
        </p15:guide>
        <p15:guide id="12" pos="6431">
          <p15:clr>
            <a:srgbClr val="5ACBF0"/>
          </p15:clr>
        </p15:guide>
        <p15:guide id="13" pos="7007">
          <p15:clr>
            <a:srgbClr val="5ACBF0"/>
          </p15:clr>
        </p15:guide>
        <p15:guide id="14" pos="7583">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519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8">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16119740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621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spTree>
    <p:extLst>
      <p:ext uri="{BB962C8B-B14F-4D97-AF65-F5344CB8AC3E}">
        <p14:creationId xmlns:p14="http://schemas.microsoft.com/office/powerpoint/2010/main" val="292539277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6_Blank Color 1 Layout">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81000" y="2103013"/>
            <a:ext cx="10473690" cy="2040559"/>
          </a:xfrm>
        </p:spPr>
        <p:txBody>
          <a:bodyPr/>
          <a:lstStyle>
            <a:lvl1pPr>
              <a:defRPr sz="7200">
                <a:solidFill>
                  <a:schemeClr val="bg1"/>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4126132444"/>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2pt Title + Subtitl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269241" y="1117577"/>
            <a:ext cx="10816237" cy="563458"/>
          </a:xfrm>
          <a:prstGeom prst="rect">
            <a:avLst/>
          </a:prstGeom>
        </p:spPr>
        <p:txBody>
          <a:bodyPr lIns="192024"/>
          <a:lstStyle>
            <a:lvl1pPr marL="0" indent="0">
              <a:buNone/>
              <a:defRPr lang="en-US" sz="2690" kern="1200" smtClean="0">
                <a:solidFill>
                  <a:schemeClr val="tx2"/>
                </a:solidFill>
                <a:latin typeface="+mj-lt"/>
                <a:ea typeface="+mn-ea"/>
                <a:cs typeface="+mn-cs"/>
              </a:defRPr>
            </a:lvl1pPr>
            <a:lvl2pPr marL="0" indent="0">
              <a:buNone/>
              <a:defRPr lang="en-US" sz="3046" kern="1200" smtClean="0">
                <a:solidFill>
                  <a:schemeClr val="bg1"/>
                </a:solidFill>
                <a:latin typeface="+mj-lt"/>
                <a:ea typeface="+mn-ea"/>
                <a:cs typeface="+mn-cs"/>
              </a:defRPr>
            </a:lvl2pPr>
            <a:lvl3pPr marL="0" indent="0">
              <a:buNone/>
              <a:defRPr lang="en-US" sz="3046" kern="1200" smtClean="0">
                <a:solidFill>
                  <a:schemeClr val="bg1"/>
                </a:solidFill>
                <a:latin typeface="+mj-lt"/>
                <a:ea typeface="+mn-ea"/>
                <a:cs typeface="+mn-cs"/>
              </a:defRPr>
            </a:lvl3pPr>
            <a:lvl4pPr marL="0" indent="0">
              <a:buNone/>
              <a:defRPr lang="en-US" sz="3046" kern="1200" smtClean="0">
                <a:solidFill>
                  <a:schemeClr val="bg1"/>
                </a:solidFill>
                <a:latin typeface="+mj-lt"/>
                <a:ea typeface="+mn-ea"/>
                <a:cs typeface="+mn-cs"/>
              </a:defRPr>
            </a:lvl4pPr>
            <a:lvl5pPr marL="0" indent="0">
              <a:buNone/>
              <a:defRPr lang="en-US" sz="3046" kern="1200">
                <a:solidFill>
                  <a:schemeClr val="bg1"/>
                </a:solidFill>
                <a:latin typeface="+mj-lt"/>
                <a:ea typeface="+mn-ea"/>
                <a:cs typeface="+mn-cs"/>
              </a:defRPr>
            </a:lvl5pPr>
          </a:lstStyle>
          <a:p>
            <a:pPr lvl="0"/>
            <a:r>
              <a:rPr lang="en-US" smtClean="0"/>
              <a:t>Click to edit Master text styles</a:t>
            </a:r>
            <a:endParaRPr lang="en-US"/>
          </a:p>
        </p:txBody>
      </p:sp>
      <p:sp>
        <p:nvSpPr>
          <p:cNvPr id="7" name="Title 2"/>
          <p:cNvSpPr>
            <a:spLocks noGrp="1"/>
          </p:cNvSpPr>
          <p:nvPr>
            <p:ph type="title"/>
          </p:nvPr>
        </p:nvSpPr>
        <p:spPr>
          <a:xfrm>
            <a:off x="268927" y="286381"/>
            <a:ext cx="11653523" cy="927940"/>
          </a:xfrm>
          <a:prstGeom prst="rect">
            <a:avLst/>
          </a:prstGeom>
        </p:spPr>
        <p:txBody>
          <a:bodyPr/>
          <a:lstStyle>
            <a:lvl1pPr algn="l">
              <a:defRPr sz="5098">
                <a:solidFill>
                  <a:schemeClr val="tx2"/>
                </a:solidFill>
              </a:defRPr>
            </a:lvl1pPr>
          </a:lstStyle>
          <a:p>
            <a:r>
              <a:rPr lang="en-US" dirty="0" smtClean="0"/>
              <a:t>Click to edit Master title style</a:t>
            </a:r>
            <a:endParaRPr lang="en-US" dirty="0"/>
          </a:p>
        </p:txBody>
      </p:sp>
      <p:sp>
        <p:nvSpPr>
          <p:cNvPr id="4" name="Footer Placeholder 2"/>
          <p:cNvSpPr>
            <a:spLocks noGrp="1"/>
          </p:cNvSpPr>
          <p:nvPr>
            <p:ph type="ftr" sz="quarter" idx="14"/>
          </p:nvPr>
        </p:nvSpPr>
        <p:spPr/>
        <p:txBody>
          <a:bodyPr/>
          <a:lstStyle>
            <a:lvl1pPr fontAlgn="base">
              <a:spcBef>
                <a:spcPct val="0"/>
              </a:spcBef>
              <a:spcAft>
                <a:spcPct val="0"/>
              </a:spcAft>
              <a:defRPr>
                <a:solidFill>
                  <a:srgbClr val="505050"/>
                </a:solidFill>
              </a:defRPr>
            </a:lvl1pPr>
          </a:lstStyle>
          <a:p>
            <a:pPr>
              <a:defRPr/>
            </a:pPr>
            <a:r>
              <a:t>Microsoft Confidential</a:t>
            </a:r>
          </a:p>
        </p:txBody>
      </p:sp>
      <p:sp>
        <p:nvSpPr>
          <p:cNvPr id="5" name="Slide Number Placeholder 3"/>
          <p:cNvSpPr>
            <a:spLocks noGrp="1"/>
          </p:cNvSpPr>
          <p:nvPr>
            <p:ph type="sldNum" sz="quarter" idx="15"/>
          </p:nvPr>
        </p:nvSpPr>
        <p:spPr/>
        <p:txBody>
          <a:bodyPr/>
          <a:lstStyle>
            <a:lvl1pPr>
              <a:defRPr/>
            </a:lvl1pPr>
          </a:lstStyle>
          <a:p>
            <a:fld id="{6052FC3A-E1BD-E54F-9A48-71EBDEF00552}" type="slidenum">
              <a:rPr lang="en-US"/>
              <a:pPr/>
              <a:t>‹#›</a:t>
            </a:fld>
            <a:endParaRPr lang="en-US"/>
          </a:p>
        </p:txBody>
      </p:sp>
    </p:spTree>
    <p:extLst>
      <p:ext uri="{BB962C8B-B14F-4D97-AF65-F5344CB8AC3E}">
        <p14:creationId xmlns:p14="http://schemas.microsoft.com/office/powerpoint/2010/main" val="288015399"/>
      </p:ext>
    </p:extLst>
  </p:cSld>
  <p:clrMapOvr>
    <a:overrideClrMapping bg1="lt1" tx1="dk1" bg2="lt2" tx2="dk2" accent1="accent1" accent2="accent2" accent3="accent3" accent4="accent4" accent5="accent5" accent6="accent6" hlink="hlink" folHlink="folHlink"/>
  </p:clrMapOvr>
  <p:transition spd="med">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chemeClr val="tx1"/>
                    </a:gs>
                    <a:gs pos="100000">
                      <a:schemeClr val="tx1"/>
                    </a:gs>
                  </a:gsLst>
                  <a:lin ang="5400000" scaled="0"/>
                </a:gradFill>
                <a:cs typeface="Segoe UI" pitchFamily="34" charset="0"/>
              </a:rPr>
              <a:t>© </a:t>
            </a:r>
            <a:r>
              <a:rPr lang="en-US" sz="686" dirty="0" smtClean="0">
                <a:gradFill>
                  <a:gsLst>
                    <a:gs pos="0">
                      <a:schemeClr val="tx1"/>
                    </a:gs>
                    <a:gs pos="100000">
                      <a:schemeClr val="tx1"/>
                    </a:gs>
                  </a:gsLst>
                  <a:lin ang="5400000" scaled="0"/>
                </a:gradFill>
                <a:cs typeface="Segoe UI" pitchFamily="34" charset="0"/>
              </a:rPr>
              <a:t>2015 </a:t>
            </a:r>
            <a:r>
              <a:rPr lang="en-US" sz="686" dirty="0">
                <a:gradFill>
                  <a:gsLst>
                    <a:gs pos="0">
                      <a:schemeClr val="tx1"/>
                    </a:gs>
                    <a:gs pos="100000">
                      <a:schemeClr val="tx1"/>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25482153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927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3"/>
            <a:ext cx="6271860" cy="627586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19604" y="1428404"/>
            <a:ext cx="5378548" cy="879910"/>
          </a:xfrm>
          <a:prstGeom prst="rect">
            <a:avLst/>
          </a:prstGeom>
        </p:spPr>
        <p:txBody>
          <a:bodyPr/>
          <a:lstStyle>
            <a:lvl1pPr>
              <a:defRPr sz="49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1034782"/>
          </a:xfrm>
          <a:prstGeom prst="rect">
            <a:avLst/>
          </a:prstGeom>
        </p:spPr>
        <p:txBody>
          <a:bodyPr/>
          <a:lstStyle>
            <a:lvl1pPr marL="0" indent="0" algn="l">
              <a:lnSpc>
                <a:spcPts val="2595"/>
              </a:lnSpc>
              <a:buNone/>
              <a:defRPr sz="2115">
                <a:solidFill>
                  <a:schemeClr val="bg1"/>
                </a:solidFill>
                <a:latin typeface="+mj-lt"/>
              </a:defRPr>
            </a:lvl1pPr>
            <a:lvl2pPr marL="439195" indent="0" algn="ctr">
              <a:buNone/>
              <a:defRPr>
                <a:solidFill>
                  <a:schemeClr val="tx1">
                    <a:tint val="75000"/>
                  </a:schemeClr>
                </a:solidFill>
              </a:defRPr>
            </a:lvl2pPr>
            <a:lvl3pPr marL="878390" indent="0" algn="ctr">
              <a:buNone/>
              <a:defRPr>
                <a:solidFill>
                  <a:schemeClr val="tx1">
                    <a:tint val="75000"/>
                  </a:schemeClr>
                </a:solidFill>
              </a:defRPr>
            </a:lvl3pPr>
            <a:lvl4pPr marL="1317585" indent="0" algn="ctr">
              <a:buNone/>
              <a:defRPr>
                <a:solidFill>
                  <a:schemeClr val="tx1">
                    <a:tint val="75000"/>
                  </a:schemeClr>
                </a:solidFill>
              </a:defRPr>
            </a:lvl4pPr>
            <a:lvl5pPr marL="1756781" indent="0" algn="ctr">
              <a:buNone/>
              <a:defRPr>
                <a:solidFill>
                  <a:schemeClr val="tx1">
                    <a:tint val="75000"/>
                  </a:schemeClr>
                </a:solidFill>
              </a:defRPr>
            </a:lvl5pPr>
            <a:lvl6pPr marL="2195974" indent="0" algn="ctr">
              <a:buNone/>
              <a:defRPr>
                <a:solidFill>
                  <a:schemeClr val="tx1">
                    <a:tint val="75000"/>
                  </a:schemeClr>
                </a:solidFill>
              </a:defRPr>
            </a:lvl6pPr>
            <a:lvl7pPr marL="2635170" indent="0" algn="ctr">
              <a:buNone/>
              <a:defRPr>
                <a:solidFill>
                  <a:schemeClr val="tx1">
                    <a:tint val="75000"/>
                  </a:schemeClr>
                </a:solidFill>
              </a:defRPr>
            </a:lvl7pPr>
            <a:lvl8pPr marL="3074365" indent="0" algn="ctr">
              <a:buNone/>
              <a:defRPr>
                <a:solidFill>
                  <a:schemeClr val="tx1">
                    <a:tint val="75000"/>
                  </a:schemeClr>
                </a:solidFill>
              </a:defRPr>
            </a:lvl8pPr>
            <a:lvl9pPr marL="3513559"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3" y="470410"/>
            <a:ext cx="1278487" cy="280186"/>
          </a:xfrm>
          <a:prstGeom prst="rect">
            <a:avLst/>
          </a:prstGeom>
        </p:spPr>
      </p:pic>
      <p:sp>
        <p:nvSpPr>
          <p:cNvPr id="14" name="Text Placeholder 7"/>
          <p:cNvSpPr>
            <a:spLocks noGrp="1"/>
          </p:cNvSpPr>
          <p:nvPr>
            <p:ph type="body" sz="quarter" idx="10" hasCustomPrompt="1"/>
          </p:nvPr>
        </p:nvSpPr>
        <p:spPr>
          <a:xfrm>
            <a:off x="322715" y="2997067"/>
            <a:ext cx="5392555" cy="863866"/>
          </a:xfrm>
          <a:prstGeom prst="rect">
            <a:avLst/>
          </a:prstGeom>
        </p:spPr>
        <p:txBody>
          <a:bodyPr/>
          <a:lstStyle>
            <a:lvl1pPr marL="0" indent="0">
              <a:buNone/>
              <a:defRPr sz="2691" baseline="0">
                <a:solidFill>
                  <a:schemeClr val="bg1"/>
                </a:solidFill>
                <a:latin typeface="+mj-lt"/>
              </a:defRPr>
            </a:lvl1pPr>
            <a:lvl2pPr marL="329396" indent="0">
              <a:buNone/>
              <a:defRPr sz="1536">
                <a:solidFill>
                  <a:schemeClr val="bg1"/>
                </a:solidFill>
                <a:latin typeface="+mj-lt"/>
              </a:defRPr>
            </a:lvl2pPr>
            <a:lvl3pPr marL="548993" indent="0">
              <a:buNone/>
              <a:defRPr sz="1344">
                <a:solidFill>
                  <a:schemeClr val="bg1"/>
                </a:solidFill>
                <a:latin typeface="+mj-lt"/>
              </a:defRPr>
            </a:lvl3pPr>
            <a:lvl4pPr marL="768591" indent="0">
              <a:buNone/>
              <a:defRPr sz="1152">
                <a:solidFill>
                  <a:schemeClr val="bg1"/>
                </a:solidFill>
                <a:latin typeface="+mj-lt"/>
              </a:defRPr>
            </a:lvl4pPr>
            <a:lvl5pPr marL="988189" indent="0">
              <a:buNone/>
              <a:defRPr sz="1152">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21990870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387C1BE-9B19-41F9-838B-B934ABEFFCBD}" type="datetimeFigureOut">
              <a:rPr lang="en-US" smtClean="0"/>
              <a:t>1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417991919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0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spTree>
    <p:extLst>
      <p:ext uri="{BB962C8B-B14F-4D97-AF65-F5344CB8AC3E}">
        <p14:creationId xmlns:p14="http://schemas.microsoft.com/office/powerpoint/2010/main" val="131240376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132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06821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234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38058360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337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210515930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367167" y="6437744"/>
            <a:ext cx="555597" cy="133860"/>
          </a:xfrm>
          <a:prstGeom prst="rect">
            <a:avLst/>
          </a:prstGeom>
        </p:spPr>
        <p:txBody>
          <a:bodyPr/>
          <a:lstStyle/>
          <a:p>
            <a:pPr defTabSz="914139">
              <a:lnSpc>
                <a:spcPct val="90000"/>
              </a:lnSpc>
            </a:pPr>
            <a:fld id="{1BC86A1F-E589-44B2-A543-2EC98F5547A7}" type="slidenum">
              <a:rPr lang="en-US" smtClean="0">
                <a:solidFill>
                  <a:srgbClr val="D2D2D2"/>
                </a:solidFill>
              </a:rPr>
              <a:pPr defTabSz="914139">
                <a:lnSpc>
                  <a:spcPct val="90000"/>
                </a:lnSpc>
              </a:pPr>
              <a:t>‹#›</a:t>
            </a:fld>
            <a:endParaRPr lang="en-US" dirty="0">
              <a:solidFill>
                <a:srgbClr val="D2D2D2"/>
              </a:solidFill>
            </a:endParaRPr>
          </a:p>
        </p:txBody>
      </p:sp>
    </p:spTree>
    <p:extLst>
      <p:ext uri="{BB962C8B-B14F-4D97-AF65-F5344CB8AC3E}">
        <p14:creationId xmlns:p14="http://schemas.microsoft.com/office/powerpoint/2010/main" val="22800329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542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3"/>
            <a:ext cx="6271860" cy="627586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19604" y="1428404"/>
            <a:ext cx="5378548" cy="879910"/>
          </a:xfrm>
          <a:prstGeom prst="rect">
            <a:avLst/>
          </a:prstGeom>
        </p:spPr>
        <p:txBody>
          <a:bodyPr/>
          <a:lstStyle>
            <a:lvl1pPr>
              <a:defRPr sz="49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1034782"/>
          </a:xfrm>
          <a:prstGeom prst="rect">
            <a:avLst/>
          </a:prstGeom>
        </p:spPr>
        <p:txBody>
          <a:bodyPr/>
          <a:lstStyle>
            <a:lvl1pPr marL="0" indent="0" algn="l">
              <a:lnSpc>
                <a:spcPts val="2595"/>
              </a:lnSpc>
              <a:buNone/>
              <a:defRPr sz="2115">
                <a:solidFill>
                  <a:schemeClr val="bg1"/>
                </a:solidFill>
                <a:latin typeface="+mj-lt"/>
              </a:defRPr>
            </a:lvl1pPr>
            <a:lvl2pPr marL="439195" indent="0" algn="ctr">
              <a:buNone/>
              <a:defRPr>
                <a:solidFill>
                  <a:schemeClr val="tx1">
                    <a:tint val="75000"/>
                  </a:schemeClr>
                </a:solidFill>
              </a:defRPr>
            </a:lvl2pPr>
            <a:lvl3pPr marL="878390" indent="0" algn="ctr">
              <a:buNone/>
              <a:defRPr>
                <a:solidFill>
                  <a:schemeClr val="tx1">
                    <a:tint val="75000"/>
                  </a:schemeClr>
                </a:solidFill>
              </a:defRPr>
            </a:lvl3pPr>
            <a:lvl4pPr marL="1317585" indent="0" algn="ctr">
              <a:buNone/>
              <a:defRPr>
                <a:solidFill>
                  <a:schemeClr val="tx1">
                    <a:tint val="75000"/>
                  </a:schemeClr>
                </a:solidFill>
              </a:defRPr>
            </a:lvl4pPr>
            <a:lvl5pPr marL="1756781" indent="0" algn="ctr">
              <a:buNone/>
              <a:defRPr>
                <a:solidFill>
                  <a:schemeClr val="tx1">
                    <a:tint val="75000"/>
                  </a:schemeClr>
                </a:solidFill>
              </a:defRPr>
            </a:lvl5pPr>
            <a:lvl6pPr marL="2195974" indent="0" algn="ctr">
              <a:buNone/>
              <a:defRPr>
                <a:solidFill>
                  <a:schemeClr val="tx1">
                    <a:tint val="75000"/>
                  </a:schemeClr>
                </a:solidFill>
              </a:defRPr>
            </a:lvl6pPr>
            <a:lvl7pPr marL="2635170" indent="0" algn="ctr">
              <a:buNone/>
              <a:defRPr>
                <a:solidFill>
                  <a:schemeClr val="tx1">
                    <a:tint val="75000"/>
                  </a:schemeClr>
                </a:solidFill>
              </a:defRPr>
            </a:lvl7pPr>
            <a:lvl8pPr marL="3074365" indent="0" algn="ctr">
              <a:buNone/>
              <a:defRPr>
                <a:solidFill>
                  <a:schemeClr val="tx1">
                    <a:tint val="75000"/>
                  </a:schemeClr>
                </a:solidFill>
              </a:defRPr>
            </a:lvl8pPr>
            <a:lvl9pPr marL="3513559"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3" y="470410"/>
            <a:ext cx="1278487" cy="280186"/>
          </a:xfrm>
          <a:prstGeom prst="rect">
            <a:avLst/>
          </a:prstGeom>
        </p:spPr>
      </p:pic>
      <p:sp>
        <p:nvSpPr>
          <p:cNvPr id="14" name="Text Placeholder 7"/>
          <p:cNvSpPr>
            <a:spLocks noGrp="1"/>
          </p:cNvSpPr>
          <p:nvPr>
            <p:ph type="body" sz="quarter" idx="10" hasCustomPrompt="1"/>
          </p:nvPr>
        </p:nvSpPr>
        <p:spPr>
          <a:xfrm>
            <a:off x="322715" y="2997067"/>
            <a:ext cx="5392555" cy="863866"/>
          </a:xfrm>
          <a:prstGeom prst="rect">
            <a:avLst/>
          </a:prstGeom>
        </p:spPr>
        <p:txBody>
          <a:bodyPr/>
          <a:lstStyle>
            <a:lvl1pPr marL="0" indent="0">
              <a:buNone/>
              <a:defRPr sz="2691" baseline="0">
                <a:solidFill>
                  <a:schemeClr val="bg1"/>
                </a:solidFill>
                <a:latin typeface="+mj-lt"/>
              </a:defRPr>
            </a:lvl1pPr>
            <a:lvl2pPr marL="329396" indent="0">
              <a:buNone/>
              <a:defRPr sz="1536">
                <a:solidFill>
                  <a:schemeClr val="bg1"/>
                </a:solidFill>
                <a:latin typeface="+mj-lt"/>
              </a:defRPr>
            </a:lvl2pPr>
            <a:lvl3pPr marL="548993" indent="0">
              <a:buNone/>
              <a:defRPr sz="1344">
                <a:solidFill>
                  <a:schemeClr val="bg1"/>
                </a:solidFill>
                <a:latin typeface="+mj-lt"/>
              </a:defRPr>
            </a:lvl3pPr>
            <a:lvl4pPr marL="768591" indent="0">
              <a:buNone/>
              <a:defRPr sz="1152">
                <a:solidFill>
                  <a:schemeClr val="bg1"/>
                </a:solidFill>
                <a:latin typeface="+mj-lt"/>
              </a:defRPr>
            </a:lvl4pPr>
            <a:lvl5pPr marL="988189" indent="0">
              <a:buNone/>
              <a:defRPr sz="1152">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6297378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644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spTree>
    <p:extLst>
      <p:ext uri="{BB962C8B-B14F-4D97-AF65-F5344CB8AC3E}">
        <p14:creationId xmlns:p14="http://schemas.microsoft.com/office/powerpoint/2010/main" val="500595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74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6477942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84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70782117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95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3076248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F387C1BE-9B19-41F9-838B-B934ABEFFCBD}" type="datetimeFigureOut">
              <a:rPr lang="en-US" smtClean="0"/>
              <a:t>12/3/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16220674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367167" y="6437744"/>
            <a:ext cx="555597" cy="133860"/>
          </a:xfrm>
          <a:prstGeom prst="rect">
            <a:avLst/>
          </a:prstGeom>
        </p:spPr>
        <p:txBody>
          <a:bodyPr/>
          <a:lstStyle/>
          <a:p>
            <a:pPr defTabSz="914139">
              <a:lnSpc>
                <a:spcPct val="90000"/>
              </a:lnSpc>
            </a:pPr>
            <a:fld id="{1BC86A1F-E589-44B2-A543-2EC98F5547A7}" type="slidenum">
              <a:rPr lang="en-US" smtClean="0">
                <a:solidFill>
                  <a:srgbClr val="D2D2D2"/>
                </a:solidFill>
              </a:rPr>
              <a:pPr defTabSz="914139">
                <a:lnSpc>
                  <a:spcPct val="90000"/>
                </a:lnSpc>
              </a:pPr>
              <a:t>‹#›</a:t>
            </a:fld>
            <a:endParaRPr lang="en-US" dirty="0">
              <a:solidFill>
                <a:srgbClr val="D2D2D2"/>
              </a:solidFill>
            </a:endParaRPr>
          </a:p>
        </p:txBody>
      </p:sp>
    </p:spTree>
    <p:extLst>
      <p:ext uri="{BB962C8B-B14F-4D97-AF65-F5344CB8AC3E}">
        <p14:creationId xmlns:p14="http://schemas.microsoft.com/office/powerpoint/2010/main" val="38100178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156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3"/>
            <a:ext cx="6271860" cy="627586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19604" y="1428404"/>
            <a:ext cx="5378548" cy="879910"/>
          </a:xfrm>
          <a:prstGeom prst="rect">
            <a:avLst/>
          </a:prstGeom>
        </p:spPr>
        <p:txBody>
          <a:bodyPr/>
          <a:lstStyle>
            <a:lvl1pPr>
              <a:defRPr sz="49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1034782"/>
          </a:xfrm>
          <a:prstGeom prst="rect">
            <a:avLst/>
          </a:prstGeom>
        </p:spPr>
        <p:txBody>
          <a:bodyPr/>
          <a:lstStyle>
            <a:lvl1pPr marL="0" indent="0" algn="l">
              <a:lnSpc>
                <a:spcPts val="2595"/>
              </a:lnSpc>
              <a:buNone/>
              <a:defRPr sz="2115">
                <a:solidFill>
                  <a:schemeClr val="bg1"/>
                </a:solidFill>
                <a:latin typeface="+mj-lt"/>
              </a:defRPr>
            </a:lvl1pPr>
            <a:lvl2pPr marL="439195" indent="0" algn="ctr">
              <a:buNone/>
              <a:defRPr>
                <a:solidFill>
                  <a:schemeClr val="tx1">
                    <a:tint val="75000"/>
                  </a:schemeClr>
                </a:solidFill>
              </a:defRPr>
            </a:lvl2pPr>
            <a:lvl3pPr marL="878390" indent="0" algn="ctr">
              <a:buNone/>
              <a:defRPr>
                <a:solidFill>
                  <a:schemeClr val="tx1">
                    <a:tint val="75000"/>
                  </a:schemeClr>
                </a:solidFill>
              </a:defRPr>
            </a:lvl3pPr>
            <a:lvl4pPr marL="1317585" indent="0" algn="ctr">
              <a:buNone/>
              <a:defRPr>
                <a:solidFill>
                  <a:schemeClr val="tx1">
                    <a:tint val="75000"/>
                  </a:schemeClr>
                </a:solidFill>
              </a:defRPr>
            </a:lvl4pPr>
            <a:lvl5pPr marL="1756781" indent="0" algn="ctr">
              <a:buNone/>
              <a:defRPr>
                <a:solidFill>
                  <a:schemeClr val="tx1">
                    <a:tint val="75000"/>
                  </a:schemeClr>
                </a:solidFill>
              </a:defRPr>
            </a:lvl5pPr>
            <a:lvl6pPr marL="2195974" indent="0" algn="ctr">
              <a:buNone/>
              <a:defRPr>
                <a:solidFill>
                  <a:schemeClr val="tx1">
                    <a:tint val="75000"/>
                  </a:schemeClr>
                </a:solidFill>
              </a:defRPr>
            </a:lvl6pPr>
            <a:lvl7pPr marL="2635170" indent="0" algn="ctr">
              <a:buNone/>
              <a:defRPr>
                <a:solidFill>
                  <a:schemeClr val="tx1">
                    <a:tint val="75000"/>
                  </a:schemeClr>
                </a:solidFill>
              </a:defRPr>
            </a:lvl7pPr>
            <a:lvl8pPr marL="3074365" indent="0" algn="ctr">
              <a:buNone/>
              <a:defRPr>
                <a:solidFill>
                  <a:schemeClr val="tx1">
                    <a:tint val="75000"/>
                  </a:schemeClr>
                </a:solidFill>
              </a:defRPr>
            </a:lvl8pPr>
            <a:lvl9pPr marL="3513559"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3" y="470410"/>
            <a:ext cx="1278487" cy="280186"/>
          </a:xfrm>
          <a:prstGeom prst="rect">
            <a:avLst/>
          </a:prstGeom>
        </p:spPr>
      </p:pic>
      <p:sp>
        <p:nvSpPr>
          <p:cNvPr id="14" name="Text Placeholder 7"/>
          <p:cNvSpPr>
            <a:spLocks noGrp="1"/>
          </p:cNvSpPr>
          <p:nvPr>
            <p:ph type="body" sz="quarter" idx="10" hasCustomPrompt="1"/>
          </p:nvPr>
        </p:nvSpPr>
        <p:spPr>
          <a:xfrm>
            <a:off x="322715" y="2997067"/>
            <a:ext cx="5392555" cy="863866"/>
          </a:xfrm>
          <a:prstGeom prst="rect">
            <a:avLst/>
          </a:prstGeom>
        </p:spPr>
        <p:txBody>
          <a:bodyPr/>
          <a:lstStyle>
            <a:lvl1pPr marL="0" indent="0">
              <a:buNone/>
              <a:defRPr sz="2691" baseline="0">
                <a:solidFill>
                  <a:schemeClr val="bg1"/>
                </a:solidFill>
                <a:latin typeface="+mj-lt"/>
              </a:defRPr>
            </a:lvl1pPr>
            <a:lvl2pPr marL="329396" indent="0">
              <a:buNone/>
              <a:defRPr sz="1536">
                <a:solidFill>
                  <a:schemeClr val="bg1"/>
                </a:solidFill>
                <a:latin typeface="+mj-lt"/>
              </a:defRPr>
            </a:lvl2pPr>
            <a:lvl3pPr marL="548993" indent="0">
              <a:buNone/>
              <a:defRPr sz="1344">
                <a:solidFill>
                  <a:schemeClr val="bg1"/>
                </a:solidFill>
                <a:latin typeface="+mj-lt"/>
              </a:defRPr>
            </a:lvl3pPr>
            <a:lvl4pPr marL="768591" indent="0">
              <a:buNone/>
              <a:defRPr sz="1152">
                <a:solidFill>
                  <a:schemeClr val="bg1"/>
                </a:solidFill>
                <a:latin typeface="+mj-lt"/>
              </a:defRPr>
            </a:lvl4pPr>
            <a:lvl5pPr marL="988189" indent="0">
              <a:buNone/>
              <a:defRPr sz="1152">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21360182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25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spTree>
    <p:extLst>
      <p:ext uri="{BB962C8B-B14F-4D97-AF65-F5344CB8AC3E}">
        <p14:creationId xmlns:p14="http://schemas.microsoft.com/office/powerpoint/2010/main" val="9168369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361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81000336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46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25638711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566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3258665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367167" y="6437744"/>
            <a:ext cx="555597" cy="133860"/>
          </a:xfrm>
          <a:prstGeom prst="rect">
            <a:avLst/>
          </a:prstGeom>
        </p:spPr>
        <p:txBody>
          <a:bodyPr/>
          <a:lstStyle/>
          <a:p>
            <a:pPr defTabSz="914139">
              <a:lnSpc>
                <a:spcPct val="90000"/>
              </a:lnSpc>
            </a:pPr>
            <a:fld id="{1BC86A1F-E589-44B2-A543-2EC98F5547A7}" type="slidenum">
              <a:rPr lang="en-US" smtClean="0">
                <a:solidFill>
                  <a:srgbClr val="D2D2D2"/>
                </a:solidFill>
              </a:rPr>
              <a:pPr defTabSz="914139">
                <a:lnSpc>
                  <a:spcPct val="90000"/>
                </a:lnSpc>
              </a:pPr>
              <a:t>‹#›</a:t>
            </a:fld>
            <a:endParaRPr lang="en-US" dirty="0">
              <a:solidFill>
                <a:srgbClr val="D2D2D2"/>
              </a:solidFill>
            </a:endParaRPr>
          </a:p>
        </p:txBody>
      </p:sp>
    </p:spTree>
    <p:extLst>
      <p:ext uri="{BB962C8B-B14F-4D97-AF65-F5344CB8AC3E}">
        <p14:creationId xmlns:p14="http://schemas.microsoft.com/office/powerpoint/2010/main" val="30554874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77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3"/>
            <a:ext cx="6271860" cy="627586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19604" y="1428404"/>
            <a:ext cx="5378548" cy="879910"/>
          </a:xfrm>
          <a:prstGeom prst="rect">
            <a:avLst/>
          </a:prstGeom>
        </p:spPr>
        <p:txBody>
          <a:bodyPr/>
          <a:lstStyle>
            <a:lvl1pPr>
              <a:defRPr sz="49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1034782"/>
          </a:xfrm>
          <a:prstGeom prst="rect">
            <a:avLst/>
          </a:prstGeom>
        </p:spPr>
        <p:txBody>
          <a:bodyPr/>
          <a:lstStyle>
            <a:lvl1pPr marL="0" indent="0" algn="l">
              <a:lnSpc>
                <a:spcPts val="2595"/>
              </a:lnSpc>
              <a:buNone/>
              <a:defRPr sz="2115">
                <a:solidFill>
                  <a:schemeClr val="bg1"/>
                </a:solidFill>
                <a:latin typeface="+mj-lt"/>
              </a:defRPr>
            </a:lvl1pPr>
            <a:lvl2pPr marL="439195" indent="0" algn="ctr">
              <a:buNone/>
              <a:defRPr>
                <a:solidFill>
                  <a:schemeClr val="tx1">
                    <a:tint val="75000"/>
                  </a:schemeClr>
                </a:solidFill>
              </a:defRPr>
            </a:lvl2pPr>
            <a:lvl3pPr marL="878390" indent="0" algn="ctr">
              <a:buNone/>
              <a:defRPr>
                <a:solidFill>
                  <a:schemeClr val="tx1">
                    <a:tint val="75000"/>
                  </a:schemeClr>
                </a:solidFill>
              </a:defRPr>
            </a:lvl3pPr>
            <a:lvl4pPr marL="1317585" indent="0" algn="ctr">
              <a:buNone/>
              <a:defRPr>
                <a:solidFill>
                  <a:schemeClr val="tx1">
                    <a:tint val="75000"/>
                  </a:schemeClr>
                </a:solidFill>
              </a:defRPr>
            </a:lvl4pPr>
            <a:lvl5pPr marL="1756781" indent="0" algn="ctr">
              <a:buNone/>
              <a:defRPr>
                <a:solidFill>
                  <a:schemeClr val="tx1">
                    <a:tint val="75000"/>
                  </a:schemeClr>
                </a:solidFill>
              </a:defRPr>
            </a:lvl5pPr>
            <a:lvl6pPr marL="2195974" indent="0" algn="ctr">
              <a:buNone/>
              <a:defRPr>
                <a:solidFill>
                  <a:schemeClr val="tx1">
                    <a:tint val="75000"/>
                  </a:schemeClr>
                </a:solidFill>
              </a:defRPr>
            </a:lvl6pPr>
            <a:lvl7pPr marL="2635170" indent="0" algn="ctr">
              <a:buNone/>
              <a:defRPr>
                <a:solidFill>
                  <a:schemeClr val="tx1">
                    <a:tint val="75000"/>
                  </a:schemeClr>
                </a:solidFill>
              </a:defRPr>
            </a:lvl7pPr>
            <a:lvl8pPr marL="3074365" indent="0" algn="ctr">
              <a:buNone/>
              <a:defRPr>
                <a:solidFill>
                  <a:schemeClr val="tx1">
                    <a:tint val="75000"/>
                  </a:schemeClr>
                </a:solidFill>
              </a:defRPr>
            </a:lvl8pPr>
            <a:lvl9pPr marL="3513559"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3" y="470410"/>
            <a:ext cx="1278487" cy="280186"/>
          </a:xfrm>
          <a:prstGeom prst="rect">
            <a:avLst/>
          </a:prstGeom>
        </p:spPr>
      </p:pic>
      <p:sp>
        <p:nvSpPr>
          <p:cNvPr id="14" name="Text Placeholder 7"/>
          <p:cNvSpPr>
            <a:spLocks noGrp="1"/>
          </p:cNvSpPr>
          <p:nvPr>
            <p:ph type="body" sz="quarter" idx="10" hasCustomPrompt="1"/>
          </p:nvPr>
        </p:nvSpPr>
        <p:spPr>
          <a:xfrm>
            <a:off x="322715" y="2997067"/>
            <a:ext cx="5392555" cy="863866"/>
          </a:xfrm>
          <a:prstGeom prst="rect">
            <a:avLst/>
          </a:prstGeom>
        </p:spPr>
        <p:txBody>
          <a:bodyPr/>
          <a:lstStyle>
            <a:lvl1pPr marL="0" indent="0">
              <a:buNone/>
              <a:defRPr sz="2691" baseline="0">
                <a:solidFill>
                  <a:schemeClr val="bg1"/>
                </a:solidFill>
                <a:latin typeface="+mj-lt"/>
              </a:defRPr>
            </a:lvl1pPr>
            <a:lvl2pPr marL="329396" indent="0">
              <a:buNone/>
              <a:defRPr sz="1536">
                <a:solidFill>
                  <a:schemeClr val="bg1"/>
                </a:solidFill>
                <a:latin typeface="+mj-lt"/>
              </a:defRPr>
            </a:lvl2pPr>
            <a:lvl3pPr marL="548993" indent="0">
              <a:buNone/>
              <a:defRPr sz="1344">
                <a:solidFill>
                  <a:schemeClr val="bg1"/>
                </a:solidFill>
                <a:latin typeface="+mj-lt"/>
              </a:defRPr>
            </a:lvl3pPr>
            <a:lvl4pPr marL="768591" indent="0">
              <a:buNone/>
              <a:defRPr sz="1152">
                <a:solidFill>
                  <a:schemeClr val="bg1"/>
                </a:solidFill>
                <a:latin typeface="+mj-lt"/>
              </a:defRPr>
            </a:lvl4pPr>
            <a:lvl5pPr marL="988189" indent="0">
              <a:buNone/>
              <a:defRPr sz="1152">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359519404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873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spTree>
    <p:extLst>
      <p:ext uri="{BB962C8B-B14F-4D97-AF65-F5344CB8AC3E}">
        <p14:creationId xmlns:p14="http://schemas.microsoft.com/office/powerpoint/2010/main" val="319555127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975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9453513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F387C1BE-9B19-41F9-838B-B934ABEFFCBD}" type="datetimeFigureOut">
              <a:rPr lang="en-US" smtClean="0"/>
              <a:t>12/3/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5571150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07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397687051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18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252496195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2_Title Only">
    <p:bg>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8927" y="286380"/>
            <a:ext cx="11653525" cy="927940"/>
          </a:xfrm>
        </p:spPr>
        <p:txBody>
          <a:bodyPr/>
          <a:lstStyle>
            <a:lvl1pPr>
              <a:defRPr>
                <a:gradFill>
                  <a:gsLst>
                    <a:gs pos="1250">
                      <a:schemeClr val="tx1"/>
                    </a:gs>
                    <a:gs pos="100000">
                      <a:schemeClr val="tx1"/>
                    </a:gs>
                  </a:gsLst>
                  <a:lin ang="5400000" scaled="0"/>
                </a:gradFill>
              </a:defRPr>
            </a:lvl1pPr>
          </a:lstStyle>
          <a:p>
            <a:r>
              <a:rPr lang="en-US" dirty="0" smtClean="0"/>
              <a:t>Click to edit master title style</a:t>
            </a:r>
            <a:endParaRPr lang="en-US" dirty="0"/>
          </a:p>
        </p:txBody>
      </p:sp>
      <p:sp>
        <p:nvSpPr>
          <p:cNvPr id="8" name="Slide Number Placeholder 7"/>
          <p:cNvSpPr>
            <a:spLocks noGrp="1"/>
          </p:cNvSpPr>
          <p:nvPr>
            <p:ph type="sldNum" sz="quarter" idx="11"/>
          </p:nvPr>
        </p:nvSpPr>
        <p:spPr>
          <a:xfrm>
            <a:off x="11367167" y="6437744"/>
            <a:ext cx="555597" cy="133860"/>
          </a:xfrm>
          <a:prstGeom prst="rect">
            <a:avLst/>
          </a:prstGeom>
        </p:spPr>
        <p:txBody>
          <a:bodyPr/>
          <a:lstStyle/>
          <a:p>
            <a:pPr defTabSz="914139">
              <a:lnSpc>
                <a:spcPct val="90000"/>
              </a:lnSpc>
            </a:pPr>
            <a:fld id="{1BC86A1F-E589-44B2-A543-2EC98F5547A7}" type="slidenum">
              <a:rPr lang="en-US" smtClean="0">
                <a:solidFill>
                  <a:srgbClr val="D2D2D2"/>
                </a:solidFill>
              </a:rPr>
              <a:pPr defTabSz="914139">
                <a:lnSpc>
                  <a:spcPct val="90000"/>
                </a:lnSpc>
              </a:pPr>
              <a:t>‹#›</a:t>
            </a:fld>
            <a:endParaRPr lang="en-US" dirty="0">
              <a:solidFill>
                <a:srgbClr val="D2D2D2"/>
              </a:solidFill>
            </a:endParaRPr>
          </a:p>
        </p:txBody>
      </p:sp>
    </p:spTree>
    <p:extLst>
      <p:ext uri="{BB962C8B-B14F-4D97-AF65-F5344CB8AC3E}">
        <p14:creationId xmlns:p14="http://schemas.microsoft.com/office/powerpoint/2010/main" val="20137703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8_Title Slide 4">
    <p:bg>
      <p:bgPr>
        <a:solidFill>
          <a:schemeClr val="bg1"/>
        </a:solidFill>
        <a:effectLst/>
      </p:bgPr>
    </p:bg>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385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57" y="1558"/>
                        <a:ext cx="1556" cy="1556"/>
                      </a:xfrm>
                      <a:prstGeom prst="rect">
                        <a:avLst/>
                      </a:prstGeom>
                    </p:spPr>
                  </p:pic>
                </p:oleObj>
              </mc:Fallback>
            </mc:AlternateContent>
          </a:graphicData>
        </a:graphic>
      </p:graphicFrame>
      <p:sp>
        <p:nvSpPr>
          <p:cNvPr id="9" name="Rectangle 8"/>
          <p:cNvSpPr/>
          <p:nvPr userDrawn="1"/>
        </p:nvSpPr>
        <p:spPr bwMode="auto">
          <a:xfrm>
            <a:off x="272353" y="291073"/>
            <a:ext cx="6271860" cy="6275863"/>
          </a:xfrm>
          <a:prstGeom prst="rect">
            <a:avLst/>
          </a:prstGeom>
          <a:solidFill>
            <a:srgbClr val="0078D7">
              <a:alpha val="9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10" tIns="140568" rIns="175710" bIns="140568" numCol="1" spcCol="0" rtlCol="0" fromWordArt="0" anchor="t" anchorCtr="0" forceAA="0" compatLnSpc="1">
            <a:prstTxWarp prst="textNoShape">
              <a:avLst/>
            </a:prstTxWarp>
            <a:noAutofit/>
          </a:bodyPr>
          <a:lstStyle/>
          <a:p>
            <a:pPr algn="ctr" defTabSz="895751"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ctrTitle" hasCustomPrompt="1"/>
          </p:nvPr>
        </p:nvSpPr>
        <p:spPr>
          <a:xfrm>
            <a:off x="319604" y="1428404"/>
            <a:ext cx="5378548" cy="879910"/>
          </a:xfrm>
          <a:prstGeom prst="rect">
            <a:avLst/>
          </a:prstGeom>
        </p:spPr>
        <p:txBody>
          <a:bodyPr/>
          <a:lstStyle>
            <a:lvl1pPr>
              <a:defRPr sz="4996" baseline="0">
                <a:solidFill>
                  <a:schemeClr val="bg1"/>
                </a:solidFill>
              </a:defRPr>
            </a:lvl1pPr>
          </a:lstStyle>
          <a:p>
            <a:r>
              <a:rPr lang="en-US" dirty="0" smtClean="0"/>
              <a:t>Headline here, second line here</a:t>
            </a:r>
            <a:endParaRPr lang="en-US" dirty="0"/>
          </a:p>
        </p:txBody>
      </p:sp>
      <p:sp>
        <p:nvSpPr>
          <p:cNvPr id="11" name="Subtitle 2"/>
          <p:cNvSpPr>
            <a:spLocks noGrp="1"/>
          </p:cNvSpPr>
          <p:nvPr>
            <p:ph type="subTitle" idx="1" hasCustomPrompt="1"/>
          </p:nvPr>
        </p:nvSpPr>
        <p:spPr>
          <a:xfrm>
            <a:off x="319662" y="4353453"/>
            <a:ext cx="5378486" cy="1034782"/>
          </a:xfrm>
          <a:prstGeom prst="rect">
            <a:avLst/>
          </a:prstGeom>
        </p:spPr>
        <p:txBody>
          <a:bodyPr/>
          <a:lstStyle>
            <a:lvl1pPr marL="0" indent="0" algn="l">
              <a:lnSpc>
                <a:spcPts val="2595"/>
              </a:lnSpc>
              <a:buNone/>
              <a:defRPr sz="2115">
                <a:solidFill>
                  <a:schemeClr val="bg1"/>
                </a:solidFill>
                <a:latin typeface="+mj-lt"/>
              </a:defRPr>
            </a:lvl1pPr>
            <a:lvl2pPr marL="439195" indent="0" algn="ctr">
              <a:buNone/>
              <a:defRPr>
                <a:solidFill>
                  <a:schemeClr val="tx1">
                    <a:tint val="75000"/>
                  </a:schemeClr>
                </a:solidFill>
              </a:defRPr>
            </a:lvl2pPr>
            <a:lvl3pPr marL="878390" indent="0" algn="ctr">
              <a:buNone/>
              <a:defRPr>
                <a:solidFill>
                  <a:schemeClr val="tx1">
                    <a:tint val="75000"/>
                  </a:schemeClr>
                </a:solidFill>
              </a:defRPr>
            </a:lvl3pPr>
            <a:lvl4pPr marL="1317585" indent="0" algn="ctr">
              <a:buNone/>
              <a:defRPr>
                <a:solidFill>
                  <a:schemeClr val="tx1">
                    <a:tint val="75000"/>
                  </a:schemeClr>
                </a:solidFill>
              </a:defRPr>
            </a:lvl4pPr>
            <a:lvl5pPr marL="1756781" indent="0" algn="ctr">
              <a:buNone/>
              <a:defRPr>
                <a:solidFill>
                  <a:schemeClr val="tx1">
                    <a:tint val="75000"/>
                  </a:schemeClr>
                </a:solidFill>
              </a:defRPr>
            </a:lvl5pPr>
            <a:lvl6pPr marL="2195974" indent="0" algn="ctr">
              <a:buNone/>
              <a:defRPr>
                <a:solidFill>
                  <a:schemeClr val="tx1">
                    <a:tint val="75000"/>
                  </a:schemeClr>
                </a:solidFill>
              </a:defRPr>
            </a:lvl6pPr>
            <a:lvl7pPr marL="2635170" indent="0" algn="ctr">
              <a:buNone/>
              <a:defRPr>
                <a:solidFill>
                  <a:schemeClr val="tx1">
                    <a:tint val="75000"/>
                  </a:schemeClr>
                </a:solidFill>
              </a:defRPr>
            </a:lvl7pPr>
            <a:lvl8pPr marL="3074365" indent="0" algn="ctr">
              <a:buNone/>
              <a:defRPr>
                <a:solidFill>
                  <a:schemeClr val="tx1">
                    <a:tint val="75000"/>
                  </a:schemeClr>
                </a:solidFill>
              </a:defRPr>
            </a:lvl8pPr>
            <a:lvl9pPr marL="3513559" indent="0" algn="ctr">
              <a:buNone/>
              <a:defRPr>
                <a:solidFill>
                  <a:schemeClr val="tx1">
                    <a:tint val="75000"/>
                  </a:schemeClr>
                </a:solidFill>
              </a:defRPr>
            </a:lvl9pPr>
          </a:lstStyle>
          <a:p>
            <a:r>
              <a:rPr lang="en-US" dirty="0" smtClean="0"/>
              <a:t>Speaker Name</a:t>
            </a:r>
            <a:br>
              <a:rPr lang="en-US" dirty="0" smtClean="0"/>
            </a:br>
            <a:r>
              <a:rPr lang="en-US" dirty="0" smtClean="0"/>
              <a:t>Date</a:t>
            </a:r>
          </a:p>
        </p:txBody>
      </p:sp>
      <p:pic>
        <p:nvPicPr>
          <p:cNvPr id="13" name="Picture 12"/>
          <p:cNvPicPr>
            <a:picLocks noChangeAspect="1"/>
          </p:cNvPicPr>
          <p:nvPr userDrawn="1"/>
        </p:nvPicPr>
        <p:blipFill>
          <a:blip r:embed="rId7" cstate="screen">
            <a:extLst>
              <a:ext uri="{28A0092B-C50C-407E-A947-70E740481C1C}">
                <a14:useLocalDpi xmlns:a14="http://schemas.microsoft.com/office/drawing/2010/main" val="0"/>
              </a:ext>
            </a:extLst>
          </a:blip>
          <a:stretch>
            <a:fillRect/>
          </a:stretch>
        </p:blipFill>
        <p:spPr>
          <a:xfrm>
            <a:off x="464023" y="470410"/>
            <a:ext cx="1278487" cy="280186"/>
          </a:xfrm>
          <a:prstGeom prst="rect">
            <a:avLst/>
          </a:prstGeom>
        </p:spPr>
      </p:pic>
      <p:sp>
        <p:nvSpPr>
          <p:cNvPr id="14" name="Text Placeholder 7"/>
          <p:cNvSpPr>
            <a:spLocks noGrp="1"/>
          </p:cNvSpPr>
          <p:nvPr>
            <p:ph type="body" sz="quarter" idx="10" hasCustomPrompt="1"/>
          </p:nvPr>
        </p:nvSpPr>
        <p:spPr>
          <a:xfrm>
            <a:off x="322715" y="2997067"/>
            <a:ext cx="5392555" cy="863866"/>
          </a:xfrm>
          <a:prstGeom prst="rect">
            <a:avLst/>
          </a:prstGeom>
        </p:spPr>
        <p:txBody>
          <a:bodyPr/>
          <a:lstStyle>
            <a:lvl1pPr marL="0" indent="0">
              <a:buNone/>
              <a:defRPr sz="2691" baseline="0">
                <a:solidFill>
                  <a:schemeClr val="bg1"/>
                </a:solidFill>
                <a:latin typeface="+mj-lt"/>
              </a:defRPr>
            </a:lvl1pPr>
            <a:lvl2pPr marL="329396" indent="0">
              <a:buNone/>
              <a:defRPr sz="1536">
                <a:solidFill>
                  <a:schemeClr val="bg1"/>
                </a:solidFill>
                <a:latin typeface="+mj-lt"/>
              </a:defRPr>
            </a:lvl2pPr>
            <a:lvl3pPr marL="548993" indent="0">
              <a:buNone/>
              <a:defRPr sz="1344">
                <a:solidFill>
                  <a:schemeClr val="bg1"/>
                </a:solidFill>
                <a:latin typeface="+mj-lt"/>
              </a:defRPr>
            </a:lvl3pPr>
            <a:lvl4pPr marL="768591" indent="0">
              <a:buNone/>
              <a:defRPr sz="1152">
                <a:solidFill>
                  <a:schemeClr val="bg1"/>
                </a:solidFill>
                <a:latin typeface="+mj-lt"/>
              </a:defRPr>
            </a:lvl4pPr>
            <a:lvl5pPr marL="988189" indent="0">
              <a:buNone/>
              <a:defRPr sz="1152">
                <a:solidFill>
                  <a:schemeClr val="bg1"/>
                </a:solidFill>
                <a:latin typeface="+mj-lt"/>
              </a:defRPr>
            </a:lvl5pPr>
          </a:lstStyle>
          <a:p>
            <a:pPr lvl="0"/>
            <a:r>
              <a:rPr lang="en-US" dirty="0" smtClean="0"/>
              <a:t>Sub header here</a:t>
            </a:r>
            <a:endParaRPr lang="en-US" dirty="0"/>
          </a:p>
        </p:txBody>
      </p:sp>
    </p:spTree>
    <p:extLst>
      <p:ext uri="{BB962C8B-B14F-4D97-AF65-F5344CB8AC3E}">
        <p14:creationId xmlns:p14="http://schemas.microsoft.com/office/powerpoint/2010/main" val="10419189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9_Title Slide 4">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487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2431"/>
            <a:ext cx="12192000" cy="6853138"/>
          </a:xfrm>
          <a:prstGeom prst="rect">
            <a:avLst/>
          </a:prstGeom>
        </p:spPr>
      </p:pic>
    </p:spTree>
    <p:extLst>
      <p:ext uri="{BB962C8B-B14F-4D97-AF65-F5344CB8AC3E}">
        <p14:creationId xmlns:p14="http://schemas.microsoft.com/office/powerpoint/2010/main" val="19781210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589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10140672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692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Tree>
    <p:extLst>
      <p:ext uri="{BB962C8B-B14F-4D97-AF65-F5344CB8AC3E}">
        <p14:creationId xmlns:p14="http://schemas.microsoft.com/office/powerpoint/2010/main" val="172056476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Only">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794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5" name="Title 4"/>
          <p:cNvSpPr>
            <a:spLocks noGrp="1"/>
          </p:cNvSpPr>
          <p:nvPr>
            <p:ph type="title"/>
          </p:nvPr>
        </p:nvSpPr>
        <p:spPr/>
        <p:txBody>
          <a:bodyPr anchor="t"/>
          <a:lstStyle>
            <a:lvl1pPr>
              <a:defRPr sz="5097">
                <a:solidFill>
                  <a:schemeClr val="tx2"/>
                </a:solidFill>
              </a:defRPr>
            </a:lvl1pPr>
          </a:lstStyle>
          <a:p>
            <a:r>
              <a:rPr lang="en-US" smtClean="0"/>
              <a:t>Click to edit Master title style</a:t>
            </a:r>
            <a:endParaRPr lang="en-IN" dirty="0"/>
          </a:p>
        </p:txBody>
      </p:sp>
    </p:spTree>
    <p:extLst>
      <p:ext uri="{BB962C8B-B14F-4D97-AF65-F5344CB8AC3E}">
        <p14:creationId xmlns:p14="http://schemas.microsoft.com/office/powerpoint/2010/main" val="368094839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91377" cy="6858623"/>
          </a:xfrm>
          <a:prstGeom prst="rect">
            <a:avLst/>
          </a:prstGeom>
        </p:spPr>
      </p:pic>
      <p:sp>
        <p:nvSpPr>
          <p:cNvPr id="5" name="Rectangle 4"/>
          <p:cNvSpPr/>
          <p:nvPr userDrawn="1"/>
        </p:nvSpPr>
        <p:spPr bwMode="white">
          <a:xfrm>
            <a:off x="0" y="4773830"/>
            <a:ext cx="12191377" cy="2084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48585" y="470067"/>
            <a:ext cx="1254995" cy="269134"/>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448585" y="5108512"/>
            <a:ext cx="8967255" cy="741152"/>
          </a:xfrm>
          <a:prstGeom prst="rect">
            <a:avLst/>
          </a:prstGeom>
        </p:spPr>
      </p:pic>
      <p:sp>
        <p:nvSpPr>
          <p:cNvPr id="4" name="TextBox 3"/>
          <p:cNvSpPr txBox="1"/>
          <p:nvPr userDrawn="1"/>
        </p:nvSpPr>
        <p:spPr>
          <a:xfrm>
            <a:off x="269302" y="5894314"/>
            <a:ext cx="11653523" cy="672583"/>
          </a:xfrm>
          <a:prstGeom prst="rect">
            <a:avLst/>
          </a:prstGeom>
        </p:spPr>
        <p:txBody>
          <a:bodyPr vert="horz" wrap="square" lIns="143428" tIns="107571" rIns="143428" bIns="107571"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914367"/>
            <a:r>
              <a:rPr lang="en-US" sz="2353" dirty="0" smtClean="0"/>
              <a:t>March 16–19, 2015 | Atlanta, Georgia | GWCC Georgia World Congress Center</a:t>
            </a:r>
          </a:p>
        </p:txBody>
      </p:sp>
    </p:spTree>
    <p:extLst>
      <p:ext uri="{BB962C8B-B14F-4D97-AF65-F5344CB8AC3E}">
        <p14:creationId xmlns:p14="http://schemas.microsoft.com/office/powerpoint/2010/main" val="225750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91377" cy="6858623"/>
          </a:xfrm>
          <a:prstGeom prst="rect">
            <a:avLst/>
          </a:prstGeom>
        </p:spPr>
      </p:pic>
      <p:pic>
        <p:nvPicPr>
          <p:cNvPr id="13" name="Picture 12"/>
          <p:cNvPicPr>
            <a:picLocks noChangeAspect="1"/>
          </p:cNvPicPr>
          <p:nvPr userDrawn="1"/>
        </p:nvPicPr>
        <p:blipFill>
          <a:blip r:embed="rId3"/>
          <a:stretch>
            <a:fillRect/>
          </a:stretch>
        </p:blipFill>
        <p:spPr>
          <a:xfrm>
            <a:off x="448585" y="470067"/>
            <a:ext cx="1254995" cy="269134"/>
          </a:xfrm>
          <a:prstGeom prst="rect">
            <a:avLst/>
          </a:prstGeom>
        </p:spPr>
      </p:pic>
      <p:sp>
        <p:nvSpPr>
          <p:cNvPr id="4" name="Rectangle 3"/>
          <p:cNvSpPr/>
          <p:nvPr userDrawn="1"/>
        </p:nvSpPr>
        <p:spPr bwMode="auto">
          <a:xfrm>
            <a:off x="6544213" y="1"/>
            <a:ext cx="5647787" cy="4773828"/>
          </a:xfrm>
          <a:prstGeom prst="rect">
            <a:avLst/>
          </a:prstGeom>
          <a:gradFill flip="none" rotWithShape="1">
            <a:gsLst>
              <a:gs pos="31000">
                <a:srgbClr val="FFFFFF">
                  <a:alpha val="75000"/>
                </a:srgbClr>
              </a:gs>
              <a:gs pos="52000">
                <a:srgbClr val="FFFFFF">
                  <a:alpha val="0"/>
                </a:srgbClr>
              </a:gs>
              <a:gs pos="0">
                <a:srgbClr val="FFFFFF"/>
              </a:gs>
            </a:gsLst>
            <a:lin ang="8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4"/>
          <p:cNvSpPr>
            <a:spLocks noGrp="1"/>
          </p:cNvSpPr>
          <p:nvPr>
            <p:ph type="body" sz="quarter" idx="16" hasCustomPrompt="1"/>
          </p:nvPr>
        </p:nvSpPr>
        <p:spPr>
          <a:xfrm>
            <a:off x="9233488" y="299807"/>
            <a:ext cx="2689274" cy="567015"/>
          </a:xfrm>
        </p:spPr>
        <p:txBody>
          <a:bodyPr lIns="182880" tIns="146304" rIns="182880" bIns="146304" anchor="t"/>
          <a:lstStyle>
            <a:lvl1pPr marL="0" indent="0" algn="r">
              <a:buNone/>
              <a:defRPr sz="1961">
                <a:gradFill>
                  <a:gsLst>
                    <a:gs pos="100000">
                      <a:srgbClr val="333333"/>
                    </a:gs>
                    <a:gs pos="0">
                      <a:srgbClr val="333333"/>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Session code</a:t>
            </a:r>
            <a:endParaRPr lang="en-US" dirty="0"/>
          </a:p>
        </p:txBody>
      </p:sp>
      <p:sp>
        <p:nvSpPr>
          <p:cNvPr id="2" name="Rectangle 1"/>
          <p:cNvSpPr/>
          <p:nvPr userDrawn="1"/>
        </p:nvSpPr>
        <p:spPr bwMode="white">
          <a:xfrm>
            <a:off x="5647788" y="2077800"/>
            <a:ext cx="6274974" cy="35925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1"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646232"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sp>
        <p:nvSpPr>
          <p:cNvPr id="7" name="Text Placeholder 4"/>
          <p:cNvSpPr>
            <a:spLocks noGrp="1"/>
          </p:cNvSpPr>
          <p:nvPr>
            <p:ph type="body" sz="quarter" idx="15" hasCustomPrompt="1"/>
          </p:nvPr>
        </p:nvSpPr>
        <p:spPr>
          <a:xfrm>
            <a:off x="9233488" y="5103364"/>
            <a:ext cx="2689274" cy="567015"/>
          </a:xfrm>
        </p:spPr>
        <p:txBody>
          <a:bodyPr lIns="182880" tIns="146304" rIns="182880" bIns="146304" anchor="b"/>
          <a:lstStyle>
            <a:lvl1pPr marL="0" indent="0" algn="r">
              <a:buNone/>
              <a:defRPr sz="1961">
                <a:gradFill>
                  <a:gsLst>
                    <a:gs pos="0">
                      <a:srgbClr val="FFFFFF"/>
                    </a:gs>
                    <a:gs pos="100000">
                      <a:srgbClr val="FFFFFF"/>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hashtag</a:t>
            </a:r>
            <a:endParaRPr lang="en-US" dirty="0"/>
          </a:p>
        </p:txBody>
      </p:sp>
    </p:spTree>
    <p:extLst>
      <p:ext uri="{BB962C8B-B14F-4D97-AF65-F5344CB8AC3E}">
        <p14:creationId xmlns:p14="http://schemas.microsoft.com/office/powerpoint/2010/main" val="4275761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F387C1BE-9B19-41F9-838B-B934ABEFFCBD}" type="datetimeFigureOut">
              <a:rPr lang="en-US" smtClean="0"/>
              <a:t>12/3/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4550662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6906351"/>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795264765"/>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88219990"/>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65017936"/>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84381689"/>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16324870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1718848"/>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48566039"/>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232695017"/>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55105" y="0"/>
            <a:ext cx="8336751" cy="6858623"/>
          </a:xfrm>
          <a:prstGeom prst="rect">
            <a:avLst/>
          </a:prstGeom>
        </p:spPr>
      </p:pic>
      <p:sp>
        <p:nvSpPr>
          <p:cNvPr id="4" name="Rectangle 3"/>
          <p:cNvSpPr/>
          <p:nvPr userDrawn="1"/>
        </p:nvSpPr>
        <p:spPr bwMode="white">
          <a:xfrm>
            <a:off x="0" y="0"/>
            <a:ext cx="385493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0798" y="291069"/>
            <a:ext cx="3314902" cy="2697988"/>
          </a:xfrm>
          <a:noFill/>
        </p:spPr>
        <p:txBody>
          <a:bodyPr tIns="91440" bIns="91440" anchor="t" anchorCtr="0"/>
          <a:lstStyle>
            <a:lvl1pPr>
              <a:defRPr sz="5882" spc="-98" baseline="0">
                <a:gradFill>
                  <a:gsLst>
                    <a:gs pos="0">
                      <a:schemeClr val="tx1"/>
                    </a:gs>
                    <a:gs pos="100000">
                      <a:schemeClr val="tx1"/>
                    </a:gs>
                  </a:gsLst>
                  <a:lin ang="5400000" scaled="0"/>
                </a:gradFill>
              </a:defRPr>
            </a:lvl1pPr>
          </a:lstStyle>
          <a:p>
            <a:r>
              <a:rPr lang="en-US" dirty="0" smtClean="0"/>
              <a:t>Demo</a:t>
            </a:r>
            <a:endParaRPr lang="en-US" dirty="0"/>
          </a:p>
        </p:txBody>
      </p:sp>
      <p:sp>
        <p:nvSpPr>
          <p:cNvPr id="5" name="Text Placeholder 4"/>
          <p:cNvSpPr>
            <a:spLocks noGrp="1"/>
          </p:cNvSpPr>
          <p:nvPr>
            <p:ph type="body" sz="quarter" idx="12" hasCustomPrompt="1"/>
          </p:nvPr>
        </p:nvSpPr>
        <p:spPr>
          <a:xfrm>
            <a:off x="269240" y="3877271"/>
            <a:ext cx="3316460" cy="1793881"/>
          </a:xfrm>
          <a:noFill/>
        </p:spPr>
        <p:txBody>
          <a:bodyPr lIns="182880" tIns="146304" rIns="182880" bIns="146304">
            <a:noAutofit/>
          </a:bodyPr>
          <a:lstStyle>
            <a:lvl1pPr marL="0" indent="0">
              <a:spcBef>
                <a:spcPts val="0"/>
              </a:spcBef>
              <a:buNone/>
              <a:defRPr sz="2745" spc="0" baseline="0">
                <a:gradFill>
                  <a:gsLst>
                    <a:gs pos="100000">
                      <a:schemeClr val="tx1"/>
                    </a:gs>
                    <a:gs pos="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9405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9520" y="149304"/>
            <a:ext cx="11656706" cy="628788"/>
          </a:xfrm>
        </p:spPr>
        <p:txBody>
          <a:bodyPr>
            <a:noAutofit/>
          </a:bodyPr>
          <a:lstStyle>
            <a:lvl1pPr>
              <a:defRPr sz="4000">
                <a:latin typeface="Segoe UI Light" panose="020B0502040204020203" pitchFamily="34" charset="0"/>
                <a:cs typeface="Segoe UI Light" panose="020B0502040204020203" pitchFamily="34" charset="0"/>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F387C1BE-9B19-41F9-838B-B934ABEFFCBD}" type="datetimeFigureOut">
              <a:rPr lang="en-US" smtClean="0"/>
              <a:t>12/3/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30351507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54961" y="-312"/>
            <a:ext cx="8336751" cy="6858623"/>
          </a:xfrm>
          <a:prstGeom prst="rect">
            <a:avLst/>
          </a:prstGeom>
        </p:spPr>
      </p:pic>
      <p:sp>
        <p:nvSpPr>
          <p:cNvPr id="5" name="Rectangle 4"/>
          <p:cNvSpPr/>
          <p:nvPr userDrawn="1"/>
        </p:nvSpPr>
        <p:spPr bwMode="white">
          <a:xfrm>
            <a:off x="0" y="0"/>
            <a:ext cx="385493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a:xfrm>
            <a:off x="270798" y="291069"/>
            <a:ext cx="3314902" cy="2697988"/>
          </a:xfrm>
          <a:noFill/>
        </p:spPr>
        <p:txBody>
          <a:bodyPr tIns="91440" bIns="91440" anchor="t" anchorCtr="0"/>
          <a:lstStyle>
            <a:lvl1pPr>
              <a:defRPr sz="5882" spc="-98" baseline="0">
                <a:gradFill>
                  <a:gsLst>
                    <a:gs pos="5833">
                      <a:srgbClr val="FFFFFF"/>
                    </a:gs>
                    <a:gs pos="18000">
                      <a:srgbClr val="FFFFFF"/>
                    </a:gs>
                  </a:gsLst>
                  <a:lin ang="5400000" scaled="0"/>
                </a:gradFill>
              </a:defRPr>
            </a:lvl1pPr>
          </a:lstStyle>
          <a:p>
            <a:r>
              <a:rPr lang="en-US" dirty="0" smtClean="0"/>
              <a:t>Video</a:t>
            </a:r>
            <a:endParaRPr lang="en-US" dirty="0"/>
          </a:p>
        </p:txBody>
      </p:sp>
    </p:spTree>
    <p:extLst>
      <p:ext uri="{BB962C8B-B14F-4D97-AF65-F5344CB8AC3E}">
        <p14:creationId xmlns:p14="http://schemas.microsoft.com/office/powerpoint/2010/main" val="223139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96076709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57470566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8315905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10489898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3083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2590961777"/>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33423791"/>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58345821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976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387C1BE-9B19-41F9-838B-B934ABEFFCBD}" type="datetimeFigureOut">
              <a:rPr lang="en-US" smtClean="0"/>
              <a:t>12/3/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32449710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7887474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Dark Colo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3978798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3972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73090"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798516"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30292"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435073634"/>
      </p:ext>
    </p:extLst>
  </p:cSld>
  <p:clrMapOvr>
    <a:masterClrMapping/>
  </p:clrMapOvr>
  <p:transition>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losing logo slide">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505050"/>
                    </a:gs>
                    <a:gs pos="100000">
                      <a:srgbClr val="505050"/>
                    </a:gs>
                  </a:gsLst>
                  <a:lin ang="5400000" scaled="0"/>
                </a:gradFill>
                <a:cs typeface="Segoe UI" pitchFamily="34" charset="0"/>
              </a:rPr>
              <a:t>© </a:t>
            </a:r>
            <a:r>
              <a:rPr lang="en-US" sz="686" dirty="0" smtClean="0">
                <a:gradFill>
                  <a:gsLst>
                    <a:gs pos="0">
                      <a:srgbClr val="505050"/>
                    </a:gs>
                    <a:gs pos="100000">
                      <a:srgbClr val="505050"/>
                    </a:gs>
                  </a:gsLst>
                  <a:lin ang="5400000" scaled="0"/>
                </a:gradFill>
                <a:cs typeface="Segoe UI" pitchFamily="34" charset="0"/>
              </a:rPr>
              <a:t>2015 </a:t>
            </a:r>
            <a:r>
              <a:rPr lang="en-US" sz="686" dirty="0">
                <a:gradFill>
                  <a:gsLst>
                    <a:gs pos="0">
                      <a:srgbClr val="505050"/>
                    </a:gs>
                    <a:gs pos="100000">
                      <a:srgbClr val="505050"/>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a:xfrm>
            <a:off x="450203" y="3083652"/>
            <a:ext cx="3227129" cy="692057"/>
          </a:xfrm>
          <a:prstGeom prst="rect">
            <a:avLst/>
          </a:prstGeom>
        </p:spPr>
      </p:pic>
    </p:spTree>
    <p:extLst>
      <p:ext uri="{BB962C8B-B14F-4D97-AF65-F5344CB8AC3E}">
        <p14:creationId xmlns:p14="http://schemas.microsoft.com/office/powerpoint/2010/main" val="2042491448"/>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logo slide_color">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39" y="6171616"/>
            <a:ext cx="11653522" cy="395317"/>
          </a:xfrm>
          <a:prstGeom prst="rect">
            <a:avLst/>
          </a:prstGeom>
          <a:noFill/>
          <a:ln w="12700">
            <a:noFill/>
            <a:miter lim="800000"/>
            <a:headEnd type="none" w="sm" len="sm"/>
            <a:tailEnd type="none" w="sm" len="sm"/>
          </a:ln>
          <a:effectLst/>
        </p:spPr>
        <p:txBody>
          <a:bodyPr vert="horz" wrap="square" lIns="179285" tIns="143428" rIns="179285" bIns="143428" numCol="1" anchor="t" anchorCtr="0" compatLnSpc="1">
            <a:prstTxWarp prst="textNoShape">
              <a:avLst/>
            </a:prstTxWarp>
            <a:spAutoFit/>
          </a:bodyPr>
          <a:lstStyle/>
          <a:p>
            <a:pPr defTabSz="913924" eaLnBrk="0" hangingPunct="0"/>
            <a:r>
              <a:rPr lang="en-US" sz="686" dirty="0">
                <a:gradFill>
                  <a:gsLst>
                    <a:gs pos="0">
                      <a:srgbClr val="FFFFFF"/>
                    </a:gs>
                    <a:gs pos="100000">
                      <a:srgbClr val="FFFFFF"/>
                    </a:gs>
                  </a:gsLst>
                  <a:lin ang="5400000" scaled="0"/>
                </a:gradFill>
                <a:cs typeface="Segoe UI" pitchFamily="34" charset="0"/>
              </a:rPr>
              <a:t>© </a:t>
            </a:r>
            <a:r>
              <a:rPr lang="en-US" sz="686" dirty="0" smtClean="0">
                <a:gradFill>
                  <a:gsLst>
                    <a:gs pos="0">
                      <a:srgbClr val="FFFFFF"/>
                    </a:gs>
                    <a:gs pos="100000">
                      <a:srgbClr val="FFFFFF"/>
                    </a:gs>
                  </a:gsLst>
                  <a:lin ang="5400000" scaled="0"/>
                </a:gradFill>
                <a:cs typeface="Segoe UI" pitchFamily="34" charset="0"/>
              </a:rPr>
              <a:t>2015 </a:t>
            </a:r>
            <a:r>
              <a:rPr lang="en-US" sz="686" dirty="0">
                <a:gradFill>
                  <a:gsLst>
                    <a:gs pos="0">
                      <a:srgbClr val="FFFFFF"/>
                    </a:gs>
                    <a:gs pos="100000">
                      <a:srgbClr val="FFFFFF"/>
                    </a:gs>
                  </a:gsLst>
                  <a:lin ang="5400000" scaled="0"/>
                </a:gradFill>
                <a:cs typeface="Segoe UI" pitchFamily="34" charset="0"/>
              </a:rPr>
              <a:t>Microsoft Corporation. All rights reserved. </a:t>
            </a:r>
          </a:p>
        </p:txBody>
      </p:sp>
      <p:pic>
        <p:nvPicPr>
          <p:cNvPr id="4" name="Picture 3"/>
          <p:cNvPicPr>
            <a:picLocks noChangeAspect="1"/>
          </p:cNvPicPr>
          <p:nvPr userDrawn="1"/>
        </p:nvPicPr>
        <p:blipFill>
          <a:blip r:embed="rId2"/>
          <a:stretch>
            <a:fillRect/>
          </a:stretch>
        </p:blipFill>
        <p:spPr bwMode="invGray">
          <a:xfrm>
            <a:off x="450205" y="3083652"/>
            <a:ext cx="3227129" cy="692059"/>
          </a:xfrm>
          <a:prstGeom prst="rect">
            <a:avLst/>
          </a:prstGeom>
        </p:spPr>
      </p:pic>
    </p:spTree>
    <p:extLst>
      <p:ext uri="{BB962C8B-B14F-4D97-AF65-F5344CB8AC3E}">
        <p14:creationId xmlns:p14="http://schemas.microsoft.com/office/powerpoint/2010/main" val="18378508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2693873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Walkin No til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91377" cy="6858623"/>
          </a:xfrm>
          <a:prstGeom prst="rect">
            <a:avLst/>
          </a:prstGeom>
        </p:spPr>
      </p:pic>
      <p:sp>
        <p:nvSpPr>
          <p:cNvPr id="5" name="Rectangle 4"/>
          <p:cNvSpPr/>
          <p:nvPr userDrawn="1"/>
        </p:nvSpPr>
        <p:spPr bwMode="white">
          <a:xfrm>
            <a:off x="0" y="4773830"/>
            <a:ext cx="12191377" cy="20847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8" name="Picture 7"/>
          <p:cNvPicPr>
            <a:picLocks noChangeAspect="1"/>
          </p:cNvPicPr>
          <p:nvPr userDrawn="1"/>
        </p:nvPicPr>
        <p:blipFill>
          <a:blip r:embed="rId3"/>
          <a:stretch>
            <a:fillRect/>
          </a:stretch>
        </p:blipFill>
        <p:spPr>
          <a:xfrm>
            <a:off x="448585" y="470067"/>
            <a:ext cx="1254995" cy="269134"/>
          </a:xfrm>
          <a:prstGeom prst="rect">
            <a:avLst/>
          </a:prstGeom>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bwMode="black">
          <a:xfrm>
            <a:off x="448585" y="5108512"/>
            <a:ext cx="8967255" cy="741152"/>
          </a:xfrm>
          <a:prstGeom prst="rect">
            <a:avLst/>
          </a:prstGeom>
        </p:spPr>
      </p:pic>
      <p:sp>
        <p:nvSpPr>
          <p:cNvPr id="4" name="TextBox 3"/>
          <p:cNvSpPr txBox="1"/>
          <p:nvPr userDrawn="1"/>
        </p:nvSpPr>
        <p:spPr>
          <a:xfrm>
            <a:off x="269302" y="5894314"/>
            <a:ext cx="11653523" cy="672583"/>
          </a:xfrm>
          <a:prstGeom prst="rect">
            <a:avLst/>
          </a:prstGeom>
        </p:spPr>
        <p:txBody>
          <a:bodyPr vert="horz" wrap="square" lIns="143428" tIns="107571" rIns="143428" bIns="107571" rtlCol="0" anchor="b" anchorCtr="0">
            <a:noAutofit/>
          </a:bodyPr>
          <a:lstStyle>
            <a:lvl1pPr marR="0" lvl="0" indent="0" fontAlgn="auto">
              <a:lnSpc>
                <a:spcPct val="90000"/>
              </a:lnSpc>
              <a:spcBef>
                <a:spcPts val="0"/>
              </a:spcBef>
              <a:spcAft>
                <a:spcPts val="0"/>
              </a:spcAft>
              <a:buClrTx/>
              <a:buSzPct val="90000"/>
              <a:buFont typeface="Arial" pitchFamily="34" charset="0"/>
              <a:buNone/>
              <a:tabLst/>
              <a:defRPr sz="2400" spc="0" baseline="0">
                <a:gradFill>
                  <a:gsLst>
                    <a:gs pos="84066">
                      <a:srgbClr val="FFFFFF"/>
                    </a:gs>
                    <a:gs pos="57576">
                      <a:srgbClr val="FFFFFF"/>
                    </a:gs>
                  </a:gsLst>
                  <a:lin ang="5400000" scaled="0"/>
                </a:gradFill>
              </a:defRPr>
            </a:lvl1pPr>
            <a:lvl2pPr marL="584200" marR="0" indent="-241300" fontAlgn="auto">
              <a:lnSpc>
                <a:spcPct val="90000"/>
              </a:lnSpc>
              <a:spcBef>
                <a:spcPct val="20000"/>
              </a:spcBef>
              <a:spcAft>
                <a:spcPts val="0"/>
              </a:spcAft>
              <a:buClrTx/>
              <a:buSzPct val="90000"/>
              <a:buFont typeface="Arial" pitchFamily="34" charset="0"/>
              <a:buChar char="•"/>
              <a:tabLst/>
              <a:defRPr sz="2400" spc="0" baseline="0">
                <a:gradFill>
                  <a:gsLst>
                    <a:gs pos="1250">
                      <a:schemeClr val="tx1"/>
                    </a:gs>
                    <a:gs pos="100000">
                      <a:schemeClr val="tx1"/>
                    </a:gs>
                  </a:gsLst>
                  <a:lin ang="5400000" scaled="0"/>
                </a:gradFill>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gradFill>
                  <a:gsLst>
                    <a:gs pos="1250">
                      <a:schemeClr val="tx1"/>
                    </a:gs>
                    <a:gs pos="100000">
                      <a:schemeClr val="tx1"/>
                    </a:gs>
                  </a:gsLst>
                  <a:lin ang="5400000" scaled="0"/>
                </a:gra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defTabSz="914367"/>
            <a:r>
              <a:rPr lang="en-US" sz="2353" dirty="0" smtClean="0"/>
              <a:t>March 16–19, 2015 | Atlanta, Georgia | GWCC Georgia World Congress Center</a:t>
            </a:r>
          </a:p>
        </p:txBody>
      </p:sp>
    </p:spTree>
    <p:extLst>
      <p:ext uri="{BB962C8B-B14F-4D97-AF65-F5344CB8AC3E}">
        <p14:creationId xmlns:p14="http://schemas.microsoft.com/office/powerpoint/2010/main" val="29812547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hoto_Option">
    <p:spTree>
      <p:nvGrpSpPr>
        <p:cNvPr id="1" name=""/>
        <p:cNvGrpSpPr/>
        <p:nvPr/>
      </p:nvGrpSpPr>
      <p:grpSpPr>
        <a:xfrm>
          <a:off x="0" y="0"/>
          <a:ext cx="0" cy="0"/>
          <a:chOff x="0" y="0"/>
          <a:chExt cx="0" cy="0"/>
        </a:xfrm>
      </p:grpSpPr>
      <p:pic>
        <p:nvPicPr>
          <p:cNvPr id="14" name="Picture 13"/>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1" y="-312"/>
            <a:ext cx="12191377" cy="6858623"/>
          </a:xfrm>
          <a:prstGeom prst="rect">
            <a:avLst/>
          </a:prstGeom>
        </p:spPr>
      </p:pic>
      <p:pic>
        <p:nvPicPr>
          <p:cNvPr id="13" name="Picture 12"/>
          <p:cNvPicPr>
            <a:picLocks noChangeAspect="1"/>
          </p:cNvPicPr>
          <p:nvPr userDrawn="1"/>
        </p:nvPicPr>
        <p:blipFill>
          <a:blip r:embed="rId3"/>
          <a:stretch>
            <a:fillRect/>
          </a:stretch>
        </p:blipFill>
        <p:spPr>
          <a:xfrm>
            <a:off x="448585" y="470067"/>
            <a:ext cx="1254995" cy="269134"/>
          </a:xfrm>
          <a:prstGeom prst="rect">
            <a:avLst/>
          </a:prstGeom>
        </p:spPr>
      </p:pic>
      <p:sp>
        <p:nvSpPr>
          <p:cNvPr id="4" name="Rectangle 3"/>
          <p:cNvSpPr/>
          <p:nvPr userDrawn="1"/>
        </p:nvSpPr>
        <p:spPr bwMode="auto">
          <a:xfrm>
            <a:off x="6544213" y="1"/>
            <a:ext cx="5647787" cy="4773828"/>
          </a:xfrm>
          <a:prstGeom prst="rect">
            <a:avLst/>
          </a:prstGeom>
          <a:gradFill flip="none" rotWithShape="1">
            <a:gsLst>
              <a:gs pos="31000">
                <a:srgbClr val="FFFFFF">
                  <a:alpha val="75000"/>
                </a:srgbClr>
              </a:gs>
              <a:gs pos="52000">
                <a:srgbClr val="FFFFFF">
                  <a:alpha val="0"/>
                </a:srgbClr>
              </a:gs>
              <a:gs pos="0">
                <a:srgbClr val="FFFFFF"/>
              </a:gs>
            </a:gsLst>
            <a:lin ang="84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0" name="Text Placeholder 4"/>
          <p:cNvSpPr>
            <a:spLocks noGrp="1"/>
          </p:cNvSpPr>
          <p:nvPr>
            <p:ph type="body" sz="quarter" idx="16" hasCustomPrompt="1"/>
          </p:nvPr>
        </p:nvSpPr>
        <p:spPr>
          <a:xfrm>
            <a:off x="9233488" y="299807"/>
            <a:ext cx="2689274" cy="567015"/>
          </a:xfrm>
        </p:spPr>
        <p:txBody>
          <a:bodyPr lIns="182880" tIns="146304" rIns="182880" bIns="146304" anchor="t"/>
          <a:lstStyle>
            <a:lvl1pPr marL="0" indent="0" algn="r">
              <a:buNone/>
              <a:defRPr sz="1961">
                <a:gradFill>
                  <a:gsLst>
                    <a:gs pos="100000">
                      <a:srgbClr val="333333"/>
                    </a:gs>
                    <a:gs pos="0">
                      <a:srgbClr val="333333"/>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Session code</a:t>
            </a:r>
            <a:endParaRPr lang="en-US" dirty="0"/>
          </a:p>
        </p:txBody>
      </p:sp>
      <p:sp>
        <p:nvSpPr>
          <p:cNvPr id="2" name="Rectangle 1"/>
          <p:cNvSpPr/>
          <p:nvPr userDrawn="1"/>
        </p:nvSpPr>
        <p:spPr bwMode="white">
          <a:xfrm>
            <a:off x="5647788" y="2077800"/>
            <a:ext cx="6274974" cy="359258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auto">
          <a:xfrm>
            <a:off x="5647851" y="2077814"/>
            <a:ext cx="6276530" cy="1793104"/>
          </a:xfrm>
          <a:noFill/>
        </p:spPr>
        <p:txBody>
          <a:bodyPr lIns="146304" tIns="91440" rIns="146304" bIns="91440" anchor="t" anchorCtr="0"/>
          <a:lstStyle>
            <a:lvl1pPr>
              <a:defRPr sz="5294" spc="-98" baseline="0">
                <a:gradFill>
                  <a:gsLst>
                    <a:gs pos="57576">
                      <a:srgbClr val="FFFFFF"/>
                    </a:gs>
                    <a:gs pos="35000">
                      <a:srgbClr val="FFFFFF"/>
                    </a:gs>
                  </a:gsLst>
                  <a:lin ang="5400000" scaled="0"/>
                </a:gradFill>
              </a:defRPr>
            </a:lvl1pPr>
          </a:lstStyle>
          <a:p>
            <a:r>
              <a:rPr lang="en-US" dirty="0" smtClean="0"/>
              <a:t>Presentation title</a:t>
            </a:r>
            <a:endParaRPr lang="en-US" dirty="0"/>
          </a:p>
        </p:txBody>
      </p:sp>
      <p:sp>
        <p:nvSpPr>
          <p:cNvPr id="3" name="Text Placeholder 2"/>
          <p:cNvSpPr>
            <a:spLocks noGrp="1"/>
          </p:cNvSpPr>
          <p:nvPr>
            <p:ph type="body" sz="quarter" idx="14" hasCustomPrompt="1"/>
          </p:nvPr>
        </p:nvSpPr>
        <p:spPr bwMode="auto">
          <a:xfrm>
            <a:off x="5646232" y="3877276"/>
            <a:ext cx="6276530" cy="1793104"/>
          </a:xfrm>
        </p:spPr>
        <p:txBody>
          <a:bodyPr tIns="109728" bIns="109728">
            <a:noAutofit/>
          </a:bodyPr>
          <a:lstStyle>
            <a:lvl1pPr marL="0" indent="0">
              <a:spcBef>
                <a:spcPts val="0"/>
              </a:spcBef>
              <a:buNone/>
              <a:defRPr sz="3137">
                <a:gradFill>
                  <a:gsLst>
                    <a:gs pos="57576">
                      <a:srgbClr val="FFFFFF"/>
                    </a:gs>
                    <a:gs pos="35000">
                      <a:srgbClr val="FFFFFF"/>
                    </a:gs>
                  </a:gsLst>
                  <a:lin ang="5400000" scaled="0"/>
                </a:gradFill>
              </a:defRPr>
            </a:lvl1pPr>
          </a:lstStyle>
          <a:p>
            <a:pPr lvl="0"/>
            <a:r>
              <a:rPr lang="en-US" dirty="0" smtClean="0"/>
              <a:t>Speaker Name</a:t>
            </a:r>
          </a:p>
        </p:txBody>
      </p:sp>
      <p:sp>
        <p:nvSpPr>
          <p:cNvPr id="7" name="Text Placeholder 4"/>
          <p:cNvSpPr>
            <a:spLocks noGrp="1"/>
          </p:cNvSpPr>
          <p:nvPr>
            <p:ph type="body" sz="quarter" idx="15" hasCustomPrompt="1"/>
          </p:nvPr>
        </p:nvSpPr>
        <p:spPr>
          <a:xfrm>
            <a:off x="9233488" y="5103364"/>
            <a:ext cx="2689274" cy="567015"/>
          </a:xfrm>
        </p:spPr>
        <p:txBody>
          <a:bodyPr lIns="182880" tIns="146304" rIns="182880" bIns="146304" anchor="b"/>
          <a:lstStyle>
            <a:lvl1pPr marL="0" indent="0" algn="r">
              <a:buNone/>
              <a:defRPr sz="1961">
                <a:gradFill>
                  <a:gsLst>
                    <a:gs pos="0">
                      <a:srgbClr val="FFFFFF"/>
                    </a:gs>
                    <a:gs pos="100000">
                      <a:srgbClr val="FFFFFF"/>
                    </a:gs>
                  </a:gsLst>
                  <a:lin ang="5400000" scaled="0"/>
                </a:gradFill>
                <a:latin typeface="+mn-lt"/>
              </a:defRPr>
            </a:lvl1pPr>
            <a:lvl2pPr marL="336145" indent="0">
              <a:buNone/>
              <a:defRPr/>
            </a:lvl2pPr>
            <a:lvl3pPr marL="560241" indent="0">
              <a:buNone/>
              <a:defRPr/>
            </a:lvl3pPr>
            <a:lvl4pPr marL="784338" indent="0">
              <a:buNone/>
              <a:defRPr/>
            </a:lvl4pPr>
            <a:lvl5pPr marL="1008435" indent="0">
              <a:buNone/>
              <a:defRPr/>
            </a:lvl5pPr>
          </a:lstStyle>
          <a:p>
            <a:pPr lvl="0"/>
            <a:r>
              <a:rPr lang="en-US" dirty="0" smtClean="0"/>
              <a:t>#hashtag</a:t>
            </a:r>
            <a:endParaRPr lang="en-US" dirty="0"/>
          </a:p>
        </p:txBody>
      </p:sp>
    </p:spTree>
    <p:extLst>
      <p:ext uri="{BB962C8B-B14F-4D97-AF65-F5344CB8AC3E}">
        <p14:creationId xmlns:p14="http://schemas.microsoft.com/office/powerpoint/2010/main" val="3986560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913936313"/>
      </p:ext>
    </p:extLst>
  </p:cSld>
  <p:clrMapOvr>
    <a:masterClrMapping/>
  </p:clrMapOvr>
  <p:transition>
    <p:fade/>
  </p:transition>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8245088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387C1BE-9B19-41F9-838B-B934ABEFFCBD}" type="datetimeFigureOut">
              <a:rPr lang="en-US" smtClean="0"/>
              <a:t>12/3/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371747356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977189571"/>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lvl1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6169553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21312293"/>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22657207"/>
      </p:ext>
    </p:extLst>
  </p:cSld>
  <p:clrMapOvr>
    <a:masterClrMapping/>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301069746"/>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69241"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544214" y="1189176"/>
            <a:ext cx="5378548" cy="2377940"/>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840185780"/>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Tree>
    <p:extLst>
      <p:ext uri="{BB962C8B-B14F-4D97-AF65-F5344CB8AC3E}">
        <p14:creationId xmlns:p14="http://schemas.microsoft.com/office/powerpoint/2010/main" val="3669451318"/>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55105" y="0"/>
            <a:ext cx="8336751" cy="6858623"/>
          </a:xfrm>
          <a:prstGeom prst="rect">
            <a:avLst/>
          </a:prstGeom>
        </p:spPr>
      </p:pic>
      <p:sp>
        <p:nvSpPr>
          <p:cNvPr id="4" name="Rectangle 3"/>
          <p:cNvSpPr/>
          <p:nvPr userDrawn="1"/>
        </p:nvSpPr>
        <p:spPr bwMode="white">
          <a:xfrm>
            <a:off x="0" y="0"/>
            <a:ext cx="3854938"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0798" y="291069"/>
            <a:ext cx="3314902" cy="2697988"/>
          </a:xfrm>
          <a:noFill/>
        </p:spPr>
        <p:txBody>
          <a:bodyPr tIns="91440" bIns="91440" anchor="t" anchorCtr="0"/>
          <a:lstStyle>
            <a:lvl1pPr>
              <a:defRPr sz="5882" spc="-98" baseline="0">
                <a:gradFill>
                  <a:gsLst>
                    <a:gs pos="0">
                      <a:schemeClr val="tx1"/>
                    </a:gs>
                    <a:gs pos="100000">
                      <a:schemeClr val="tx1"/>
                    </a:gs>
                  </a:gsLst>
                  <a:lin ang="5400000" scaled="0"/>
                </a:gradFill>
              </a:defRPr>
            </a:lvl1pPr>
          </a:lstStyle>
          <a:p>
            <a:r>
              <a:rPr lang="en-US" dirty="0" smtClean="0"/>
              <a:t>Demo</a:t>
            </a:r>
            <a:endParaRPr lang="en-US" dirty="0"/>
          </a:p>
        </p:txBody>
      </p:sp>
      <p:sp>
        <p:nvSpPr>
          <p:cNvPr id="5" name="Text Placeholder 4"/>
          <p:cNvSpPr>
            <a:spLocks noGrp="1"/>
          </p:cNvSpPr>
          <p:nvPr>
            <p:ph type="body" sz="quarter" idx="12" hasCustomPrompt="1"/>
          </p:nvPr>
        </p:nvSpPr>
        <p:spPr>
          <a:xfrm>
            <a:off x="269240" y="3877271"/>
            <a:ext cx="3316460" cy="1793881"/>
          </a:xfrm>
          <a:noFill/>
        </p:spPr>
        <p:txBody>
          <a:bodyPr lIns="182880" tIns="146304" rIns="182880" bIns="146304">
            <a:noAutofit/>
          </a:bodyPr>
          <a:lstStyle>
            <a:lvl1pPr marL="0" indent="0">
              <a:spcBef>
                <a:spcPts val="0"/>
              </a:spcBef>
              <a:buNone/>
              <a:defRPr sz="2745" spc="0" baseline="0">
                <a:gradFill>
                  <a:gsLst>
                    <a:gs pos="100000">
                      <a:schemeClr val="tx1"/>
                    </a:gs>
                    <a:gs pos="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8033079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bg2"/>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854961" y="-312"/>
            <a:ext cx="8336751" cy="6858623"/>
          </a:xfrm>
          <a:prstGeom prst="rect">
            <a:avLst/>
          </a:prstGeom>
        </p:spPr>
      </p:pic>
      <p:sp>
        <p:nvSpPr>
          <p:cNvPr id="5" name="Rectangle 4"/>
          <p:cNvSpPr/>
          <p:nvPr userDrawn="1"/>
        </p:nvSpPr>
        <p:spPr bwMode="white">
          <a:xfrm>
            <a:off x="0" y="0"/>
            <a:ext cx="3854938" cy="68580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3428" tIns="107571" rIns="143428" bIns="107571"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6" name="Title 1"/>
          <p:cNvSpPr>
            <a:spLocks noGrp="1"/>
          </p:cNvSpPr>
          <p:nvPr>
            <p:ph type="title" hasCustomPrompt="1"/>
          </p:nvPr>
        </p:nvSpPr>
        <p:spPr>
          <a:xfrm>
            <a:off x="270798" y="291069"/>
            <a:ext cx="3314902" cy="2697988"/>
          </a:xfrm>
          <a:noFill/>
        </p:spPr>
        <p:txBody>
          <a:bodyPr tIns="91440" bIns="91440" anchor="t" anchorCtr="0"/>
          <a:lstStyle>
            <a:lvl1pPr>
              <a:defRPr sz="5882" spc="-98" baseline="0">
                <a:gradFill>
                  <a:gsLst>
                    <a:gs pos="5833">
                      <a:srgbClr val="FFFFFF"/>
                    </a:gs>
                    <a:gs pos="18000">
                      <a:srgbClr val="FFFFFF"/>
                    </a:gs>
                  </a:gsLst>
                  <a:lin ang="5400000" scaled="0"/>
                </a:gradFill>
              </a:defRPr>
            </a:lvl1pPr>
          </a:lstStyle>
          <a:p>
            <a:r>
              <a:rPr lang="en-US" dirty="0" smtClean="0"/>
              <a:t>Video</a:t>
            </a:r>
            <a:endParaRPr lang="en-US" dirty="0"/>
          </a:p>
        </p:txBody>
      </p:sp>
    </p:spTree>
    <p:extLst>
      <p:ext uri="{BB962C8B-B14F-4D97-AF65-F5344CB8AC3E}">
        <p14:creationId xmlns:p14="http://schemas.microsoft.com/office/powerpoint/2010/main" val="21421548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30364888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F387C1BE-9B19-41F9-838B-B934ABEFFCBD}" type="datetimeFigureOut">
              <a:rPr lang="en-US" smtClean="0"/>
              <a:t>12/3/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2271F2E-B673-40EB-9C0A-E8B4D5212E29}" type="slidenum">
              <a:rPr lang="en-US" smtClean="0"/>
              <a:t>‹#›</a:t>
            </a:fld>
            <a:endParaRPr lang="en-US"/>
          </a:p>
        </p:txBody>
      </p:sp>
    </p:spTree>
    <p:extLst>
      <p:ext uri="{BB962C8B-B14F-4D97-AF65-F5344CB8AC3E}">
        <p14:creationId xmlns:p14="http://schemas.microsoft.com/office/powerpoint/2010/main" val="120162438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93053703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34326981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137337144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Section Title Dark">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69173358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smtClean="0"/>
              <a:t>50/50 photo layout</a:t>
            </a:r>
            <a:endParaRPr lang="en-US" dirty="0"/>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smtClean="0"/>
              <a:t>Click icon to add picture</a:t>
            </a:r>
            <a:endParaRPr lang="en-US" dirty="0"/>
          </a:p>
        </p:txBody>
      </p:sp>
    </p:spTree>
    <p:extLst>
      <p:ext uri="{BB962C8B-B14F-4D97-AF65-F5344CB8AC3E}">
        <p14:creationId xmlns:p14="http://schemas.microsoft.com/office/powerpoint/2010/main" val="341808692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04750029"/>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203916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7225956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753043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lank Dark Color">
    <p:bg>
      <p:bgPr>
        <a:solidFill>
          <a:schemeClr val="bg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755473681"/>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21.xml"/><Relationship Id="rId7" Type="http://schemas.openxmlformats.org/officeDocument/2006/relationships/vmlDrawing" Target="../drawings/vmlDrawing3.v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2.xml"/><Relationship Id="rId5" Type="http://schemas.openxmlformats.org/officeDocument/2006/relationships/slideLayout" Target="../slideLayouts/slideLayout23.xml"/><Relationship Id="rId10" Type="http://schemas.openxmlformats.org/officeDocument/2006/relationships/image" Target="../media/image3.emf"/><Relationship Id="rId4" Type="http://schemas.openxmlformats.org/officeDocument/2006/relationships/slideLayout" Target="../slideLayouts/slideLayout22.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9.vml"/><Relationship Id="rId3" Type="http://schemas.openxmlformats.org/officeDocument/2006/relationships/slideLayout" Target="../slideLayouts/slideLayout26.xml"/><Relationship Id="rId7"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image" Target="../media/image3.emf"/><Relationship Id="rId5" Type="http://schemas.openxmlformats.org/officeDocument/2006/relationships/slideLayout" Target="../slideLayouts/slideLayout28.xml"/><Relationship Id="rId10" Type="http://schemas.openxmlformats.org/officeDocument/2006/relationships/oleObject" Target="../embeddings/oleObject9.bin"/><Relationship Id="rId4" Type="http://schemas.openxmlformats.org/officeDocument/2006/relationships/slideLayout" Target="../slideLayouts/slideLayout27.xml"/><Relationship Id="rId9" Type="http://schemas.openxmlformats.org/officeDocument/2006/relationships/tags" Target="../tags/tag9.xml"/></Relationships>
</file>

<file path=ppt/slideMasters/_rels/slideMaster4.xml.rels><?xml version="1.0" encoding="UTF-8" standalone="yes"?>
<Relationships xmlns="http://schemas.openxmlformats.org/package/2006/relationships"><Relationship Id="rId8" Type="http://schemas.openxmlformats.org/officeDocument/2006/relationships/vmlDrawing" Target="../drawings/vmlDrawing15.vml"/><Relationship Id="rId3" Type="http://schemas.openxmlformats.org/officeDocument/2006/relationships/slideLayout" Target="../slideLayouts/slideLayout32.xml"/><Relationship Id="rId7"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image" Target="../media/image3.emf"/><Relationship Id="rId5" Type="http://schemas.openxmlformats.org/officeDocument/2006/relationships/slideLayout" Target="../slideLayouts/slideLayout34.xml"/><Relationship Id="rId10" Type="http://schemas.openxmlformats.org/officeDocument/2006/relationships/oleObject" Target="../embeddings/oleObject15.bin"/><Relationship Id="rId4" Type="http://schemas.openxmlformats.org/officeDocument/2006/relationships/slideLayout" Target="../slideLayouts/slideLayout33.xml"/><Relationship Id="rId9" Type="http://schemas.openxmlformats.org/officeDocument/2006/relationships/tags" Target="../tags/tag15.xml"/></Relationships>
</file>

<file path=ppt/slideMasters/_rels/slideMaster5.xml.rels><?xml version="1.0" encoding="UTF-8" standalone="yes"?>
<Relationships xmlns="http://schemas.openxmlformats.org/package/2006/relationships"><Relationship Id="rId8" Type="http://schemas.openxmlformats.org/officeDocument/2006/relationships/vmlDrawing" Target="../drawings/vmlDrawing21.vml"/><Relationship Id="rId3" Type="http://schemas.openxmlformats.org/officeDocument/2006/relationships/slideLayout" Target="../slideLayouts/slideLayout38.xml"/><Relationship Id="rId7"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image" Target="../media/image3.emf"/><Relationship Id="rId5" Type="http://schemas.openxmlformats.org/officeDocument/2006/relationships/slideLayout" Target="../slideLayouts/slideLayout40.xml"/><Relationship Id="rId10" Type="http://schemas.openxmlformats.org/officeDocument/2006/relationships/oleObject" Target="../embeddings/oleObject21.bin"/><Relationship Id="rId4" Type="http://schemas.openxmlformats.org/officeDocument/2006/relationships/slideLayout" Target="../slideLayouts/slideLayout39.xml"/><Relationship Id="rId9" Type="http://schemas.openxmlformats.org/officeDocument/2006/relationships/tags" Target="../tags/tag21.x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27.vml"/><Relationship Id="rId3" Type="http://schemas.openxmlformats.org/officeDocument/2006/relationships/slideLayout" Target="../slideLayouts/slideLayout44.xml"/><Relationship Id="rId7" Type="http://schemas.openxmlformats.org/officeDocument/2006/relationships/theme" Target="../theme/theme6.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image" Target="../media/image3.emf"/><Relationship Id="rId5" Type="http://schemas.openxmlformats.org/officeDocument/2006/relationships/slideLayout" Target="../slideLayouts/slideLayout46.xml"/><Relationship Id="rId10" Type="http://schemas.openxmlformats.org/officeDocument/2006/relationships/oleObject" Target="../embeddings/oleObject27.bin"/><Relationship Id="rId4" Type="http://schemas.openxmlformats.org/officeDocument/2006/relationships/slideLayout" Target="../slideLayouts/slideLayout45.xml"/><Relationship Id="rId9" Type="http://schemas.openxmlformats.org/officeDocument/2006/relationships/tags" Target="../tags/tag27.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5.xml"/><Relationship Id="rId13" Type="http://schemas.openxmlformats.org/officeDocument/2006/relationships/slideLayout" Target="../slideLayouts/slideLayout60.xml"/><Relationship Id="rId18" Type="http://schemas.openxmlformats.org/officeDocument/2006/relationships/slideLayout" Target="../slideLayouts/slideLayout65.xml"/><Relationship Id="rId26" Type="http://schemas.openxmlformats.org/officeDocument/2006/relationships/slideLayout" Target="../slideLayouts/slideLayout73.xml"/><Relationship Id="rId3" Type="http://schemas.openxmlformats.org/officeDocument/2006/relationships/slideLayout" Target="../slideLayouts/slideLayout50.xml"/><Relationship Id="rId21" Type="http://schemas.openxmlformats.org/officeDocument/2006/relationships/slideLayout" Target="../slideLayouts/slideLayout68.xml"/><Relationship Id="rId7" Type="http://schemas.openxmlformats.org/officeDocument/2006/relationships/slideLayout" Target="../slideLayouts/slideLayout54.xml"/><Relationship Id="rId12" Type="http://schemas.openxmlformats.org/officeDocument/2006/relationships/slideLayout" Target="../slideLayouts/slideLayout59.xml"/><Relationship Id="rId17" Type="http://schemas.openxmlformats.org/officeDocument/2006/relationships/slideLayout" Target="../slideLayouts/slideLayout64.xml"/><Relationship Id="rId25" Type="http://schemas.openxmlformats.org/officeDocument/2006/relationships/slideLayout" Target="../slideLayouts/slideLayout72.xml"/><Relationship Id="rId2" Type="http://schemas.openxmlformats.org/officeDocument/2006/relationships/slideLayout" Target="../slideLayouts/slideLayout49.xml"/><Relationship Id="rId16" Type="http://schemas.openxmlformats.org/officeDocument/2006/relationships/slideLayout" Target="../slideLayouts/slideLayout63.xml"/><Relationship Id="rId20" Type="http://schemas.openxmlformats.org/officeDocument/2006/relationships/slideLayout" Target="../slideLayouts/slideLayout67.xml"/><Relationship Id="rId29" Type="http://schemas.openxmlformats.org/officeDocument/2006/relationships/theme" Target="../theme/theme7.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24" Type="http://schemas.openxmlformats.org/officeDocument/2006/relationships/slideLayout" Target="../slideLayouts/slideLayout71.xml"/><Relationship Id="rId5" Type="http://schemas.openxmlformats.org/officeDocument/2006/relationships/slideLayout" Target="../slideLayouts/slideLayout52.xml"/><Relationship Id="rId15" Type="http://schemas.openxmlformats.org/officeDocument/2006/relationships/slideLayout" Target="../slideLayouts/slideLayout62.xml"/><Relationship Id="rId23" Type="http://schemas.openxmlformats.org/officeDocument/2006/relationships/slideLayout" Target="../slideLayouts/slideLayout70.xml"/><Relationship Id="rId28" Type="http://schemas.openxmlformats.org/officeDocument/2006/relationships/slideLayout" Target="../slideLayouts/slideLayout75.xml"/><Relationship Id="rId10" Type="http://schemas.openxmlformats.org/officeDocument/2006/relationships/slideLayout" Target="../slideLayouts/slideLayout57.xml"/><Relationship Id="rId19" Type="http://schemas.openxmlformats.org/officeDocument/2006/relationships/slideLayout" Target="../slideLayouts/slideLayout66.xml"/><Relationship Id="rId4" Type="http://schemas.openxmlformats.org/officeDocument/2006/relationships/slideLayout" Target="../slideLayouts/slideLayout51.xml"/><Relationship Id="rId9" Type="http://schemas.openxmlformats.org/officeDocument/2006/relationships/slideLayout" Target="../slideLayouts/slideLayout56.xml"/><Relationship Id="rId14" Type="http://schemas.openxmlformats.org/officeDocument/2006/relationships/slideLayout" Target="../slideLayouts/slideLayout61.xml"/><Relationship Id="rId22" Type="http://schemas.openxmlformats.org/officeDocument/2006/relationships/slideLayout" Target="../slideLayouts/slideLayout69.xml"/><Relationship Id="rId27" Type="http://schemas.openxmlformats.org/officeDocument/2006/relationships/slideLayout" Target="../slideLayouts/slideLayout74.xml"/><Relationship Id="rId30" Type="http://schemas.openxmlformats.org/officeDocument/2006/relationships/image" Target="../media/image7.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3.xml"/><Relationship Id="rId13" Type="http://schemas.openxmlformats.org/officeDocument/2006/relationships/slideLayout" Target="../slideLayouts/slideLayout88.xml"/><Relationship Id="rId18" Type="http://schemas.openxmlformats.org/officeDocument/2006/relationships/slideLayout" Target="../slideLayouts/slideLayout93.xml"/><Relationship Id="rId26" Type="http://schemas.openxmlformats.org/officeDocument/2006/relationships/slideLayout" Target="../slideLayouts/slideLayout101.xml"/><Relationship Id="rId3" Type="http://schemas.openxmlformats.org/officeDocument/2006/relationships/slideLayout" Target="../slideLayouts/slideLayout78.xml"/><Relationship Id="rId21" Type="http://schemas.openxmlformats.org/officeDocument/2006/relationships/slideLayout" Target="../slideLayouts/slideLayout96.xml"/><Relationship Id="rId7" Type="http://schemas.openxmlformats.org/officeDocument/2006/relationships/slideLayout" Target="../slideLayouts/slideLayout82.xml"/><Relationship Id="rId12" Type="http://schemas.openxmlformats.org/officeDocument/2006/relationships/slideLayout" Target="../slideLayouts/slideLayout87.xml"/><Relationship Id="rId17" Type="http://schemas.openxmlformats.org/officeDocument/2006/relationships/slideLayout" Target="../slideLayouts/slideLayout92.xml"/><Relationship Id="rId25" Type="http://schemas.openxmlformats.org/officeDocument/2006/relationships/slideLayout" Target="../slideLayouts/slideLayout100.xml"/><Relationship Id="rId2" Type="http://schemas.openxmlformats.org/officeDocument/2006/relationships/slideLayout" Target="../slideLayouts/slideLayout77.xml"/><Relationship Id="rId16" Type="http://schemas.openxmlformats.org/officeDocument/2006/relationships/slideLayout" Target="../slideLayouts/slideLayout91.xml"/><Relationship Id="rId20" Type="http://schemas.openxmlformats.org/officeDocument/2006/relationships/slideLayout" Target="../slideLayouts/slideLayout95.xml"/><Relationship Id="rId29" Type="http://schemas.openxmlformats.org/officeDocument/2006/relationships/theme" Target="../theme/theme8.xml"/><Relationship Id="rId1" Type="http://schemas.openxmlformats.org/officeDocument/2006/relationships/slideLayout" Target="../slideLayouts/slideLayout76.xml"/><Relationship Id="rId6" Type="http://schemas.openxmlformats.org/officeDocument/2006/relationships/slideLayout" Target="../slideLayouts/slideLayout81.xml"/><Relationship Id="rId11" Type="http://schemas.openxmlformats.org/officeDocument/2006/relationships/slideLayout" Target="../slideLayouts/slideLayout86.xml"/><Relationship Id="rId24" Type="http://schemas.openxmlformats.org/officeDocument/2006/relationships/slideLayout" Target="../slideLayouts/slideLayout99.xml"/><Relationship Id="rId5" Type="http://schemas.openxmlformats.org/officeDocument/2006/relationships/slideLayout" Target="../slideLayouts/slideLayout80.xml"/><Relationship Id="rId15" Type="http://schemas.openxmlformats.org/officeDocument/2006/relationships/slideLayout" Target="../slideLayouts/slideLayout90.xml"/><Relationship Id="rId23" Type="http://schemas.openxmlformats.org/officeDocument/2006/relationships/slideLayout" Target="../slideLayouts/slideLayout98.xml"/><Relationship Id="rId28" Type="http://schemas.openxmlformats.org/officeDocument/2006/relationships/slideLayout" Target="../slideLayouts/slideLayout103.xml"/><Relationship Id="rId10" Type="http://schemas.openxmlformats.org/officeDocument/2006/relationships/slideLayout" Target="../slideLayouts/slideLayout85.xml"/><Relationship Id="rId19" Type="http://schemas.openxmlformats.org/officeDocument/2006/relationships/slideLayout" Target="../slideLayouts/slideLayout94.xml"/><Relationship Id="rId4" Type="http://schemas.openxmlformats.org/officeDocument/2006/relationships/slideLayout" Target="../slideLayouts/slideLayout79.xml"/><Relationship Id="rId9" Type="http://schemas.openxmlformats.org/officeDocument/2006/relationships/slideLayout" Target="../slideLayouts/slideLayout84.xml"/><Relationship Id="rId14" Type="http://schemas.openxmlformats.org/officeDocument/2006/relationships/slideLayout" Target="../slideLayouts/slideLayout89.xml"/><Relationship Id="rId22" Type="http://schemas.openxmlformats.org/officeDocument/2006/relationships/slideLayout" Target="../slideLayouts/slideLayout97.xml"/><Relationship Id="rId27" Type="http://schemas.openxmlformats.org/officeDocument/2006/relationships/slideLayout" Target="../slideLayouts/slideLayout102.xml"/><Relationship Id="rId30" Type="http://schemas.openxmlformats.org/officeDocument/2006/relationships/image" Target="../media/image7.pn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5" Type="http://schemas.openxmlformats.org/officeDocument/2006/relationships/slideLayout" Target="../slideLayouts/slideLayout108.xml"/><Relationship Id="rId4" Type="http://schemas.openxmlformats.org/officeDocument/2006/relationships/slideLayout" Target="../slideLayouts/slideLayout10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387C1BE-9B19-41F9-838B-B934ABEFFCBD}" type="datetimeFigureOut">
              <a:rPr lang="en-US" smtClean="0"/>
              <a:t>12/3/201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2271F2E-B673-40EB-9C0A-E8B4D5212E29}" type="slidenum">
              <a:rPr lang="en-US" smtClean="0"/>
              <a:t>‹#›</a:t>
            </a:fld>
            <a:endParaRPr lang="en-US"/>
          </a:p>
        </p:txBody>
      </p:sp>
    </p:spTree>
    <p:extLst>
      <p:ext uri="{BB962C8B-B14F-4D97-AF65-F5344CB8AC3E}">
        <p14:creationId xmlns:p14="http://schemas.microsoft.com/office/powerpoint/2010/main" val="13061503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6" r:id="rId14"/>
    <p:sldLayoutId id="2147483667" r:id="rId15"/>
    <p:sldLayoutId id="2147483668" r:id="rId16"/>
    <p:sldLayoutId id="2147483704" r:id="rId17"/>
    <p:sldLayoutId id="2147483763" r:id="rId1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8"/>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8253"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2" y="273947"/>
            <a:ext cx="10971866" cy="114403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4322" y="1600096"/>
            <a:ext cx="10971866" cy="452634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75708163"/>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Lst>
  <p:hf hdr="0" ftr="0" dt="0"/>
  <p:txStyles>
    <p:titleStyle>
      <a:lvl1pPr algn="l" defTabSz="878390" rtl="0" eaLnBrk="1" latinLnBrk="0" hangingPunct="1">
        <a:spcBef>
          <a:spcPct val="0"/>
        </a:spcBef>
        <a:buNone/>
        <a:defRPr sz="4226" kern="1200">
          <a:solidFill>
            <a:schemeClr val="bg1"/>
          </a:solidFill>
          <a:latin typeface="Segoe UI Light" pitchFamily="34" charset="0"/>
          <a:ea typeface="+mj-ea"/>
          <a:cs typeface="+mj-cs"/>
        </a:defRPr>
      </a:lvl1pPr>
    </p:titleStyle>
    <p:bodyStyle>
      <a:lvl1pPr marL="329396" indent="-329396" algn="l" defTabSz="878390" rtl="0" eaLnBrk="1" latinLnBrk="0" hangingPunct="1">
        <a:spcBef>
          <a:spcPct val="20000"/>
        </a:spcBef>
        <a:buFont typeface="Arial" pitchFamily="34" charset="0"/>
        <a:buChar char="•"/>
        <a:defRPr sz="3073" kern="1200">
          <a:solidFill>
            <a:schemeClr val="bg1"/>
          </a:solidFill>
          <a:latin typeface="Segoe UI" pitchFamily="34" charset="0"/>
          <a:ea typeface="Segoe UI" pitchFamily="34" charset="0"/>
          <a:cs typeface="Segoe UI" pitchFamily="34" charset="0"/>
        </a:defRPr>
      </a:lvl1pPr>
      <a:lvl2pPr marL="713692" indent="-274498" algn="l" defTabSz="878390" rtl="0" eaLnBrk="1" latinLnBrk="0" hangingPunct="1">
        <a:spcBef>
          <a:spcPct val="20000"/>
        </a:spcBef>
        <a:buFont typeface="Arial" pitchFamily="34" charset="0"/>
        <a:buChar char="–"/>
        <a:defRPr sz="2691" kern="1200">
          <a:solidFill>
            <a:schemeClr val="bg1"/>
          </a:solidFill>
          <a:latin typeface="Segoe UI" pitchFamily="34" charset="0"/>
          <a:ea typeface="Segoe UI" pitchFamily="34" charset="0"/>
          <a:cs typeface="Segoe UI" pitchFamily="34" charset="0"/>
        </a:defRPr>
      </a:lvl2pPr>
      <a:lvl3pPr marL="1097988" indent="-219598" algn="l" defTabSz="878390" rtl="0" eaLnBrk="1" latinLnBrk="0" hangingPunct="1">
        <a:spcBef>
          <a:spcPct val="20000"/>
        </a:spcBef>
        <a:buFont typeface="Arial" pitchFamily="34" charset="0"/>
        <a:buChar char="•"/>
        <a:defRPr sz="2307" kern="1200">
          <a:solidFill>
            <a:schemeClr val="bg1"/>
          </a:solidFill>
          <a:latin typeface="Segoe UI" pitchFamily="34" charset="0"/>
          <a:ea typeface="Segoe UI" pitchFamily="34" charset="0"/>
          <a:cs typeface="Segoe UI" pitchFamily="34" charset="0"/>
        </a:defRPr>
      </a:lvl3pPr>
      <a:lvl4pPr marL="1537183"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4pPr>
      <a:lvl5pPr marL="1976377"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5pPr>
      <a:lvl6pPr marL="241557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6pPr>
      <a:lvl7pPr marL="2854769"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7pPr>
      <a:lvl8pPr marL="329396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8pPr>
      <a:lvl9pPr marL="3733158"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9pPr>
    </p:bodyStyle>
    <p:otherStyle>
      <a:defPPr>
        <a:defRPr lang="en-US"/>
      </a:defPPr>
      <a:lvl1pPr marL="0" algn="l" defTabSz="878390" rtl="0" eaLnBrk="1" latinLnBrk="0" hangingPunct="1">
        <a:defRPr sz="1729" kern="1200">
          <a:solidFill>
            <a:schemeClr val="tx1"/>
          </a:solidFill>
          <a:latin typeface="+mn-lt"/>
          <a:ea typeface="+mn-ea"/>
          <a:cs typeface="+mn-cs"/>
        </a:defRPr>
      </a:lvl1pPr>
      <a:lvl2pPr marL="439195" algn="l" defTabSz="878390" rtl="0" eaLnBrk="1" latinLnBrk="0" hangingPunct="1">
        <a:defRPr sz="1729" kern="1200">
          <a:solidFill>
            <a:schemeClr val="tx1"/>
          </a:solidFill>
          <a:latin typeface="+mn-lt"/>
          <a:ea typeface="+mn-ea"/>
          <a:cs typeface="+mn-cs"/>
        </a:defRPr>
      </a:lvl2pPr>
      <a:lvl3pPr marL="878390" algn="l" defTabSz="878390" rtl="0" eaLnBrk="1" latinLnBrk="0" hangingPunct="1">
        <a:defRPr sz="1729" kern="1200">
          <a:solidFill>
            <a:schemeClr val="tx1"/>
          </a:solidFill>
          <a:latin typeface="+mn-lt"/>
          <a:ea typeface="+mn-ea"/>
          <a:cs typeface="+mn-cs"/>
        </a:defRPr>
      </a:lvl3pPr>
      <a:lvl4pPr marL="1317585" algn="l" defTabSz="878390" rtl="0" eaLnBrk="1" latinLnBrk="0" hangingPunct="1">
        <a:defRPr sz="1729" kern="1200">
          <a:solidFill>
            <a:schemeClr val="tx1"/>
          </a:solidFill>
          <a:latin typeface="+mn-lt"/>
          <a:ea typeface="+mn-ea"/>
          <a:cs typeface="+mn-cs"/>
        </a:defRPr>
      </a:lvl4pPr>
      <a:lvl5pPr marL="1756781" algn="l" defTabSz="878390" rtl="0" eaLnBrk="1" latinLnBrk="0" hangingPunct="1">
        <a:defRPr sz="1729" kern="1200">
          <a:solidFill>
            <a:schemeClr val="tx1"/>
          </a:solidFill>
          <a:latin typeface="+mn-lt"/>
          <a:ea typeface="+mn-ea"/>
          <a:cs typeface="+mn-cs"/>
        </a:defRPr>
      </a:lvl5pPr>
      <a:lvl6pPr marL="2195974" algn="l" defTabSz="878390" rtl="0" eaLnBrk="1" latinLnBrk="0" hangingPunct="1">
        <a:defRPr sz="1729" kern="1200">
          <a:solidFill>
            <a:schemeClr val="tx1"/>
          </a:solidFill>
          <a:latin typeface="+mn-lt"/>
          <a:ea typeface="+mn-ea"/>
          <a:cs typeface="+mn-cs"/>
        </a:defRPr>
      </a:lvl6pPr>
      <a:lvl7pPr marL="2635170" algn="l" defTabSz="878390" rtl="0" eaLnBrk="1" latinLnBrk="0" hangingPunct="1">
        <a:defRPr sz="1729" kern="1200">
          <a:solidFill>
            <a:schemeClr val="tx1"/>
          </a:solidFill>
          <a:latin typeface="+mn-lt"/>
          <a:ea typeface="+mn-ea"/>
          <a:cs typeface="+mn-cs"/>
        </a:defRPr>
      </a:lvl7pPr>
      <a:lvl8pPr marL="3074365" algn="l" defTabSz="878390" rtl="0" eaLnBrk="1" latinLnBrk="0" hangingPunct="1">
        <a:defRPr sz="1729" kern="1200">
          <a:solidFill>
            <a:schemeClr val="tx1"/>
          </a:solidFill>
          <a:latin typeface="+mn-lt"/>
          <a:ea typeface="+mn-ea"/>
          <a:cs typeface="+mn-cs"/>
        </a:defRPr>
      </a:lvl8pPr>
      <a:lvl9pPr marL="3513559" algn="l" defTabSz="878390" rtl="0" eaLnBrk="1" latinLnBrk="0" hangingPunct="1">
        <a:defRPr sz="172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439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2" y="273947"/>
            <a:ext cx="10971866" cy="114403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4322" y="1600096"/>
            <a:ext cx="10971866" cy="452634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7959997"/>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Lst>
  <p:hf hdr="0" ftr="0" dt="0"/>
  <p:txStyles>
    <p:titleStyle>
      <a:lvl1pPr algn="l" defTabSz="878390" rtl="0" eaLnBrk="1" latinLnBrk="0" hangingPunct="1">
        <a:spcBef>
          <a:spcPct val="0"/>
        </a:spcBef>
        <a:buNone/>
        <a:defRPr sz="4226" kern="1200">
          <a:solidFill>
            <a:schemeClr val="bg1"/>
          </a:solidFill>
          <a:latin typeface="Segoe UI Light" pitchFamily="34" charset="0"/>
          <a:ea typeface="+mj-ea"/>
          <a:cs typeface="+mj-cs"/>
        </a:defRPr>
      </a:lvl1pPr>
    </p:titleStyle>
    <p:bodyStyle>
      <a:lvl1pPr marL="329396" indent="-329396" algn="l" defTabSz="878390" rtl="0" eaLnBrk="1" latinLnBrk="0" hangingPunct="1">
        <a:spcBef>
          <a:spcPct val="20000"/>
        </a:spcBef>
        <a:buFont typeface="Arial" pitchFamily="34" charset="0"/>
        <a:buChar char="•"/>
        <a:defRPr sz="3073" kern="1200">
          <a:solidFill>
            <a:schemeClr val="bg1"/>
          </a:solidFill>
          <a:latin typeface="Segoe UI" pitchFamily="34" charset="0"/>
          <a:ea typeface="Segoe UI" pitchFamily="34" charset="0"/>
          <a:cs typeface="Segoe UI" pitchFamily="34" charset="0"/>
        </a:defRPr>
      </a:lvl1pPr>
      <a:lvl2pPr marL="713692" indent="-274498" algn="l" defTabSz="878390" rtl="0" eaLnBrk="1" latinLnBrk="0" hangingPunct="1">
        <a:spcBef>
          <a:spcPct val="20000"/>
        </a:spcBef>
        <a:buFont typeface="Arial" pitchFamily="34" charset="0"/>
        <a:buChar char="–"/>
        <a:defRPr sz="2691" kern="1200">
          <a:solidFill>
            <a:schemeClr val="bg1"/>
          </a:solidFill>
          <a:latin typeface="Segoe UI" pitchFamily="34" charset="0"/>
          <a:ea typeface="Segoe UI" pitchFamily="34" charset="0"/>
          <a:cs typeface="Segoe UI" pitchFamily="34" charset="0"/>
        </a:defRPr>
      </a:lvl2pPr>
      <a:lvl3pPr marL="1097988" indent="-219598" algn="l" defTabSz="878390" rtl="0" eaLnBrk="1" latinLnBrk="0" hangingPunct="1">
        <a:spcBef>
          <a:spcPct val="20000"/>
        </a:spcBef>
        <a:buFont typeface="Arial" pitchFamily="34" charset="0"/>
        <a:buChar char="•"/>
        <a:defRPr sz="2307" kern="1200">
          <a:solidFill>
            <a:schemeClr val="bg1"/>
          </a:solidFill>
          <a:latin typeface="Segoe UI" pitchFamily="34" charset="0"/>
          <a:ea typeface="Segoe UI" pitchFamily="34" charset="0"/>
          <a:cs typeface="Segoe UI" pitchFamily="34" charset="0"/>
        </a:defRPr>
      </a:lvl3pPr>
      <a:lvl4pPr marL="1537183"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4pPr>
      <a:lvl5pPr marL="1976377"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5pPr>
      <a:lvl6pPr marL="241557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6pPr>
      <a:lvl7pPr marL="2854769"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7pPr>
      <a:lvl8pPr marL="329396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8pPr>
      <a:lvl9pPr marL="3733158"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9pPr>
    </p:bodyStyle>
    <p:otherStyle>
      <a:defPPr>
        <a:defRPr lang="en-US"/>
      </a:defPPr>
      <a:lvl1pPr marL="0" algn="l" defTabSz="878390" rtl="0" eaLnBrk="1" latinLnBrk="0" hangingPunct="1">
        <a:defRPr sz="1729" kern="1200">
          <a:solidFill>
            <a:schemeClr val="tx1"/>
          </a:solidFill>
          <a:latin typeface="+mn-lt"/>
          <a:ea typeface="+mn-ea"/>
          <a:cs typeface="+mn-cs"/>
        </a:defRPr>
      </a:lvl1pPr>
      <a:lvl2pPr marL="439195" algn="l" defTabSz="878390" rtl="0" eaLnBrk="1" latinLnBrk="0" hangingPunct="1">
        <a:defRPr sz="1729" kern="1200">
          <a:solidFill>
            <a:schemeClr val="tx1"/>
          </a:solidFill>
          <a:latin typeface="+mn-lt"/>
          <a:ea typeface="+mn-ea"/>
          <a:cs typeface="+mn-cs"/>
        </a:defRPr>
      </a:lvl2pPr>
      <a:lvl3pPr marL="878390" algn="l" defTabSz="878390" rtl="0" eaLnBrk="1" latinLnBrk="0" hangingPunct="1">
        <a:defRPr sz="1729" kern="1200">
          <a:solidFill>
            <a:schemeClr val="tx1"/>
          </a:solidFill>
          <a:latin typeface="+mn-lt"/>
          <a:ea typeface="+mn-ea"/>
          <a:cs typeface="+mn-cs"/>
        </a:defRPr>
      </a:lvl3pPr>
      <a:lvl4pPr marL="1317585" algn="l" defTabSz="878390" rtl="0" eaLnBrk="1" latinLnBrk="0" hangingPunct="1">
        <a:defRPr sz="1729" kern="1200">
          <a:solidFill>
            <a:schemeClr val="tx1"/>
          </a:solidFill>
          <a:latin typeface="+mn-lt"/>
          <a:ea typeface="+mn-ea"/>
          <a:cs typeface="+mn-cs"/>
        </a:defRPr>
      </a:lvl4pPr>
      <a:lvl5pPr marL="1756781" algn="l" defTabSz="878390" rtl="0" eaLnBrk="1" latinLnBrk="0" hangingPunct="1">
        <a:defRPr sz="1729" kern="1200">
          <a:solidFill>
            <a:schemeClr val="tx1"/>
          </a:solidFill>
          <a:latin typeface="+mn-lt"/>
          <a:ea typeface="+mn-ea"/>
          <a:cs typeface="+mn-cs"/>
        </a:defRPr>
      </a:lvl5pPr>
      <a:lvl6pPr marL="2195974" algn="l" defTabSz="878390" rtl="0" eaLnBrk="1" latinLnBrk="0" hangingPunct="1">
        <a:defRPr sz="1729" kern="1200">
          <a:solidFill>
            <a:schemeClr val="tx1"/>
          </a:solidFill>
          <a:latin typeface="+mn-lt"/>
          <a:ea typeface="+mn-ea"/>
          <a:cs typeface="+mn-cs"/>
        </a:defRPr>
      </a:lvl6pPr>
      <a:lvl7pPr marL="2635170" algn="l" defTabSz="878390" rtl="0" eaLnBrk="1" latinLnBrk="0" hangingPunct="1">
        <a:defRPr sz="1729" kern="1200">
          <a:solidFill>
            <a:schemeClr val="tx1"/>
          </a:solidFill>
          <a:latin typeface="+mn-lt"/>
          <a:ea typeface="+mn-ea"/>
          <a:cs typeface="+mn-cs"/>
        </a:defRPr>
      </a:lvl7pPr>
      <a:lvl8pPr marL="3074365" algn="l" defTabSz="878390" rtl="0" eaLnBrk="1" latinLnBrk="0" hangingPunct="1">
        <a:defRPr sz="1729" kern="1200">
          <a:solidFill>
            <a:schemeClr val="tx1"/>
          </a:solidFill>
          <a:latin typeface="+mn-lt"/>
          <a:ea typeface="+mn-ea"/>
          <a:cs typeface="+mn-cs"/>
        </a:defRPr>
      </a:lvl8pPr>
      <a:lvl9pPr marL="3513559" algn="l" defTabSz="878390" rtl="0" eaLnBrk="1" latinLnBrk="0" hangingPunct="1">
        <a:defRPr sz="172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0541"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2" y="273947"/>
            <a:ext cx="10971866" cy="114403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4322" y="1600096"/>
            <a:ext cx="10971866" cy="452634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27648902"/>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Lst>
  <p:hf hdr="0" ftr="0" dt="0"/>
  <p:txStyles>
    <p:titleStyle>
      <a:lvl1pPr algn="l" defTabSz="878390" rtl="0" eaLnBrk="1" latinLnBrk="0" hangingPunct="1">
        <a:spcBef>
          <a:spcPct val="0"/>
        </a:spcBef>
        <a:buNone/>
        <a:defRPr sz="4226" kern="1200">
          <a:solidFill>
            <a:schemeClr val="bg1"/>
          </a:solidFill>
          <a:latin typeface="Segoe UI Light" pitchFamily="34" charset="0"/>
          <a:ea typeface="+mj-ea"/>
          <a:cs typeface="+mj-cs"/>
        </a:defRPr>
      </a:lvl1pPr>
    </p:titleStyle>
    <p:bodyStyle>
      <a:lvl1pPr marL="329396" indent="-329396" algn="l" defTabSz="878390" rtl="0" eaLnBrk="1" latinLnBrk="0" hangingPunct="1">
        <a:spcBef>
          <a:spcPct val="20000"/>
        </a:spcBef>
        <a:buFont typeface="Arial" pitchFamily="34" charset="0"/>
        <a:buChar char="•"/>
        <a:defRPr sz="3073" kern="1200">
          <a:solidFill>
            <a:schemeClr val="bg1"/>
          </a:solidFill>
          <a:latin typeface="Segoe UI" pitchFamily="34" charset="0"/>
          <a:ea typeface="Segoe UI" pitchFamily="34" charset="0"/>
          <a:cs typeface="Segoe UI" pitchFamily="34" charset="0"/>
        </a:defRPr>
      </a:lvl1pPr>
      <a:lvl2pPr marL="713692" indent="-274498" algn="l" defTabSz="878390" rtl="0" eaLnBrk="1" latinLnBrk="0" hangingPunct="1">
        <a:spcBef>
          <a:spcPct val="20000"/>
        </a:spcBef>
        <a:buFont typeface="Arial" pitchFamily="34" charset="0"/>
        <a:buChar char="–"/>
        <a:defRPr sz="2691" kern="1200">
          <a:solidFill>
            <a:schemeClr val="bg1"/>
          </a:solidFill>
          <a:latin typeface="Segoe UI" pitchFamily="34" charset="0"/>
          <a:ea typeface="Segoe UI" pitchFamily="34" charset="0"/>
          <a:cs typeface="Segoe UI" pitchFamily="34" charset="0"/>
        </a:defRPr>
      </a:lvl2pPr>
      <a:lvl3pPr marL="1097988" indent="-219598" algn="l" defTabSz="878390" rtl="0" eaLnBrk="1" latinLnBrk="0" hangingPunct="1">
        <a:spcBef>
          <a:spcPct val="20000"/>
        </a:spcBef>
        <a:buFont typeface="Arial" pitchFamily="34" charset="0"/>
        <a:buChar char="•"/>
        <a:defRPr sz="2307" kern="1200">
          <a:solidFill>
            <a:schemeClr val="bg1"/>
          </a:solidFill>
          <a:latin typeface="Segoe UI" pitchFamily="34" charset="0"/>
          <a:ea typeface="Segoe UI" pitchFamily="34" charset="0"/>
          <a:cs typeface="Segoe UI" pitchFamily="34" charset="0"/>
        </a:defRPr>
      </a:lvl3pPr>
      <a:lvl4pPr marL="1537183"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4pPr>
      <a:lvl5pPr marL="1976377"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5pPr>
      <a:lvl6pPr marL="241557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6pPr>
      <a:lvl7pPr marL="2854769"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7pPr>
      <a:lvl8pPr marL="329396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8pPr>
      <a:lvl9pPr marL="3733158"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9pPr>
    </p:bodyStyle>
    <p:otherStyle>
      <a:defPPr>
        <a:defRPr lang="en-US"/>
      </a:defPPr>
      <a:lvl1pPr marL="0" algn="l" defTabSz="878390" rtl="0" eaLnBrk="1" latinLnBrk="0" hangingPunct="1">
        <a:defRPr sz="1729" kern="1200">
          <a:solidFill>
            <a:schemeClr val="tx1"/>
          </a:solidFill>
          <a:latin typeface="+mn-lt"/>
          <a:ea typeface="+mn-ea"/>
          <a:cs typeface="+mn-cs"/>
        </a:defRPr>
      </a:lvl1pPr>
      <a:lvl2pPr marL="439195" algn="l" defTabSz="878390" rtl="0" eaLnBrk="1" latinLnBrk="0" hangingPunct="1">
        <a:defRPr sz="1729" kern="1200">
          <a:solidFill>
            <a:schemeClr val="tx1"/>
          </a:solidFill>
          <a:latin typeface="+mn-lt"/>
          <a:ea typeface="+mn-ea"/>
          <a:cs typeface="+mn-cs"/>
        </a:defRPr>
      </a:lvl2pPr>
      <a:lvl3pPr marL="878390" algn="l" defTabSz="878390" rtl="0" eaLnBrk="1" latinLnBrk="0" hangingPunct="1">
        <a:defRPr sz="1729" kern="1200">
          <a:solidFill>
            <a:schemeClr val="tx1"/>
          </a:solidFill>
          <a:latin typeface="+mn-lt"/>
          <a:ea typeface="+mn-ea"/>
          <a:cs typeface="+mn-cs"/>
        </a:defRPr>
      </a:lvl3pPr>
      <a:lvl4pPr marL="1317585" algn="l" defTabSz="878390" rtl="0" eaLnBrk="1" latinLnBrk="0" hangingPunct="1">
        <a:defRPr sz="1729" kern="1200">
          <a:solidFill>
            <a:schemeClr val="tx1"/>
          </a:solidFill>
          <a:latin typeface="+mn-lt"/>
          <a:ea typeface="+mn-ea"/>
          <a:cs typeface="+mn-cs"/>
        </a:defRPr>
      </a:lvl4pPr>
      <a:lvl5pPr marL="1756781" algn="l" defTabSz="878390" rtl="0" eaLnBrk="1" latinLnBrk="0" hangingPunct="1">
        <a:defRPr sz="1729" kern="1200">
          <a:solidFill>
            <a:schemeClr val="tx1"/>
          </a:solidFill>
          <a:latin typeface="+mn-lt"/>
          <a:ea typeface="+mn-ea"/>
          <a:cs typeface="+mn-cs"/>
        </a:defRPr>
      </a:lvl5pPr>
      <a:lvl6pPr marL="2195974" algn="l" defTabSz="878390" rtl="0" eaLnBrk="1" latinLnBrk="0" hangingPunct="1">
        <a:defRPr sz="1729" kern="1200">
          <a:solidFill>
            <a:schemeClr val="tx1"/>
          </a:solidFill>
          <a:latin typeface="+mn-lt"/>
          <a:ea typeface="+mn-ea"/>
          <a:cs typeface="+mn-cs"/>
        </a:defRPr>
      </a:lvl6pPr>
      <a:lvl7pPr marL="2635170" algn="l" defTabSz="878390" rtl="0" eaLnBrk="1" latinLnBrk="0" hangingPunct="1">
        <a:defRPr sz="1729" kern="1200">
          <a:solidFill>
            <a:schemeClr val="tx1"/>
          </a:solidFill>
          <a:latin typeface="+mn-lt"/>
          <a:ea typeface="+mn-ea"/>
          <a:cs typeface="+mn-cs"/>
        </a:defRPr>
      </a:lvl7pPr>
      <a:lvl8pPr marL="3074365" algn="l" defTabSz="878390" rtl="0" eaLnBrk="1" latinLnBrk="0" hangingPunct="1">
        <a:defRPr sz="1729" kern="1200">
          <a:solidFill>
            <a:schemeClr val="tx1"/>
          </a:solidFill>
          <a:latin typeface="+mn-lt"/>
          <a:ea typeface="+mn-ea"/>
          <a:cs typeface="+mn-cs"/>
        </a:defRPr>
      </a:lvl8pPr>
      <a:lvl9pPr marL="3513559" algn="l" defTabSz="878390" rtl="0" eaLnBrk="1" latinLnBrk="0" hangingPunct="1">
        <a:defRPr sz="172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26683"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2" y="273947"/>
            <a:ext cx="10971866" cy="114403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4322" y="1600096"/>
            <a:ext cx="10971866" cy="452634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44252019"/>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Lst>
  <p:hf hdr="0" ftr="0" dt="0"/>
  <p:txStyles>
    <p:titleStyle>
      <a:lvl1pPr algn="l" defTabSz="878390" rtl="0" eaLnBrk="1" latinLnBrk="0" hangingPunct="1">
        <a:spcBef>
          <a:spcPct val="0"/>
        </a:spcBef>
        <a:buNone/>
        <a:defRPr sz="4226" kern="1200">
          <a:solidFill>
            <a:schemeClr val="bg1"/>
          </a:solidFill>
          <a:latin typeface="Segoe UI Light" pitchFamily="34" charset="0"/>
          <a:ea typeface="+mj-ea"/>
          <a:cs typeface="+mj-cs"/>
        </a:defRPr>
      </a:lvl1pPr>
    </p:titleStyle>
    <p:bodyStyle>
      <a:lvl1pPr marL="329396" indent="-329396" algn="l" defTabSz="878390" rtl="0" eaLnBrk="1" latinLnBrk="0" hangingPunct="1">
        <a:spcBef>
          <a:spcPct val="20000"/>
        </a:spcBef>
        <a:buFont typeface="Arial" pitchFamily="34" charset="0"/>
        <a:buChar char="•"/>
        <a:defRPr sz="3073" kern="1200">
          <a:solidFill>
            <a:schemeClr val="bg1"/>
          </a:solidFill>
          <a:latin typeface="Segoe UI" pitchFamily="34" charset="0"/>
          <a:ea typeface="Segoe UI" pitchFamily="34" charset="0"/>
          <a:cs typeface="Segoe UI" pitchFamily="34" charset="0"/>
        </a:defRPr>
      </a:lvl1pPr>
      <a:lvl2pPr marL="713692" indent="-274498" algn="l" defTabSz="878390" rtl="0" eaLnBrk="1" latinLnBrk="0" hangingPunct="1">
        <a:spcBef>
          <a:spcPct val="20000"/>
        </a:spcBef>
        <a:buFont typeface="Arial" pitchFamily="34" charset="0"/>
        <a:buChar char="–"/>
        <a:defRPr sz="2691" kern="1200">
          <a:solidFill>
            <a:schemeClr val="bg1"/>
          </a:solidFill>
          <a:latin typeface="Segoe UI" pitchFamily="34" charset="0"/>
          <a:ea typeface="Segoe UI" pitchFamily="34" charset="0"/>
          <a:cs typeface="Segoe UI" pitchFamily="34" charset="0"/>
        </a:defRPr>
      </a:lvl2pPr>
      <a:lvl3pPr marL="1097988" indent="-219598" algn="l" defTabSz="878390" rtl="0" eaLnBrk="1" latinLnBrk="0" hangingPunct="1">
        <a:spcBef>
          <a:spcPct val="20000"/>
        </a:spcBef>
        <a:buFont typeface="Arial" pitchFamily="34" charset="0"/>
        <a:buChar char="•"/>
        <a:defRPr sz="2307" kern="1200">
          <a:solidFill>
            <a:schemeClr val="bg1"/>
          </a:solidFill>
          <a:latin typeface="Segoe UI" pitchFamily="34" charset="0"/>
          <a:ea typeface="Segoe UI" pitchFamily="34" charset="0"/>
          <a:cs typeface="Segoe UI" pitchFamily="34" charset="0"/>
        </a:defRPr>
      </a:lvl3pPr>
      <a:lvl4pPr marL="1537183"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4pPr>
      <a:lvl5pPr marL="1976377"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5pPr>
      <a:lvl6pPr marL="241557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6pPr>
      <a:lvl7pPr marL="2854769"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7pPr>
      <a:lvl8pPr marL="329396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8pPr>
      <a:lvl9pPr marL="3733158"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9pPr>
    </p:bodyStyle>
    <p:otherStyle>
      <a:defPPr>
        <a:defRPr lang="en-US"/>
      </a:defPPr>
      <a:lvl1pPr marL="0" algn="l" defTabSz="878390" rtl="0" eaLnBrk="1" latinLnBrk="0" hangingPunct="1">
        <a:defRPr sz="1729" kern="1200">
          <a:solidFill>
            <a:schemeClr val="tx1"/>
          </a:solidFill>
          <a:latin typeface="+mn-lt"/>
          <a:ea typeface="+mn-ea"/>
          <a:cs typeface="+mn-cs"/>
        </a:defRPr>
      </a:lvl1pPr>
      <a:lvl2pPr marL="439195" algn="l" defTabSz="878390" rtl="0" eaLnBrk="1" latinLnBrk="0" hangingPunct="1">
        <a:defRPr sz="1729" kern="1200">
          <a:solidFill>
            <a:schemeClr val="tx1"/>
          </a:solidFill>
          <a:latin typeface="+mn-lt"/>
          <a:ea typeface="+mn-ea"/>
          <a:cs typeface="+mn-cs"/>
        </a:defRPr>
      </a:lvl2pPr>
      <a:lvl3pPr marL="878390" algn="l" defTabSz="878390" rtl="0" eaLnBrk="1" latinLnBrk="0" hangingPunct="1">
        <a:defRPr sz="1729" kern="1200">
          <a:solidFill>
            <a:schemeClr val="tx1"/>
          </a:solidFill>
          <a:latin typeface="+mn-lt"/>
          <a:ea typeface="+mn-ea"/>
          <a:cs typeface="+mn-cs"/>
        </a:defRPr>
      </a:lvl3pPr>
      <a:lvl4pPr marL="1317585" algn="l" defTabSz="878390" rtl="0" eaLnBrk="1" latinLnBrk="0" hangingPunct="1">
        <a:defRPr sz="1729" kern="1200">
          <a:solidFill>
            <a:schemeClr val="tx1"/>
          </a:solidFill>
          <a:latin typeface="+mn-lt"/>
          <a:ea typeface="+mn-ea"/>
          <a:cs typeface="+mn-cs"/>
        </a:defRPr>
      </a:lvl4pPr>
      <a:lvl5pPr marL="1756781" algn="l" defTabSz="878390" rtl="0" eaLnBrk="1" latinLnBrk="0" hangingPunct="1">
        <a:defRPr sz="1729" kern="1200">
          <a:solidFill>
            <a:schemeClr val="tx1"/>
          </a:solidFill>
          <a:latin typeface="+mn-lt"/>
          <a:ea typeface="+mn-ea"/>
          <a:cs typeface="+mn-cs"/>
        </a:defRPr>
      </a:lvl5pPr>
      <a:lvl6pPr marL="2195974" algn="l" defTabSz="878390" rtl="0" eaLnBrk="1" latinLnBrk="0" hangingPunct="1">
        <a:defRPr sz="1729" kern="1200">
          <a:solidFill>
            <a:schemeClr val="tx1"/>
          </a:solidFill>
          <a:latin typeface="+mn-lt"/>
          <a:ea typeface="+mn-ea"/>
          <a:cs typeface="+mn-cs"/>
        </a:defRPr>
      </a:lvl6pPr>
      <a:lvl7pPr marL="2635170" algn="l" defTabSz="878390" rtl="0" eaLnBrk="1" latinLnBrk="0" hangingPunct="1">
        <a:defRPr sz="1729" kern="1200">
          <a:solidFill>
            <a:schemeClr val="tx1"/>
          </a:solidFill>
          <a:latin typeface="+mn-lt"/>
          <a:ea typeface="+mn-ea"/>
          <a:cs typeface="+mn-cs"/>
        </a:defRPr>
      </a:lvl7pPr>
      <a:lvl8pPr marL="3074365" algn="l" defTabSz="878390" rtl="0" eaLnBrk="1" latinLnBrk="0" hangingPunct="1">
        <a:defRPr sz="1729" kern="1200">
          <a:solidFill>
            <a:schemeClr val="tx1"/>
          </a:solidFill>
          <a:latin typeface="+mn-lt"/>
          <a:ea typeface="+mn-ea"/>
          <a:cs typeface="+mn-cs"/>
        </a:defRPr>
      </a:lvl8pPr>
      <a:lvl9pPr marL="3513559" algn="l" defTabSz="878390" rtl="0" eaLnBrk="1" latinLnBrk="0" hangingPunct="1">
        <a:defRPr sz="1729"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0078D7"/>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9"/>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32827"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57" y="1558"/>
                        <a:ext cx="1556" cy="1556"/>
                      </a:xfrm>
                      <a:prstGeom prst="rect">
                        <a:avLst/>
                      </a:prstGeom>
                    </p:spPr>
                  </p:pic>
                </p:oleObj>
              </mc:Fallback>
            </mc:AlternateContent>
          </a:graphicData>
        </a:graphic>
      </p:graphicFrame>
      <p:sp>
        <p:nvSpPr>
          <p:cNvPr id="2" name="Title Placeholder 1"/>
          <p:cNvSpPr>
            <a:spLocks noGrp="1"/>
          </p:cNvSpPr>
          <p:nvPr>
            <p:ph type="title"/>
          </p:nvPr>
        </p:nvSpPr>
        <p:spPr>
          <a:xfrm>
            <a:off x="274322" y="273947"/>
            <a:ext cx="10971866" cy="1144038"/>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74322" y="1600096"/>
            <a:ext cx="10971866" cy="4526342"/>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07897638"/>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Lst>
  <p:hf hdr="0" ftr="0" dt="0"/>
  <p:txStyles>
    <p:titleStyle>
      <a:lvl1pPr algn="l" defTabSz="878390" rtl="0" eaLnBrk="1" latinLnBrk="0" hangingPunct="1">
        <a:spcBef>
          <a:spcPct val="0"/>
        </a:spcBef>
        <a:buNone/>
        <a:defRPr sz="4226" kern="1200">
          <a:solidFill>
            <a:schemeClr val="bg1"/>
          </a:solidFill>
          <a:latin typeface="Segoe UI Light" pitchFamily="34" charset="0"/>
          <a:ea typeface="+mj-ea"/>
          <a:cs typeface="+mj-cs"/>
        </a:defRPr>
      </a:lvl1pPr>
    </p:titleStyle>
    <p:bodyStyle>
      <a:lvl1pPr marL="329396" indent="-329396" algn="l" defTabSz="878390" rtl="0" eaLnBrk="1" latinLnBrk="0" hangingPunct="1">
        <a:spcBef>
          <a:spcPct val="20000"/>
        </a:spcBef>
        <a:buFont typeface="Arial" pitchFamily="34" charset="0"/>
        <a:buChar char="•"/>
        <a:defRPr sz="3073" kern="1200">
          <a:solidFill>
            <a:schemeClr val="bg1"/>
          </a:solidFill>
          <a:latin typeface="Segoe UI" pitchFamily="34" charset="0"/>
          <a:ea typeface="Segoe UI" pitchFamily="34" charset="0"/>
          <a:cs typeface="Segoe UI" pitchFamily="34" charset="0"/>
        </a:defRPr>
      </a:lvl1pPr>
      <a:lvl2pPr marL="713692" indent="-274498" algn="l" defTabSz="878390" rtl="0" eaLnBrk="1" latinLnBrk="0" hangingPunct="1">
        <a:spcBef>
          <a:spcPct val="20000"/>
        </a:spcBef>
        <a:buFont typeface="Arial" pitchFamily="34" charset="0"/>
        <a:buChar char="–"/>
        <a:defRPr sz="2691" kern="1200">
          <a:solidFill>
            <a:schemeClr val="bg1"/>
          </a:solidFill>
          <a:latin typeface="Segoe UI" pitchFamily="34" charset="0"/>
          <a:ea typeface="Segoe UI" pitchFamily="34" charset="0"/>
          <a:cs typeface="Segoe UI" pitchFamily="34" charset="0"/>
        </a:defRPr>
      </a:lvl2pPr>
      <a:lvl3pPr marL="1097988" indent="-219598" algn="l" defTabSz="878390" rtl="0" eaLnBrk="1" latinLnBrk="0" hangingPunct="1">
        <a:spcBef>
          <a:spcPct val="20000"/>
        </a:spcBef>
        <a:buFont typeface="Arial" pitchFamily="34" charset="0"/>
        <a:buChar char="•"/>
        <a:defRPr sz="2307" kern="1200">
          <a:solidFill>
            <a:schemeClr val="bg1"/>
          </a:solidFill>
          <a:latin typeface="Segoe UI" pitchFamily="34" charset="0"/>
          <a:ea typeface="Segoe UI" pitchFamily="34" charset="0"/>
          <a:cs typeface="Segoe UI" pitchFamily="34" charset="0"/>
        </a:defRPr>
      </a:lvl3pPr>
      <a:lvl4pPr marL="1537183"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4pPr>
      <a:lvl5pPr marL="1976377" indent="-219598" algn="l" defTabSz="878390" rtl="0" eaLnBrk="1" latinLnBrk="0" hangingPunct="1">
        <a:spcBef>
          <a:spcPct val="20000"/>
        </a:spcBef>
        <a:buFont typeface="Arial" pitchFamily="34" charset="0"/>
        <a:buChar char="»"/>
        <a:defRPr sz="1921" kern="1200">
          <a:solidFill>
            <a:schemeClr val="bg1"/>
          </a:solidFill>
          <a:latin typeface="Segoe UI" pitchFamily="34" charset="0"/>
          <a:ea typeface="Segoe UI" pitchFamily="34" charset="0"/>
          <a:cs typeface="Segoe UI" pitchFamily="34" charset="0"/>
        </a:defRPr>
      </a:lvl5pPr>
      <a:lvl6pPr marL="241557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6pPr>
      <a:lvl7pPr marL="2854769"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7pPr>
      <a:lvl8pPr marL="3293963"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8pPr>
      <a:lvl9pPr marL="3733158" indent="-219598" algn="l" defTabSz="878390" rtl="0" eaLnBrk="1" latinLnBrk="0" hangingPunct="1">
        <a:spcBef>
          <a:spcPct val="20000"/>
        </a:spcBef>
        <a:buFont typeface="Arial" pitchFamily="34" charset="0"/>
        <a:buChar char="•"/>
        <a:defRPr sz="1921" kern="1200">
          <a:solidFill>
            <a:schemeClr val="tx1"/>
          </a:solidFill>
          <a:latin typeface="+mn-lt"/>
          <a:ea typeface="+mn-ea"/>
          <a:cs typeface="+mn-cs"/>
        </a:defRPr>
      </a:lvl9pPr>
    </p:bodyStyle>
    <p:otherStyle>
      <a:defPPr>
        <a:defRPr lang="en-US"/>
      </a:defPPr>
      <a:lvl1pPr marL="0" algn="l" defTabSz="878390" rtl="0" eaLnBrk="1" latinLnBrk="0" hangingPunct="1">
        <a:defRPr sz="1729" kern="1200">
          <a:solidFill>
            <a:schemeClr val="tx1"/>
          </a:solidFill>
          <a:latin typeface="+mn-lt"/>
          <a:ea typeface="+mn-ea"/>
          <a:cs typeface="+mn-cs"/>
        </a:defRPr>
      </a:lvl1pPr>
      <a:lvl2pPr marL="439195" algn="l" defTabSz="878390" rtl="0" eaLnBrk="1" latinLnBrk="0" hangingPunct="1">
        <a:defRPr sz="1729" kern="1200">
          <a:solidFill>
            <a:schemeClr val="tx1"/>
          </a:solidFill>
          <a:latin typeface="+mn-lt"/>
          <a:ea typeface="+mn-ea"/>
          <a:cs typeface="+mn-cs"/>
        </a:defRPr>
      </a:lvl2pPr>
      <a:lvl3pPr marL="878390" algn="l" defTabSz="878390" rtl="0" eaLnBrk="1" latinLnBrk="0" hangingPunct="1">
        <a:defRPr sz="1729" kern="1200">
          <a:solidFill>
            <a:schemeClr val="tx1"/>
          </a:solidFill>
          <a:latin typeface="+mn-lt"/>
          <a:ea typeface="+mn-ea"/>
          <a:cs typeface="+mn-cs"/>
        </a:defRPr>
      </a:lvl3pPr>
      <a:lvl4pPr marL="1317585" algn="l" defTabSz="878390" rtl="0" eaLnBrk="1" latinLnBrk="0" hangingPunct="1">
        <a:defRPr sz="1729" kern="1200">
          <a:solidFill>
            <a:schemeClr val="tx1"/>
          </a:solidFill>
          <a:latin typeface="+mn-lt"/>
          <a:ea typeface="+mn-ea"/>
          <a:cs typeface="+mn-cs"/>
        </a:defRPr>
      </a:lvl4pPr>
      <a:lvl5pPr marL="1756781" algn="l" defTabSz="878390" rtl="0" eaLnBrk="1" latinLnBrk="0" hangingPunct="1">
        <a:defRPr sz="1729" kern="1200">
          <a:solidFill>
            <a:schemeClr val="tx1"/>
          </a:solidFill>
          <a:latin typeface="+mn-lt"/>
          <a:ea typeface="+mn-ea"/>
          <a:cs typeface="+mn-cs"/>
        </a:defRPr>
      </a:lvl5pPr>
      <a:lvl6pPr marL="2195974" algn="l" defTabSz="878390" rtl="0" eaLnBrk="1" latinLnBrk="0" hangingPunct="1">
        <a:defRPr sz="1729" kern="1200">
          <a:solidFill>
            <a:schemeClr val="tx1"/>
          </a:solidFill>
          <a:latin typeface="+mn-lt"/>
          <a:ea typeface="+mn-ea"/>
          <a:cs typeface="+mn-cs"/>
        </a:defRPr>
      </a:lvl6pPr>
      <a:lvl7pPr marL="2635170" algn="l" defTabSz="878390" rtl="0" eaLnBrk="1" latinLnBrk="0" hangingPunct="1">
        <a:defRPr sz="1729" kern="1200">
          <a:solidFill>
            <a:schemeClr val="tx1"/>
          </a:solidFill>
          <a:latin typeface="+mn-lt"/>
          <a:ea typeface="+mn-ea"/>
          <a:cs typeface="+mn-cs"/>
        </a:defRPr>
      </a:lvl7pPr>
      <a:lvl8pPr marL="3074365" algn="l" defTabSz="878390" rtl="0" eaLnBrk="1" latinLnBrk="0" hangingPunct="1">
        <a:defRPr sz="1729" kern="1200">
          <a:solidFill>
            <a:schemeClr val="tx1"/>
          </a:solidFill>
          <a:latin typeface="+mn-lt"/>
          <a:ea typeface="+mn-ea"/>
          <a:cs typeface="+mn-cs"/>
        </a:defRPr>
      </a:lvl8pPr>
      <a:lvl9pPr marL="3513559" algn="l" defTabSz="878390" rtl="0" eaLnBrk="1" latinLnBrk="0" hangingPunct="1">
        <a:defRPr sz="1729"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2496959381"/>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717" r:id="rId12"/>
    <p:sldLayoutId id="2147483718" r:id="rId13"/>
    <p:sldLayoutId id="2147483719" r:id="rId14"/>
    <p:sldLayoutId id="2147483720" r:id="rId15"/>
    <p:sldLayoutId id="2147483721" r:id="rId16"/>
    <p:sldLayoutId id="2147483722" r:id="rId17"/>
    <p:sldLayoutId id="2147483723" r:id="rId18"/>
    <p:sldLayoutId id="2147483724" r:id="rId19"/>
    <p:sldLayoutId id="2147483725" r:id="rId20"/>
    <p:sldLayoutId id="2147483726" r:id="rId21"/>
    <p:sldLayoutId id="2147483727" r:id="rId22"/>
    <p:sldLayoutId id="2147483728" r:id="rId23"/>
    <p:sldLayoutId id="2147483729" r:id="rId24"/>
    <p:sldLayoutId id="2147483730" r:id="rId25"/>
    <p:sldLayoutId id="2147483731" r:id="rId26"/>
    <p:sldLayoutId id="2147483732" r:id="rId27"/>
    <p:sldLayoutId id="2147483733"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p:cNvPicPr>
            <a:picLocks noChangeAspect="1"/>
          </p:cNvPicPr>
          <p:nvPr userDrawn="1"/>
        </p:nvPicPr>
        <p:blipFill>
          <a:blip r:embed="rId30"/>
          <a:stretch>
            <a:fillRect/>
          </a:stretch>
        </p:blipFill>
        <p:spPr>
          <a:xfrm rot="5400000">
            <a:off x="9208748" y="2991033"/>
            <a:ext cx="6858623" cy="876557"/>
          </a:xfrm>
          <a:prstGeom prst="rect">
            <a:avLst/>
          </a:prstGeom>
        </p:spPr>
      </p:pic>
    </p:spTree>
    <p:extLst>
      <p:ext uri="{BB962C8B-B14F-4D97-AF65-F5344CB8AC3E}">
        <p14:creationId xmlns:p14="http://schemas.microsoft.com/office/powerpoint/2010/main" val="139185314"/>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 id="2147483751" r:id="rId17"/>
    <p:sldLayoutId id="2147483752" r:id="rId18"/>
    <p:sldLayoutId id="2147483753" r:id="rId19"/>
    <p:sldLayoutId id="2147483754"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Lst>
  <p:transition>
    <p:fade/>
  </p:transition>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gradFill>
            <a:gsLst>
              <a:gs pos="1250">
                <a:schemeClr val="tx1"/>
              </a:gs>
              <a:gs pos="100000">
                <a:schemeClr val="tx1"/>
              </a:gs>
            </a:gsLst>
            <a:lin ang="5400000" scaled="0"/>
          </a:gra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gradFill>
            <a:gsLst>
              <a:gs pos="1250">
                <a:schemeClr val="tx1"/>
              </a:gs>
              <a:gs pos="100000">
                <a:schemeClr val="tx1"/>
              </a:gs>
            </a:gsLst>
            <a:lin ang="5400000" scaled="0"/>
          </a:gra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gradFill>
            <a:gsLst>
              <a:gs pos="1250">
                <a:schemeClr val="tx1"/>
              </a:gs>
              <a:gs pos="100000">
                <a:schemeClr val="tx1"/>
              </a:gs>
            </a:gsLst>
            <a:lin ang="5400000" scaled="0"/>
          </a:gra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1" y="289513"/>
            <a:ext cx="11655078" cy="89966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1027" name="Text Placeholder 3"/>
          <p:cNvSpPr>
            <a:spLocks noGrp="1"/>
          </p:cNvSpPr>
          <p:nvPr>
            <p:ph type="body" idx="1"/>
          </p:nvPr>
        </p:nvSpPr>
        <p:spPr bwMode="auto">
          <a:xfrm>
            <a:off x="269239" y="1189178"/>
            <a:ext cx="11653523" cy="205148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182880" tIns="146304" rIns="182880" bIns="146304"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Footer Placeholder 2"/>
          <p:cNvSpPr>
            <a:spLocks noGrp="1"/>
          </p:cNvSpPr>
          <p:nvPr>
            <p:ph type="ftr" sz="quarter" idx="3"/>
          </p:nvPr>
        </p:nvSpPr>
        <p:spPr>
          <a:xfrm>
            <a:off x="448212" y="6437743"/>
            <a:ext cx="3859607" cy="133860"/>
          </a:xfrm>
          <a:prstGeom prst="rect">
            <a:avLst/>
          </a:prstGeom>
        </p:spPr>
        <p:txBody>
          <a:bodyPr vert="horz" lIns="0" tIns="0" rIns="91440" bIns="0" rtlCol="0" anchor="ctr"/>
          <a:lstStyle>
            <a:lvl1pPr marL="0" algn="l" defTabSz="896171" rtl="0" eaLnBrk="1" fontAlgn="auto" latinLnBrk="0" hangingPunct="1">
              <a:spcBef>
                <a:spcPts val="0"/>
              </a:spcBef>
              <a:spcAft>
                <a:spcPts val="0"/>
              </a:spcAft>
              <a:defRPr lang="en-US" sz="865" kern="1200">
                <a:solidFill>
                  <a:srgbClr val="505050"/>
                </a:solidFill>
                <a:latin typeface="+mn-lt"/>
                <a:ea typeface="+mn-ea"/>
                <a:cs typeface="+mn-cs"/>
              </a:defRPr>
            </a:lvl1pPr>
          </a:lstStyle>
          <a:p>
            <a:pPr>
              <a:defRPr/>
            </a:pPr>
            <a:r>
              <a:t>Microsoft Confidential</a:t>
            </a:r>
          </a:p>
        </p:txBody>
      </p:sp>
      <p:sp>
        <p:nvSpPr>
          <p:cNvPr id="5" name="Slide Number Placeholder 4"/>
          <p:cNvSpPr>
            <a:spLocks noGrp="1"/>
          </p:cNvSpPr>
          <p:nvPr>
            <p:ph type="sldNum" sz="quarter" idx="4"/>
          </p:nvPr>
        </p:nvSpPr>
        <p:spPr>
          <a:xfrm>
            <a:off x="11367165" y="6437743"/>
            <a:ext cx="555597" cy="133860"/>
          </a:xfrm>
          <a:prstGeom prst="rect">
            <a:avLst/>
          </a:prstGeom>
        </p:spPr>
        <p:txBody>
          <a:bodyPr vert="horz" wrap="square" lIns="91440" tIns="0" rIns="0" bIns="0" numCol="1" anchor="ctr" anchorCtr="0" compatLnSpc="1">
            <a:prstTxWarp prst="textNoShape">
              <a:avLst/>
            </a:prstTxWarp>
          </a:bodyPr>
          <a:lstStyle>
            <a:lvl1pPr algn="r">
              <a:defRPr sz="865">
                <a:solidFill>
                  <a:srgbClr val="505050"/>
                </a:solidFill>
              </a:defRPr>
            </a:lvl1pPr>
          </a:lstStyle>
          <a:p>
            <a:pPr defTabSz="895327" fontAlgn="base">
              <a:spcBef>
                <a:spcPct val="0"/>
              </a:spcBef>
              <a:spcAft>
                <a:spcPct val="0"/>
              </a:spcAft>
            </a:pPr>
            <a:fld id="{83758903-653A-7442-ACA2-36E6579F0BEB}" type="slidenum">
              <a:rPr lang="en-US" smtClean="0">
                <a:ea typeface="ＭＳ Ｐゴシック" charset="0"/>
              </a:rPr>
              <a:pPr defTabSz="895327" fontAlgn="base">
                <a:spcBef>
                  <a:spcPct val="0"/>
                </a:spcBef>
                <a:spcAft>
                  <a:spcPct val="0"/>
                </a:spcAft>
              </a:pPr>
              <a:t>‹#›</a:t>
            </a:fld>
            <a:endParaRPr lang="en-US">
              <a:ea typeface="ＭＳ Ｐゴシック" charset="0"/>
            </a:endParaRPr>
          </a:p>
        </p:txBody>
      </p:sp>
    </p:spTree>
    <p:extLst>
      <p:ext uri="{BB962C8B-B14F-4D97-AF65-F5344CB8AC3E}">
        <p14:creationId xmlns:p14="http://schemas.microsoft.com/office/powerpoint/2010/main" val="2321110383"/>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Lst>
  <p:transition>
    <p:fade/>
  </p:transition>
  <p:txStyles>
    <p:titleStyle>
      <a:lvl1pPr algn="l" defTabSz="895327" rtl="0" eaLnBrk="0" fontAlgn="base" hangingPunct="0">
        <a:lnSpc>
          <a:spcPct val="90000"/>
        </a:lnSpc>
        <a:spcBef>
          <a:spcPct val="0"/>
        </a:spcBef>
        <a:spcAft>
          <a:spcPct val="0"/>
        </a:spcAft>
        <a:defRPr lang="en-US" sz="5189" kern="1200" spc="-98" dirty="0">
          <a:ln w="3175">
            <a:noFill/>
          </a:ln>
          <a:solidFill>
            <a:schemeClr val="tx2"/>
          </a:solidFill>
          <a:latin typeface="+mj-lt"/>
          <a:ea typeface="ＭＳ Ｐゴシック" charset="0"/>
          <a:cs typeface="Segoe UI" pitchFamily="34" charset="0"/>
        </a:defRPr>
      </a:lvl1pPr>
      <a:lvl2pPr algn="l" defTabSz="895327" rtl="0" eaLnBrk="0" fontAlgn="base" hangingPunct="0">
        <a:lnSpc>
          <a:spcPct val="90000"/>
        </a:lnSpc>
        <a:spcBef>
          <a:spcPct val="0"/>
        </a:spcBef>
        <a:spcAft>
          <a:spcPct val="0"/>
        </a:spcAft>
        <a:defRPr sz="5189">
          <a:solidFill>
            <a:schemeClr val="tx2"/>
          </a:solidFill>
          <a:latin typeface="Segoe UI Light" charset="0"/>
          <a:ea typeface="ＭＳ Ｐゴシック" charset="0"/>
          <a:cs typeface="Segoe UI" charset="0"/>
        </a:defRPr>
      </a:lvl2pPr>
      <a:lvl3pPr algn="l" defTabSz="895327" rtl="0" eaLnBrk="0" fontAlgn="base" hangingPunct="0">
        <a:lnSpc>
          <a:spcPct val="90000"/>
        </a:lnSpc>
        <a:spcBef>
          <a:spcPct val="0"/>
        </a:spcBef>
        <a:spcAft>
          <a:spcPct val="0"/>
        </a:spcAft>
        <a:defRPr sz="5189">
          <a:solidFill>
            <a:schemeClr val="tx2"/>
          </a:solidFill>
          <a:latin typeface="Segoe UI Light" charset="0"/>
          <a:ea typeface="ＭＳ Ｐゴシック" charset="0"/>
          <a:cs typeface="Segoe UI" charset="0"/>
        </a:defRPr>
      </a:lvl3pPr>
      <a:lvl4pPr algn="l" defTabSz="895327" rtl="0" eaLnBrk="0" fontAlgn="base" hangingPunct="0">
        <a:lnSpc>
          <a:spcPct val="90000"/>
        </a:lnSpc>
        <a:spcBef>
          <a:spcPct val="0"/>
        </a:spcBef>
        <a:spcAft>
          <a:spcPct val="0"/>
        </a:spcAft>
        <a:defRPr sz="5189">
          <a:solidFill>
            <a:schemeClr val="tx2"/>
          </a:solidFill>
          <a:latin typeface="Segoe UI Light" charset="0"/>
          <a:ea typeface="ＭＳ Ｐゴシック" charset="0"/>
          <a:cs typeface="Segoe UI" charset="0"/>
        </a:defRPr>
      </a:lvl4pPr>
      <a:lvl5pPr algn="l" defTabSz="895327" rtl="0" eaLnBrk="0" fontAlgn="base" hangingPunct="0">
        <a:lnSpc>
          <a:spcPct val="90000"/>
        </a:lnSpc>
        <a:spcBef>
          <a:spcPct val="0"/>
        </a:spcBef>
        <a:spcAft>
          <a:spcPct val="0"/>
        </a:spcAft>
        <a:defRPr sz="5189">
          <a:solidFill>
            <a:schemeClr val="tx2"/>
          </a:solidFill>
          <a:latin typeface="Segoe UI Light" charset="0"/>
          <a:ea typeface="ＭＳ Ｐゴシック" charset="0"/>
          <a:cs typeface="Segoe UI" charset="0"/>
        </a:defRPr>
      </a:lvl5pPr>
      <a:lvl6pPr marL="439274" algn="l" defTabSz="895327" rtl="0" fontAlgn="base">
        <a:lnSpc>
          <a:spcPct val="90000"/>
        </a:lnSpc>
        <a:spcBef>
          <a:spcPct val="0"/>
        </a:spcBef>
        <a:spcAft>
          <a:spcPct val="0"/>
        </a:spcAft>
        <a:defRPr sz="5189">
          <a:solidFill>
            <a:schemeClr val="tx2"/>
          </a:solidFill>
          <a:latin typeface="Segoe UI Light" charset="0"/>
          <a:ea typeface="ＭＳ Ｐゴシック" charset="0"/>
          <a:cs typeface="Segoe UI" charset="0"/>
        </a:defRPr>
      </a:lvl6pPr>
      <a:lvl7pPr marL="878548" algn="l" defTabSz="895327" rtl="0" fontAlgn="base">
        <a:lnSpc>
          <a:spcPct val="90000"/>
        </a:lnSpc>
        <a:spcBef>
          <a:spcPct val="0"/>
        </a:spcBef>
        <a:spcAft>
          <a:spcPct val="0"/>
        </a:spcAft>
        <a:defRPr sz="5189">
          <a:solidFill>
            <a:schemeClr val="tx2"/>
          </a:solidFill>
          <a:latin typeface="Segoe UI Light" charset="0"/>
          <a:ea typeface="ＭＳ Ｐゴシック" charset="0"/>
          <a:cs typeface="Segoe UI" charset="0"/>
        </a:defRPr>
      </a:lvl7pPr>
      <a:lvl8pPr marL="1317822" algn="l" defTabSz="895327" rtl="0" fontAlgn="base">
        <a:lnSpc>
          <a:spcPct val="90000"/>
        </a:lnSpc>
        <a:spcBef>
          <a:spcPct val="0"/>
        </a:spcBef>
        <a:spcAft>
          <a:spcPct val="0"/>
        </a:spcAft>
        <a:defRPr sz="5189">
          <a:solidFill>
            <a:schemeClr val="tx2"/>
          </a:solidFill>
          <a:latin typeface="Segoe UI Light" charset="0"/>
          <a:ea typeface="ＭＳ Ｐゴシック" charset="0"/>
          <a:cs typeface="Segoe UI" charset="0"/>
        </a:defRPr>
      </a:lvl8pPr>
      <a:lvl9pPr marL="1757097" algn="l" defTabSz="895327" rtl="0" fontAlgn="base">
        <a:lnSpc>
          <a:spcPct val="90000"/>
        </a:lnSpc>
        <a:spcBef>
          <a:spcPct val="0"/>
        </a:spcBef>
        <a:spcAft>
          <a:spcPct val="0"/>
        </a:spcAft>
        <a:defRPr sz="5189">
          <a:solidFill>
            <a:schemeClr val="tx2"/>
          </a:solidFill>
          <a:latin typeface="Segoe UI Light" charset="0"/>
          <a:ea typeface="ＭＳ Ｐゴシック" charset="0"/>
          <a:cs typeface="Segoe UI" charset="0"/>
        </a:defRPr>
      </a:lvl9pPr>
    </p:titleStyle>
    <p:bodyStyle>
      <a:lvl1pPr marL="329455" indent="-329455" algn="l" defTabSz="895327" rtl="0" eaLnBrk="0" fontAlgn="base" hangingPunct="0">
        <a:lnSpc>
          <a:spcPct val="90000"/>
        </a:lnSpc>
        <a:spcBef>
          <a:spcPct val="20000"/>
        </a:spcBef>
        <a:spcAft>
          <a:spcPct val="0"/>
        </a:spcAft>
        <a:buSzPct val="90000"/>
        <a:buFont typeface="Arial" charset="0"/>
        <a:buChar char="•"/>
        <a:defRPr sz="3843" kern="1200">
          <a:solidFill>
            <a:schemeClr val="tx2"/>
          </a:solidFill>
          <a:latin typeface="+mj-lt"/>
          <a:ea typeface="ＭＳ Ｐゴシック" charset="0"/>
          <a:cs typeface="ＭＳ Ｐゴシック" charset="0"/>
        </a:defRPr>
      </a:lvl1pPr>
      <a:lvl2pPr marL="561294" indent="-231839" algn="l" defTabSz="895327" rtl="0" eaLnBrk="0" fontAlgn="base" hangingPunct="0">
        <a:lnSpc>
          <a:spcPct val="90000"/>
        </a:lnSpc>
        <a:spcBef>
          <a:spcPct val="20000"/>
        </a:spcBef>
        <a:spcAft>
          <a:spcPct val="0"/>
        </a:spcAft>
        <a:buSzPct val="90000"/>
        <a:buFont typeface="Arial" charset="0"/>
        <a:buChar char="•"/>
        <a:defRPr sz="2306" kern="1200">
          <a:solidFill>
            <a:schemeClr val="tx2"/>
          </a:solidFill>
          <a:latin typeface="+mn-lt"/>
          <a:ea typeface="ＭＳ Ｐゴシック" charset="0"/>
          <a:cs typeface="+mn-cs"/>
        </a:defRPr>
      </a:lvl2pPr>
      <a:lvl3pPr marL="768730" indent="-219637" algn="l" defTabSz="895327" rtl="0" eaLnBrk="0" fontAlgn="base" hangingPunct="0">
        <a:lnSpc>
          <a:spcPct val="90000"/>
        </a:lnSpc>
        <a:spcBef>
          <a:spcPct val="20000"/>
        </a:spcBef>
        <a:spcAft>
          <a:spcPct val="0"/>
        </a:spcAft>
        <a:buSzPct val="90000"/>
        <a:buFont typeface="Arial" charset="0"/>
        <a:buChar char="•"/>
        <a:defRPr sz="1921" kern="1200">
          <a:solidFill>
            <a:schemeClr val="tx2"/>
          </a:solidFill>
          <a:latin typeface="+mn-lt"/>
          <a:ea typeface="ＭＳ Ｐゴシック" charset="0"/>
          <a:cs typeface="+mn-cs"/>
        </a:defRPr>
      </a:lvl3pPr>
      <a:lvl4pPr marL="988367" indent="-219637" algn="l" defTabSz="895327"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4pPr>
      <a:lvl5pPr marL="1208004" indent="-219637" algn="l" defTabSz="895327" rtl="0" eaLnBrk="0" fontAlgn="base" hangingPunct="0">
        <a:lnSpc>
          <a:spcPct val="90000"/>
        </a:lnSpc>
        <a:spcBef>
          <a:spcPct val="20000"/>
        </a:spcBef>
        <a:spcAft>
          <a:spcPct val="0"/>
        </a:spcAft>
        <a:buSzPct val="90000"/>
        <a:buFont typeface="Arial" charset="0"/>
        <a:buChar char="•"/>
        <a:defRPr kern="1200">
          <a:solidFill>
            <a:schemeClr val="tx2"/>
          </a:solidFill>
          <a:latin typeface="+mn-lt"/>
          <a:ea typeface="ＭＳ Ｐゴシック" charset="0"/>
          <a:cs typeface="+mn-cs"/>
        </a:defRPr>
      </a:lvl5pPr>
      <a:lvl6pPr marL="2464470" indent="-224044" algn="l" defTabSz="896171" rtl="0" eaLnBrk="1" latinLnBrk="0" hangingPunct="1">
        <a:spcBef>
          <a:spcPct val="20000"/>
        </a:spcBef>
        <a:buFont typeface="Arial" pitchFamily="34" charset="0"/>
        <a:buChar char="•"/>
        <a:defRPr sz="1921" kern="1200">
          <a:solidFill>
            <a:schemeClr val="tx1"/>
          </a:solidFill>
          <a:latin typeface="+mn-lt"/>
          <a:ea typeface="+mn-ea"/>
          <a:cs typeface="+mn-cs"/>
        </a:defRPr>
      </a:lvl6pPr>
      <a:lvl7pPr marL="2912557" indent="-224044" algn="l" defTabSz="896171" rtl="0" eaLnBrk="1" latinLnBrk="0" hangingPunct="1">
        <a:spcBef>
          <a:spcPct val="20000"/>
        </a:spcBef>
        <a:buFont typeface="Arial" pitchFamily="34" charset="0"/>
        <a:buChar char="•"/>
        <a:defRPr sz="1921" kern="1200">
          <a:solidFill>
            <a:schemeClr val="tx1"/>
          </a:solidFill>
          <a:latin typeface="+mn-lt"/>
          <a:ea typeface="+mn-ea"/>
          <a:cs typeface="+mn-cs"/>
        </a:defRPr>
      </a:lvl7pPr>
      <a:lvl8pPr marL="3360642" indent="-224044" algn="l" defTabSz="896171" rtl="0" eaLnBrk="1" latinLnBrk="0" hangingPunct="1">
        <a:spcBef>
          <a:spcPct val="20000"/>
        </a:spcBef>
        <a:buFont typeface="Arial" pitchFamily="34" charset="0"/>
        <a:buChar char="•"/>
        <a:defRPr sz="1921" kern="1200">
          <a:solidFill>
            <a:schemeClr val="tx1"/>
          </a:solidFill>
          <a:latin typeface="+mn-lt"/>
          <a:ea typeface="+mn-ea"/>
          <a:cs typeface="+mn-cs"/>
        </a:defRPr>
      </a:lvl8pPr>
      <a:lvl9pPr marL="3808728" indent="-224044" algn="l" defTabSz="896171" rtl="0" eaLnBrk="1" latinLnBrk="0" hangingPunct="1">
        <a:spcBef>
          <a:spcPct val="20000"/>
        </a:spcBef>
        <a:buFont typeface="Arial" pitchFamily="34" charset="0"/>
        <a:buChar char="•"/>
        <a:defRPr sz="1921" kern="1200">
          <a:solidFill>
            <a:schemeClr val="tx1"/>
          </a:solidFill>
          <a:latin typeface="+mn-lt"/>
          <a:ea typeface="+mn-ea"/>
          <a:cs typeface="+mn-cs"/>
        </a:defRPr>
      </a:lvl9pPr>
    </p:bodyStyle>
    <p:otherStyle>
      <a:defPPr>
        <a:defRPr lang="en-US"/>
      </a:defPPr>
      <a:lvl1pPr marL="0" algn="l" defTabSz="896171" rtl="0" eaLnBrk="1" latinLnBrk="0" hangingPunct="1">
        <a:defRPr sz="1729" kern="1200">
          <a:solidFill>
            <a:schemeClr val="tx1"/>
          </a:solidFill>
          <a:latin typeface="+mn-lt"/>
          <a:ea typeface="+mn-ea"/>
          <a:cs typeface="+mn-cs"/>
        </a:defRPr>
      </a:lvl1pPr>
      <a:lvl2pPr marL="448085" algn="l" defTabSz="896171" rtl="0" eaLnBrk="1" latinLnBrk="0" hangingPunct="1">
        <a:defRPr sz="1729" kern="1200">
          <a:solidFill>
            <a:schemeClr val="tx1"/>
          </a:solidFill>
          <a:latin typeface="+mn-lt"/>
          <a:ea typeface="+mn-ea"/>
          <a:cs typeface="+mn-cs"/>
        </a:defRPr>
      </a:lvl2pPr>
      <a:lvl3pPr marL="896171" algn="l" defTabSz="896171" rtl="0" eaLnBrk="1" latinLnBrk="0" hangingPunct="1">
        <a:defRPr sz="1729" kern="1200">
          <a:solidFill>
            <a:schemeClr val="tx1"/>
          </a:solidFill>
          <a:latin typeface="+mn-lt"/>
          <a:ea typeface="+mn-ea"/>
          <a:cs typeface="+mn-cs"/>
        </a:defRPr>
      </a:lvl3pPr>
      <a:lvl4pPr marL="1344257" algn="l" defTabSz="896171" rtl="0" eaLnBrk="1" latinLnBrk="0" hangingPunct="1">
        <a:defRPr sz="1729" kern="1200">
          <a:solidFill>
            <a:schemeClr val="tx1"/>
          </a:solidFill>
          <a:latin typeface="+mn-lt"/>
          <a:ea typeface="+mn-ea"/>
          <a:cs typeface="+mn-cs"/>
        </a:defRPr>
      </a:lvl4pPr>
      <a:lvl5pPr marL="1792342" algn="l" defTabSz="896171" rtl="0" eaLnBrk="1" latinLnBrk="0" hangingPunct="1">
        <a:defRPr sz="1729" kern="1200">
          <a:solidFill>
            <a:schemeClr val="tx1"/>
          </a:solidFill>
          <a:latin typeface="+mn-lt"/>
          <a:ea typeface="+mn-ea"/>
          <a:cs typeface="+mn-cs"/>
        </a:defRPr>
      </a:lvl5pPr>
      <a:lvl6pPr marL="2240429" algn="l" defTabSz="896171" rtl="0" eaLnBrk="1" latinLnBrk="0" hangingPunct="1">
        <a:defRPr sz="1729" kern="1200">
          <a:solidFill>
            <a:schemeClr val="tx1"/>
          </a:solidFill>
          <a:latin typeface="+mn-lt"/>
          <a:ea typeface="+mn-ea"/>
          <a:cs typeface="+mn-cs"/>
        </a:defRPr>
      </a:lvl6pPr>
      <a:lvl7pPr marL="2688513" algn="l" defTabSz="896171" rtl="0" eaLnBrk="1" latinLnBrk="0" hangingPunct="1">
        <a:defRPr sz="1729" kern="1200">
          <a:solidFill>
            <a:schemeClr val="tx1"/>
          </a:solidFill>
          <a:latin typeface="+mn-lt"/>
          <a:ea typeface="+mn-ea"/>
          <a:cs typeface="+mn-cs"/>
        </a:defRPr>
      </a:lvl7pPr>
      <a:lvl8pPr marL="3136599" algn="l" defTabSz="896171" rtl="0" eaLnBrk="1" latinLnBrk="0" hangingPunct="1">
        <a:defRPr sz="1729" kern="1200">
          <a:solidFill>
            <a:schemeClr val="tx1"/>
          </a:solidFill>
          <a:latin typeface="+mn-lt"/>
          <a:ea typeface="+mn-ea"/>
          <a:cs typeface="+mn-cs"/>
        </a:defRPr>
      </a:lvl8pPr>
      <a:lvl9pPr marL="3584686" algn="l" defTabSz="896171" rtl="0" eaLnBrk="1" latinLnBrk="0" hangingPunct="1">
        <a:defRPr sz="172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203">
          <p15:clr>
            <a:srgbClr val="F26B43"/>
          </p15:clr>
        </p15:guide>
        <p15:guide id="2" orient="horz" pos="187">
          <p15:clr>
            <a:srgbClr val="F26B43"/>
          </p15:clr>
        </p15:guide>
        <p15:guide id="3" orient="horz" pos="778">
          <p15:clr>
            <a:srgbClr val="F26B43"/>
          </p15:clr>
        </p15:guide>
        <p15:guide id="4" orient="horz" pos="1366">
          <p15:clr>
            <a:srgbClr val="F26B43"/>
          </p15:clr>
        </p15:guide>
        <p15:guide id="5" orient="horz" pos="1915">
          <p15:clr>
            <a:srgbClr val="F26B43"/>
          </p15:clr>
        </p15:guide>
        <p15:guide id="6" orient="horz" pos="2491">
          <p15:clr>
            <a:srgbClr val="F26B43"/>
          </p15:clr>
        </p15:guide>
        <p15:guide id="7" orient="horz" pos="3067">
          <p15:clr>
            <a:srgbClr val="F26B43"/>
          </p15:clr>
        </p15:guide>
        <p15:guide id="8" orient="horz" pos="3643">
          <p15:clr>
            <a:srgbClr val="F26B43"/>
          </p15:clr>
        </p15:guide>
        <p15:guide id="9" orient="horz" pos="4219">
          <p15:clr>
            <a:srgbClr val="F26B43"/>
          </p15:clr>
        </p15:guide>
        <p15:guide id="10" pos="4205">
          <p15:clr>
            <a:srgbClr val="F26B43"/>
          </p15:clr>
        </p15:guide>
        <p15:guide id="11" pos="173">
          <p15:clr>
            <a:srgbClr val="F26B43"/>
          </p15:clr>
        </p15:guide>
        <p15:guide id="12" pos="749">
          <p15:clr>
            <a:srgbClr val="F26B43"/>
          </p15:clr>
        </p15:guide>
        <p15:guide id="13" pos="1325">
          <p15:clr>
            <a:srgbClr val="F26B43"/>
          </p15:clr>
        </p15:guide>
        <p15:guide id="14" pos="1901">
          <p15:clr>
            <a:srgbClr val="F26B43"/>
          </p15:clr>
        </p15:guide>
        <p15:guide id="15" pos="2477">
          <p15:clr>
            <a:srgbClr val="F26B43"/>
          </p15:clr>
        </p15:guide>
        <p15:guide id="16" pos="3053">
          <p15:clr>
            <a:srgbClr val="F26B43"/>
          </p15:clr>
        </p15:guide>
        <p15:guide id="17" pos="3629">
          <p15:clr>
            <a:srgbClr val="F26B43"/>
          </p15:clr>
        </p15:guide>
        <p15:guide id="18" pos="3917">
          <p15:clr>
            <a:srgbClr val="F26B43"/>
          </p15:clr>
        </p15:guide>
        <p15:guide id="19" pos="5357">
          <p15:clr>
            <a:srgbClr val="F26B43"/>
          </p15:clr>
        </p15:guide>
        <p15:guide id="20" pos="5933">
          <p15:clr>
            <a:srgbClr val="F26B43"/>
          </p15:clr>
        </p15:guide>
        <p15:guide id="21" pos="6509">
          <p15:clr>
            <a:srgbClr val="F26B43"/>
          </p15:clr>
        </p15:guide>
        <p15:guide id="22" pos="7085">
          <p15:clr>
            <a:srgbClr val="F26B43"/>
          </p15:clr>
        </p15:guide>
        <p15:guide id="23" pos="7661">
          <p15:clr>
            <a:srgbClr val="F26B43"/>
          </p15:clr>
        </p15:guide>
        <p15:guide id="24" pos="47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33.xml"/><Relationship Id="rId1" Type="http://schemas.openxmlformats.org/officeDocument/2006/relationships/vmlDrawing" Target="../drawings/vmlDrawing33.vml"/><Relationship Id="rId6" Type="http://schemas.openxmlformats.org/officeDocument/2006/relationships/image" Target="../media/image3.emf"/><Relationship Id="rId5" Type="http://schemas.openxmlformats.org/officeDocument/2006/relationships/oleObject" Target="../embeddings/oleObject3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32.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9.xml"/></Relationships>
</file>

<file path=ppt/slides/_rels/slide1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image" Target="../media/image34.png"/><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emf"/><Relationship Id="rId2" Type="http://schemas.openxmlformats.org/officeDocument/2006/relationships/notesSlide" Target="../notesSlides/notesSlide15.xml"/><Relationship Id="rId16" Type="http://schemas.openxmlformats.org/officeDocument/2006/relationships/image" Target="../media/image47.emf"/><Relationship Id="rId20" Type="http://schemas.openxmlformats.org/officeDocument/2006/relationships/image" Target="../media/image51.png"/><Relationship Id="rId1" Type="http://schemas.openxmlformats.org/officeDocument/2006/relationships/slideLayout" Target="../slideLayouts/slideLayout6.xml"/><Relationship Id="rId6" Type="http://schemas.openxmlformats.org/officeDocument/2006/relationships/image" Target="../media/image37.png"/><Relationship Id="rId11" Type="http://schemas.openxmlformats.org/officeDocument/2006/relationships/image" Target="../media/image42.emf"/><Relationship Id="rId5" Type="http://schemas.openxmlformats.org/officeDocument/2006/relationships/image" Target="../media/image36.png"/><Relationship Id="rId15" Type="http://schemas.openxmlformats.org/officeDocument/2006/relationships/image" Target="../media/image46.jpeg"/><Relationship Id="rId10" Type="http://schemas.openxmlformats.org/officeDocument/2006/relationships/image" Target="../media/image41.emf"/><Relationship Id="rId19" Type="http://schemas.openxmlformats.org/officeDocument/2006/relationships/image" Target="../media/image50.png"/><Relationship Id="rId4" Type="http://schemas.openxmlformats.org/officeDocument/2006/relationships/image" Target="../media/image35.png"/><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34.xml"/><Relationship Id="rId1" Type="http://schemas.openxmlformats.org/officeDocument/2006/relationships/vmlDrawing" Target="../drawings/vmlDrawing34.vml"/><Relationship Id="rId6" Type="http://schemas.openxmlformats.org/officeDocument/2006/relationships/image" Target="../media/image3.emf"/><Relationship Id="rId5" Type="http://schemas.openxmlformats.org/officeDocument/2006/relationships/oleObject" Target="../embeddings/oleObject34.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image" Target="../media/image55.png"/></Relationships>
</file>

<file path=ppt/slides/_rels/slide21.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1.xml"/><Relationship Id="rId1" Type="http://schemas.openxmlformats.org/officeDocument/2006/relationships/slideLayout" Target="../slideLayouts/slideLayout108.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2.xml"/><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 Id="rId9"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18.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23.png"/><Relationship Id="rId2" Type="http://schemas.openxmlformats.org/officeDocument/2006/relationships/tags" Target="../tags/tag35.xml"/><Relationship Id="rId1" Type="http://schemas.openxmlformats.org/officeDocument/2006/relationships/vmlDrawing" Target="../drawings/vmlDrawing35.vml"/><Relationship Id="rId6" Type="http://schemas.openxmlformats.org/officeDocument/2006/relationships/image" Target="../media/image3.emf"/><Relationship Id="rId5" Type="http://schemas.openxmlformats.org/officeDocument/2006/relationships/oleObject" Target="../embeddings/oleObject3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notesSlide" Target="../notesSlides/notesSlide7.xml"/><Relationship Id="rId1" Type="http://schemas.openxmlformats.org/officeDocument/2006/relationships/slideLayout" Target="../slideLayouts/slideLayout41.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9.xml"/><Relationship Id="rId1" Type="http://schemas.openxmlformats.org/officeDocument/2006/relationships/slideLayout" Target="../slideLayouts/slideLayout46.xml"/><Relationship Id="rId4"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nvPr>
        </p:nvGraphicFramePr>
        <p:xfrm>
          <a:off x="3145" y="2044"/>
          <a:ext cx="1556" cy="1556"/>
        </p:xfrm>
        <a:graphic>
          <a:graphicData uri="http://schemas.openxmlformats.org/presentationml/2006/ole">
            <mc:AlternateContent xmlns:mc="http://schemas.openxmlformats.org/markup-compatibility/2006">
              <mc:Choice xmlns:v="urn:schemas-microsoft-com:vml" Requires="v">
                <p:oleObj spid="_x0000_s11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3145" y="2044"/>
                        <a:ext cx="1556" cy="1556"/>
                      </a:xfrm>
                      <a:prstGeom prst="rect">
                        <a:avLst/>
                      </a:prstGeom>
                    </p:spPr>
                  </p:pic>
                </p:oleObj>
              </mc:Fallback>
            </mc:AlternateContent>
          </a:graphicData>
        </a:graphic>
      </p:graphicFrame>
      <p:sp>
        <p:nvSpPr>
          <p:cNvPr id="3" name="Title 2"/>
          <p:cNvSpPr>
            <a:spLocks noGrp="1"/>
          </p:cNvSpPr>
          <p:nvPr>
            <p:ph type="ctrTitle" idx="4294967295"/>
          </p:nvPr>
        </p:nvSpPr>
        <p:spPr>
          <a:xfrm>
            <a:off x="-1" y="1122363"/>
            <a:ext cx="7834745" cy="2387600"/>
          </a:xfrm>
          <a:solidFill>
            <a:schemeClr val="accent1">
              <a:lumMod val="75000"/>
              <a:alpha val="85000"/>
            </a:schemeClr>
          </a:solidFill>
        </p:spPr>
        <p:txBody>
          <a:bodyPr>
            <a:normAutofit/>
          </a:bodyPr>
          <a:lstStyle/>
          <a:p>
            <a:r>
              <a:rPr lang="en-US" sz="4000" dirty="0" smtClean="0">
                <a:solidFill>
                  <a:schemeClr val="bg1"/>
                </a:solidFill>
                <a:latin typeface="Segoe UI" panose="020B0502040204020203" pitchFamily="34" charset="0"/>
                <a:cs typeface="Segoe UI" panose="020B0502040204020203" pitchFamily="34" charset="0"/>
              </a:rPr>
              <a:t>Create the Internet of Your Things</a:t>
            </a:r>
            <a:endParaRPr lang="en-US" sz="4000" dirty="0">
              <a:solidFill>
                <a:schemeClr val="bg1"/>
              </a:solidFill>
              <a:latin typeface="Segoe UI" panose="020B0502040204020203" pitchFamily="34" charset="0"/>
              <a:cs typeface="Segoe UI" panose="020B0502040204020203" pitchFamily="34" charset="0"/>
            </a:endParaRPr>
          </a:p>
        </p:txBody>
      </p:sp>
      <p:sp>
        <p:nvSpPr>
          <p:cNvPr id="10" name="Text Placeholder 9"/>
          <p:cNvSpPr>
            <a:spLocks noGrp="1"/>
          </p:cNvSpPr>
          <p:nvPr>
            <p:ph type="subTitle" idx="4294967295"/>
          </p:nvPr>
        </p:nvSpPr>
        <p:spPr>
          <a:xfrm>
            <a:off x="0" y="3604343"/>
            <a:ext cx="7834744" cy="815257"/>
          </a:xfrm>
          <a:solidFill>
            <a:schemeClr val="accent1">
              <a:lumMod val="75000"/>
              <a:alpha val="85000"/>
            </a:schemeClr>
          </a:solidFill>
        </p:spPr>
        <p:txBody>
          <a:bodyPr>
            <a:normAutofit/>
          </a:bodyPr>
          <a:lstStyle/>
          <a:p>
            <a:pPr marL="0" indent="0">
              <a:buNone/>
            </a:pPr>
            <a:r>
              <a:rPr lang="en-US" sz="2000" b="1" dirty="0" smtClean="0">
                <a:solidFill>
                  <a:schemeClr val="bg1"/>
                </a:solidFill>
                <a:latin typeface="Segoe UI Light" panose="020B0502040204020203" pitchFamily="34" charset="0"/>
                <a:cs typeface="Segoe UI Light" panose="020B0502040204020203" pitchFamily="34" charset="0"/>
              </a:rPr>
              <a:t>Chris Lanier</a:t>
            </a:r>
          </a:p>
          <a:p>
            <a:pPr marL="0" indent="0">
              <a:buNone/>
            </a:pPr>
            <a:r>
              <a:rPr lang="en-US" sz="2000" dirty="0" smtClean="0">
                <a:solidFill>
                  <a:schemeClr val="bg1"/>
                </a:solidFill>
                <a:latin typeface="Segoe UI Light" panose="020B0502040204020203" pitchFamily="34" charset="0"/>
                <a:cs typeface="Segoe UI Light" panose="020B0502040204020203" pitchFamily="34" charset="0"/>
              </a:rPr>
              <a:t>Director, Americas </a:t>
            </a:r>
            <a:r>
              <a:rPr lang="en-US" sz="2000" dirty="0" err="1" smtClean="0">
                <a:solidFill>
                  <a:schemeClr val="bg1"/>
                </a:solidFill>
                <a:latin typeface="Segoe UI Light" panose="020B0502040204020203" pitchFamily="34" charset="0"/>
                <a:cs typeface="Segoe UI Light" panose="020B0502040204020203" pitchFamily="34" charset="0"/>
              </a:rPr>
              <a:t>IoT</a:t>
            </a:r>
            <a:r>
              <a:rPr lang="en-US" sz="2000" dirty="0" smtClean="0">
                <a:solidFill>
                  <a:schemeClr val="bg1"/>
                </a:solidFill>
                <a:latin typeface="Segoe UI Light" panose="020B0502040204020203" pitchFamily="34" charset="0"/>
                <a:cs typeface="Segoe UI Light" panose="020B0502040204020203" pitchFamily="34" charset="0"/>
              </a:rPr>
              <a:t> Commercial</a:t>
            </a:r>
          </a:p>
        </p:txBody>
      </p:sp>
    </p:spTree>
    <p:extLst>
      <p:ext uri="{BB962C8B-B14F-4D97-AF65-F5344CB8AC3E}">
        <p14:creationId xmlns:p14="http://schemas.microsoft.com/office/powerpoint/2010/main" val="134441609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4782546" y="4654364"/>
            <a:ext cx="7140217" cy="980607"/>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986067" rIns="448212" rtlCol="0" anchor="ctr"/>
          <a:lstStyle/>
          <a:p>
            <a:pPr>
              <a:lnSpc>
                <a:spcPct val="90000"/>
              </a:lnSpc>
            </a:pPr>
            <a:r>
              <a:rPr lang="en-US" sz="1961" dirty="0">
                <a:solidFill>
                  <a:schemeClr val="bg1"/>
                </a:solidFill>
                <a:latin typeface="+mj-lt"/>
              </a:rPr>
              <a:t>Create operational intelligence to improve performance and decision-making</a:t>
            </a:r>
          </a:p>
        </p:txBody>
      </p:sp>
      <p:sp>
        <p:nvSpPr>
          <p:cNvPr id="30" name="Rectangle 29"/>
          <p:cNvSpPr/>
          <p:nvPr/>
        </p:nvSpPr>
        <p:spPr>
          <a:xfrm>
            <a:off x="4782546" y="3551379"/>
            <a:ext cx="7140217" cy="980607"/>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986067" rIns="448212" rtlCol="0" anchor="ctr"/>
          <a:lstStyle/>
          <a:p>
            <a:pPr>
              <a:lnSpc>
                <a:spcPct val="90000"/>
              </a:lnSpc>
            </a:pPr>
            <a:r>
              <a:rPr lang="en-US" sz="1961" dirty="0">
                <a:solidFill>
                  <a:schemeClr val="bg1"/>
                </a:solidFill>
                <a:latin typeface="+mj-lt"/>
              </a:rPr>
              <a:t>Apply historical data to new problems to successfully predict future behavior and trends</a:t>
            </a:r>
          </a:p>
        </p:txBody>
      </p:sp>
      <p:sp>
        <p:nvSpPr>
          <p:cNvPr id="31" name="Rectangle 30"/>
          <p:cNvSpPr/>
          <p:nvPr/>
        </p:nvSpPr>
        <p:spPr>
          <a:xfrm>
            <a:off x="4782546" y="2448394"/>
            <a:ext cx="7140217" cy="980607"/>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986067" rIns="448212" rtlCol="0" anchor="ctr"/>
          <a:lstStyle/>
          <a:p>
            <a:pPr>
              <a:lnSpc>
                <a:spcPct val="90000"/>
              </a:lnSpc>
            </a:pPr>
            <a:r>
              <a:rPr lang="en-US" sz="1961" dirty="0">
                <a:solidFill>
                  <a:schemeClr val="bg1"/>
                </a:solidFill>
                <a:latin typeface="+mj-lt"/>
              </a:rPr>
              <a:t>Analyze data from multiple sources in near real time to drive revenue</a:t>
            </a:r>
          </a:p>
        </p:txBody>
      </p:sp>
      <p:sp>
        <p:nvSpPr>
          <p:cNvPr id="32" name="Oval 31"/>
          <p:cNvSpPr/>
          <p:nvPr/>
        </p:nvSpPr>
        <p:spPr>
          <a:xfrm>
            <a:off x="377198" y="1419826"/>
            <a:ext cx="5153307" cy="515330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10" name="Isosceles Triangle 60"/>
          <p:cNvSpPr/>
          <p:nvPr/>
        </p:nvSpPr>
        <p:spPr bwMode="auto">
          <a:xfrm rot="16200000">
            <a:off x="2013872" y="3173562"/>
            <a:ext cx="1897484" cy="1680157"/>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dirty="0">
              <a:solidFill>
                <a:schemeClr val="bg1"/>
              </a:solidFill>
              <a:latin typeface="+mj-lt"/>
              <a:ea typeface="Segoe UI" pitchFamily="34" charset="0"/>
              <a:cs typeface="Segoe UI" pitchFamily="34" charset="0"/>
            </a:endParaRPr>
          </a:p>
        </p:txBody>
      </p:sp>
      <p:sp>
        <p:nvSpPr>
          <p:cNvPr id="11" name="TextBox 10"/>
          <p:cNvSpPr txBox="1"/>
          <p:nvPr/>
        </p:nvSpPr>
        <p:spPr>
          <a:xfrm>
            <a:off x="1921660" y="3798420"/>
            <a:ext cx="2081912" cy="413791"/>
          </a:xfrm>
          <a:prstGeom prst="rect">
            <a:avLst/>
          </a:prstGeom>
          <a:noFill/>
        </p:spPr>
        <p:txBody>
          <a:bodyPr lIns="179285" tIns="143428" rIns="179285" bIns="143428" anchor="ctr"/>
          <a:lstStyle/>
          <a:p>
            <a:pPr algn="ctr">
              <a:lnSpc>
                <a:spcPct val="90000"/>
              </a:lnSpc>
              <a:defRPr/>
            </a:pPr>
            <a:r>
              <a:rPr lang="en-US" sz="2745" dirty="0">
                <a:solidFill>
                  <a:schemeClr val="tx2"/>
                </a:solidFill>
                <a:latin typeface="+mj-lt"/>
                <a:ea typeface="MS PGothic" panose="020B0600070205080204" pitchFamily="34" charset="-128"/>
              </a:rPr>
              <a:t>Things</a:t>
            </a:r>
          </a:p>
        </p:txBody>
      </p:sp>
      <p:sp>
        <p:nvSpPr>
          <p:cNvPr id="13" name="Freeform 12"/>
          <p:cNvSpPr/>
          <p:nvPr/>
        </p:nvSpPr>
        <p:spPr bwMode="auto">
          <a:xfrm>
            <a:off x="525438" y="1571054"/>
            <a:ext cx="2378045" cy="343791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43187" y="1571054"/>
            <a:ext cx="4656606" cy="343791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43186" y="4389682"/>
            <a:ext cx="4438861" cy="2052739"/>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10343" y="5370982"/>
            <a:ext cx="705405" cy="709421"/>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47"/>
              <a:endParaRPr lang="en-US" sz="1730">
                <a:solidFill>
                  <a:srgbClr val="000000"/>
                </a:solidFill>
              </a:endParaRPr>
            </a:p>
          </p:txBody>
        </p:sp>
      </p:grpSp>
      <p:sp>
        <p:nvSpPr>
          <p:cNvPr id="35" name="Freeform 61"/>
          <p:cNvSpPr>
            <a:spLocks noChangeAspect="1"/>
          </p:cNvSpPr>
          <p:nvPr/>
        </p:nvSpPr>
        <p:spPr bwMode="auto">
          <a:xfrm>
            <a:off x="4074797" y="2805647"/>
            <a:ext cx="876884" cy="575109"/>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82"/>
            <a:endParaRPr lang="en-US" sz="1730">
              <a:solidFill>
                <a:prstClr val="black"/>
              </a:solidFill>
            </a:endParaRPr>
          </a:p>
        </p:txBody>
      </p:sp>
      <p:grpSp>
        <p:nvGrpSpPr>
          <p:cNvPr id="36" name="Group 35"/>
          <p:cNvGrpSpPr/>
          <p:nvPr/>
        </p:nvGrpSpPr>
        <p:grpSpPr>
          <a:xfrm>
            <a:off x="1029587" y="2675532"/>
            <a:ext cx="940819" cy="778733"/>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sp>
        <p:nvSpPr>
          <p:cNvPr id="25" name="Title 1"/>
          <p:cNvSpPr>
            <a:spLocks noGrp="1"/>
          </p:cNvSpPr>
          <p:nvPr>
            <p:ph type="title"/>
          </p:nvPr>
        </p:nvSpPr>
        <p:spPr>
          <a:xfrm>
            <a:off x="0" y="10685"/>
            <a:ext cx="10515600" cy="765228"/>
          </a:xfrm>
        </p:spPr>
        <p:txBody>
          <a:bodyPr>
            <a:normAutofit/>
          </a:bodyPr>
          <a:lstStyle/>
          <a:p>
            <a:r>
              <a:rPr lang="en-US" sz="4400" dirty="0" smtClean="0">
                <a:latin typeface="Segoe UI Light" panose="020B0502040204020203" pitchFamily="34" charset="0"/>
                <a:cs typeface="Segoe UI Light" panose="020B0502040204020203" pitchFamily="34" charset="0"/>
              </a:rPr>
              <a:t>Enable Innovation</a:t>
            </a:r>
            <a:endParaRPr lang="en-IN" sz="44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298863094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30"/>
                                        </p:tgtEl>
                                        <p:attrNameLst>
                                          <p:attrName>style.visibility</p:attrName>
                                        </p:attrNameLst>
                                      </p:cBhvr>
                                      <p:to>
                                        <p:strVal val="visible"/>
                                      </p:to>
                                    </p:set>
                                    <p:anim calcmode="lin" valueType="num">
                                      <p:cBhvr additive="base">
                                        <p:cTn id="11" dur="750" fill="hold"/>
                                        <p:tgtEl>
                                          <p:spTgt spid="30"/>
                                        </p:tgtEl>
                                        <p:attrNameLst>
                                          <p:attrName>ppt_x</p:attrName>
                                        </p:attrNameLst>
                                      </p:cBhvr>
                                      <p:tavLst>
                                        <p:tav tm="0">
                                          <p:val>
                                            <p:strVal val="1+#ppt_w/2"/>
                                          </p:val>
                                        </p:tav>
                                        <p:tav tm="100000">
                                          <p:val>
                                            <p:strVal val="#ppt_x"/>
                                          </p:val>
                                        </p:tav>
                                      </p:tavLst>
                                    </p:anim>
                                    <p:anim calcmode="lin" valueType="num">
                                      <p:cBhvr additive="base">
                                        <p:cTn id="12" dur="750" fill="hold"/>
                                        <p:tgtEl>
                                          <p:spTgt spid="30"/>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9"/>
                                        </p:tgtEl>
                                        <p:attrNameLst>
                                          <p:attrName>style.visibility</p:attrName>
                                        </p:attrNameLst>
                                      </p:cBhvr>
                                      <p:to>
                                        <p:strVal val="visible"/>
                                      </p:to>
                                    </p:set>
                                    <p:anim calcmode="lin" valueType="num">
                                      <p:cBhvr additive="base">
                                        <p:cTn id="15" dur="750" fill="hold"/>
                                        <p:tgtEl>
                                          <p:spTgt spid="29"/>
                                        </p:tgtEl>
                                        <p:attrNameLst>
                                          <p:attrName>ppt_x</p:attrName>
                                        </p:attrNameLst>
                                      </p:cBhvr>
                                      <p:tavLst>
                                        <p:tav tm="0">
                                          <p:val>
                                            <p:strVal val="1+#ppt_w/2"/>
                                          </p:val>
                                        </p:tav>
                                        <p:tav tm="100000">
                                          <p:val>
                                            <p:strVal val="#ppt_x"/>
                                          </p:val>
                                        </p:tav>
                                      </p:tavLst>
                                    </p:anim>
                                    <p:anim calcmode="lin" valueType="num">
                                      <p:cBhvr additive="base">
                                        <p:cTn id="16" dur="750" fill="hold"/>
                                        <p:tgtEl>
                                          <p:spTgt spid="2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P spid="30" grpId="0" animBg="1"/>
      <p:bldP spid="3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5"/>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829" t="14624" r="553" b="14107"/>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p:cNvGrpSpPr/>
          <p:nvPr/>
        </p:nvGrpSpPr>
        <p:grpSpPr>
          <a:xfrm>
            <a:off x="170307" y="210325"/>
            <a:ext cx="4162857" cy="6274974"/>
            <a:chOff x="170307" y="210325"/>
            <a:chExt cx="4162857" cy="6274974"/>
          </a:xfrm>
        </p:grpSpPr>
        <p:sp>
          <p:nvSpPr>
            <p:cNvPr id="3" name="Rectangle 2"/>
            <p:cNvSpPr/>
            <p:nvPr/>
          </p:nvSpPr>
          <p:spPr bwMode="auto">
            <a:xfrm>
              <a:off x="250098" y="210325"/>
              <a:ext cx="4083066" cy="6274974"/>
            </a:xfrm>
            <a:prstGeom prst="rect">
              <a:avLst/>
            </a:prstGeom>
            <a:solidFill>
              <a:schemeClr val="tx2">
                <a:alpha val="91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5" name="Subtitle 2"/>
            <p:cNvSpPr txBox="1">
              <a:spLocks/>
            </p:cNvSpPr>
            <p:nvPr/>
          </p:nvSpPr>
          <p:spPr>
            <a:xfrm>
              <a:off x="1648110" y="5149024"/>
              <a:ext cx="2094174" cy="878803"/>
            </a:xfrm>
            <a:prstGeom prst="rect">
              <a:avLst/>
            </a:prstGeom>
          </p:spPr>
          <p:txBody>
            <a:bodyPr lIns="263640" tIns="140609" rIns="175761" bIns="140609"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45" b="1" dirty="0" smtClean="0">
                  <a:solidFill>
                    <a:schemeClr val="bg1"/>
                  </a:solidFill>
                </a:rPr>
                <a:t>KEVIN SMARTT</a:t>
              </a:r>
              <a:endParaRPr lang="en-US" sz="1345" b="1" dirty="0">
                <a:solidFill>
                  <a:schemeClr val="bg1"/>
                </a:solidFill>
              </a:endParaRPr>
            </a:p>
            <a:p>
              <a:pPr fontAlgn="base">
                <a:lnSpc>
                  <a:spcPct val="100000"/>
                </a:lnSpc>
                <a:spcBef>
                  <a:spcPts val="0"/>
                </a:spcBef>
                <a:spcAft>
                  <a:spcPct val="0"/>
                </a:spcAft>
              </a:pPr>
              <a:r>
                <a:rPr lang="en-US" sz="1345" dirty="0">
                  <a:solidFill>
                    <a:schemeClr val="bg1"/>
                  </a:solidFill>
                </a:rPr>
                <a:t>CEO</a:t>
              </a:r>
            </a:p>
            <a:p>
              <a:pPr fontAlgn="base">
                <a:lnSpc>
                  <a:spcPct val="100000"/>
                </a:lnSpc>
                <a:spcBef>
                  <a:spcPts val="0"/>
                </a:spcBef>
                <a:spcAft>
                  <a:spcPct val="0"/>
                </a:spcAft>
              </a:pPr>
              <a:r>
                <a:rPr lang="en-US" sz="1345" dirty="0" smtClean="0">
                  <a:solidFill>
                    <a:schemeClr val="bg1"/>
                  </a:solidFill>
                </a:rPr>
                <a:t>KWIK CHEK</a:t>
              </a:r>
              <a:endParaRPr lang="en-US" sz="1345" dirty="0">
                <a:solidFill>
                  <a:schemeClr val="bg1"/>
                </a:solidFill>
              </a:endParaRPr>
            </a:p>
          </p:txBody>
        </p:sp>
        <p:sp>
          <p:nvSpPr>
            <p:cNvPr id="6" name="Rectangle 5"/>
            <p:cNvSpPr/>
            <p:nvPr/>
          </p:nvSpPr>
          <p:spPr>
            <a:xfrm>
              <a:off x="170307" y="210325"/>
              <a:ext cx="4083066" cy="4549747"/>
            </a:xfrm>
            <a:prstGeom prst="rect">
              <a:avLst/>
            </a:prstGeom>
          </p:spPr>
          <p:txBody>
            <a:bodyPr wrap="square" lIns="175761" tIns="140609" rIns="175761" bIns="140609">
              <a:spAutoFit/>
            </a:bodyPr>
            <a:lstStyle/>
            <a:p>
              <a:pPr marL="112892" indent="-112892" defTabSz="896354" fontAlgn="base">
                <a:lnSpc>
                  <a:spcPct val="90000"/>
                </a:lnSpc>
                <a:spcBef>
                  <a:spcPts val="2353"/>
                </a:spcBef>
                <a:spcAft>
                  <a:spcPct val="0"/>
                </a:spcAft>
              </a:pPr>
              <a:r>
                <a:rPr lang="en-US" sz="2800" dirty="0" smtClean="0">
                  <a:solidFill>
                    <a:schemeClr val="bg1"/>
                  </a:solidFill>
                  <a:latin typeface="Segoe UI Light"/>
                  <a:ea typeface="ＭＳ Ｐゴシック" charset="0"/>
                </a:rPr>
                <a:t>“The </a:t>
              </a:r>
              <a:r>
                <a:rPr lang="en-US" sz="2800" dirty="0">
                  <a:solidFill>
                    <a:schemeClr val="bg1"/>
                  </a:solidFill>
                  <a:latin typeface="Segoe UI Light"/>
                  <a:ea typeface="ＭＳ Ｐゴシック" charset="0"/>
                </a:rPr>
                <a:t>mobile experience and loyalty program create a </a:t>
              </a:r>
              <a:r>
                <a:rPr lang="en-US" sz="2800" dirty="0" smtClean="0">
                  <a:solidFill>
                    <a:schemeClr val="bg1"/>
                  </a:solidFill>
                  <a:latin typeface="Segoe UI Light"/>
                  <a:ea typeface="ＭＳ Ｐゴシック" charset="0"/>
                </a:rPr>
                <a:t>one-to-one </a:t>
              </a:r>
              <a:r>
                <a:rPr lang="en-US" sz="2800" dirty="0">
                  <a:solidFill>
                    <a:schemeClr val="bg1"/>
                  </a:solidFill>
                  <a:latin typeface="Segoe UI Light"/>
                  <a:ea typeface="ＭＳ Ｐゴシック" charset="0"/>
                </a:rPr>
                <a:t>relationship between us and our customers. Having a customer’s data really helps us offer them the best possible service, customized to their preferences and needs</a:t>
              </a:r>
              <a:r>
                <a:rPr lang="en-US" sz="2800" dirty="0" smtClean="0">
                  <a:solidFill>
                    <a:schemeClr val="bg1"/>
                  </a:solidFill>
                  <a:latin typeface="Segoe UI Light"/>
                  <a:ea typeface="ＭＳ Ｐゴシック" charset="0"/>
                </a:rPr>
                <a:t>.”</a:t>
              </a:r>
              <a:endParaRPr lang="en-US" sz="2800" dirty="0">
                <a:solidFill>
                  <a:schemeClr val="bg1"/>
                </a:solidFill>
                <a:latin typeface="Segoe UI Light"/>
                <a:ea typeface="ＭＳ Ｐゴシック" charset="0"/>
              </a:endParaRPr>
            </a:p>
          </p:txBody>
        </p:sp>
        <p:pic>
          <p:nvPicPr>
            <p:cNvPr id="7" name="Picture 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8799" y="5122489"/>
              <a:ext cx="1039311" cy="1032774"/>
            </a:xfrm>
            <a:prstGeom prst="rect">
              <a:avLst/>
            </a:prstGeom>
          </p:spPr>
        </p:pic>
      </p:grpSp>
    </p:spTree>
    <p:extLst>
      <p:ext uri="{BB962C8B-B14F-4D97-AF65-F5344CB8AC3E}">
        <p14:creationId xmlns:p14="http://schemas.microsoft.com/office/powerpoint/2010/main" val="1051997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4782546" y="4654364"/>
            <a:ext cx="7140217" cy="9806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86067" rIns="448212" rtlCol="0" anchor="ctr"/>
          <a:lstStyle/>
          <a:p>
            <a:pPr defTabSz="914314"/>
            <a:r>
              <a:rPr lang="en-US" sz="1961" dirty="0">
                <a:solidFill>
                  <a:prstClr val="white"/>
                </a:solidFill>
                <a:latin typeface="Segoe UI Light"/>
              </a:rPr>
              <a:t>Leverage advanced analytics to create new business models and revenue streams </a:t>
            </a:r>
          </a:p>
        </p:txBody>
      </p:sp>
      <p:sp>
        <p:nvSpPr>
          <p:cNvPr id="29" name="Rectangle 28"/>
          <p:cNvSpPr/>
          <p:nvPr/>
        </p:nvSpPr>
        <p:spPr>
          <a:xfrm>
            <a:off x="4782546" y="3551379"/>
            <a:ext cx="7140217" cy="980607"/>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86067" rIns="448212" rtlCol="0" anchor="ctr"/>
          <a:lstStyle/>
          <a:p>
            <a:pPr defTabSz="914314"/>
            <a:r>
              <a:rPr lang="en-US" sz="1961" dirty="0">
                <a:solidFill>
                  <a:prstClr val="white"/>
                </a:solidFill>
                <a:latin typeface="Segoe UI Light"/>
              </a:rPr>
              <a:t>Create insights for the right people in your company to access and act on</a:t>
            </a:r>
          </a:p>
        </p:txBody>
      </p:sp>
      <p:sp>
        <p:nvSpPr>
          <p:cNvPr id="31" name="Rectangle 30"/>
          <p:cNvSpPr/>
          <p:nvPr/>
        </p:nvSpPr>
        <p:spPr>
          <a:xfrm>
            <a:off x="4782546" y="2448394"/>
            <a:ext cx="7140217" cy="980607"/>
          </a:xfrm>
          <a:prstGeom prst="rect">
            <a:avLst/>
          </a:prstGeom>
          <a:solidFill>
            <a:srgbClr val="DC3C00"/>
          </a:solidFill>
          <a:ln>
            <a:noFill/>
          </a:ln>
          <a:effectLst/>
        </p:spPr>
        <p:style>
          <a:lnRef idx="1">
            <a:schemeClr val="accent1"/>
          </a:lnRef>
          <a:fillRef idx="3">
            <a:schemeClr val="accent1"/>
          </a:fillRef>
          <a:effectRef idx="2">
            <a:schemeClr val="accent1"/>
          </a:effectRef>
          <a:fontRef idx="minor">
            <a:schemeClr val="lt1"/>
          </a:fontRef>
        </p:style>
        <p:txBody>
          <a:bodyPr lIns="986067" rIns="448212" rtlCol="0" anchor="ctr"/>
          <a:lstStyle/>
          <a:p>
            <a:pPr defTabSz="914314"/>
            <a:r>
              <a:rPr lang="en-US" sz="1961" dirty="0">
                <a:solidFill>
                  <a:prstClr val="white"/>
                </a:solidFill>
                <a:latin typeface="Segoe UI Light"/>
              </a:rPr>
              <a:t>Convert the raw data from your “things” into actionable insights and business results.</a:t>
            </a:r>
          </a:p>
        </p:txBody>
      </p:sp>
      <p:sp>
        <p:nvSpPr>
          <p:cNvPr id="32" name="Oval 31"/>
          <p:cNvSpPr/>
          <p:nvPr/>
        </p:nvSpPr>
        <p:spPr>
          <a:xfrm>
            <a:off x="377198" y="1419826"/>
            <a:ext cx="5153307" cy="515330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4"/>
            <a:endParaRPr lang="en-US">
              <a:solidFill>
                <a:prstClr val="white"/>
              </a:solidFill>
            </a:endParaRPr>
          </a:p>
        </p:txBody>
      </p:sp>
      <p:sp>
        <p:nvSpPr>
          <p:cNvPr id="10" name="Isosceles Triangle 60"/>
          <p:cNvSpPr/>
          <p:nvPr/>
        </p:nvSpPr>
        <p:spPr bwMode="auto">
          <a:xfrm rot="16200000">
            <a:off x="2013872" y="3173562"/>
            <a:ext cx="1897484" cy="1680157"/>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21660" y="3798420"/>
            <a:ext cx="2081912" cy="413791"/>
          </a:xfrm>
          <a:prstGeom prst="rect">
            <a:avLst/>
          </a:prstGeom>
          <a:noFill/>
        </p:spPr>
        <p:txBody>
          <a:bodyPr lIns="179285" tIns="143428" rIns="179285" bIns="143428" anchor="ctr"/>
          <a:lstStyle/>
          <a:p>
            <a:pPr algn="ctr" defTabSz="914314">
              <a:lnSpc>
                <a:spcPct val="90000"/>
              </a:lnSpc>
              <a:defRPr/>
            </a:pPr>
            <a:r>
              <a:rPr lang="en-US" sz="2745"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25438" y="1571054"/>
            <a:ext cx="2378045" cy="343791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43187" y="1571054"/>
            <a:ext cx="4656606" cy="343791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43186" y="4389682"/>
            <a:ext cx="4438861" cy="2052739"/>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24" name="Group 23"/>
          <p:cNvGrpSpPr/>
          <p:nvPr/>
        </p:nvGrpSpPr>
        <p:grpSpPr>
          <a:xfrm>
            <a:off x="2510343" y="5370982"/>
            <a:ext cx="705405" cy="709421"/>
            <a:chOff x="10969809" y="2370994"/>
            <a:chExt cx="418861" cy="421246"/>
          </a:xfrm>
        </p:grpSpPr>
        <p:sp>
          <p:nvSpPr>
            <p:cNvPr id="26" name="Rectangle 25"/>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8" name="Rectangle 27"/>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3" name="Rectangle 32"/>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34"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47"/>
              <a:endParaRPr lang="en-US" sz="1730">
                <a:solidFill>
                  <a:srgbClr val="000000"/>
                </a:solidFill>
              </a:endParaRPr>
            </a:p>
          </p:txBody>
        </p:sp>
      </p:grpSp>
      <p:sp>
        <p:nvSpPr>
          <p:cNvPr id="35" name="Freeform 61"/>
          <p:cNvSpPr>
            <a:spLocks noChangeAspect="1"/>
          </p:cNvSpPr>
          <p:nvPr/>
        </p:nvSpPr>
        <p:spPr bwMode="auto">
          <a:xfrm>
            <a:off x="4074797" y="2805647"/>
            <a:ext cx="876884" cy="575109"/>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82"/>
            <a:endParaRPr lang="en-US" sz="1730">
              <a:solidFill>
                <a:prstClr val="black"/>
              </a:solidFill>
            </a:endParaRPr>
          </a:p>
        </p:txBody>
      </p:sp>
      <p:grpSp>
        <p:nvGrpSpPr>
          <p:cNvPr id="36" name="Group 35"/>
          <p:cNvGrpSpPr/>
          <p:nvPr/>
        </p:nvGrpSpPr>
        <p:grpSpPr>
          <a:xfrm>
            <a:off x="1029587" y="2675532"/>
            <a:ext cx="940819" cy="778733"/>
            <a:chOff x="12890500" y="-3265488"/>
            <a:chExt cx="3722688" cy="3081338"/>
          </a:xfrm>
          <a:solidFill>
            <a:schemeClr val="bg1"/>
          </a:solidFill>
        </p:grpSpPr>
        <p:sp>
          <p:nvSpPr>
            <p:cNvPr id="3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38"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sp>
        <p:nvSpPr>
          <p:cNvPr id="25" name="Title 1"/>
          <p:cNvSpPr>
            <a:spLocks noGrp="1"/>
          </p:cNvSpPr>
          <p:nvPr>
            <p:ph type="title"/>
          </p:nvPr>
        </p:nvSpPr>
        <p:spPr>
          <a:xfrm>
            <a:off x="0" y="10685"/>
            <a:ext cx="10515600" cy="765228"/>
          </a:xfrm>
        </p:spPr>
        <p:txBody>
          <a:bodyPr>
            <a:normAutofit/>
          </a:bodyPr>
          <a:lstStyle/>
          <a:p>
            <a:r>
              <a:rPr lang="en-US" sz="4400" dirty="0" smtClean="0">
                <a:latin typeface="Segoe UI Light" panose="020B0502040204020203" pitchFamily="34" charset="0"/>
                <a:cs typeface="Segoe UI Light" panose="020B0502040204020203" pitchFamily="34" charset="0"/>
              </a:rPr>
              <a:t>Transform Your Business</a:t>
            </a:r>
            <a:endParaRPr lang="en-IN" sz="44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571787598"/>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31"/>
                                        </p:tgtEl>
                                        <p:attrNameLst>
                                          <p:attrName>style.visibility</p:attrName>
                                        </p:attrNameLst>
                                      </p:cBhvr>
                                      <p:to>
                                        <p:strVal val="visible"/>
                                      </p:to>
                                    </p:set>
                                    <p:anim calcmode="lin" valueType="num">
                                      <p:cBhvr additive="base">
                                        <p:cTn id="7" dur="750" fill="hold"/>
                                        <p:tgtEl>
                                          <p:spTgt spid="31"/>
                                        </p:tgtEl>
                                        <p:attrNameLst>
                                          <p:attrName>ppt_x</p:attrName>
                                        </p:attrNameLst>
                                      </p:cBhvr>
                                      <p:tavLst>
                                        <p:tav tm="0">
                                          <p:val>
                                            <p:strVal val="1+#ppt_w/2"/>
                                          </p:val>
                                        </p:tav>
                                        <p:tav tm="100000">
                                          <p:val>
                                            <p:strVal val="#ppt_x"/>
                                          </p:val>
                                        </p:tav>
                                      </p:tavLst>
                                    </p:anim>
                                    <p:anim calcmode="lin" valueType="num">
                                      <p:cBhvr additive="base">
                                        <p:cTn id="8" dur="750" fill="hold"/>
                                        <p:tgtEl>
                                          <p:spTgt spid="31"/>
                                        </p:tgtEl>
                                        <p:attrNameLst>
                                          <p:attrName>ppt_y</p:attrName>
                                        </p:attrNameLst>
                                      </p:cBhvr>
                                      <p:tavLst>
                                        <p:tav tm="0">
                                          <p:val>
                                            <p:strVal val="#ppt_y"/>
                                          </p:val>
                                        </p:tav>
                                        <p:tav tm="100000">
                                          <p:val>
                                            <p:strVal val="#ppt_y"/>
                                          </p:val>
                                        </p:tav>
                                      </p:tavLst>
                                    </p:anim>
                                  </p:childTnLst>
                                </p:cTn>
                              </p:par>
                              <p:par>
                                <p:cTn id="9" presetID="2" presetClass="entr" presetSubtype="2" decel="100000" fill="hold" grpId="0" nodeType="withEffect">
                                  <p:stCondLst>
                                    <p:cond delay="250"/>
                                  </p:stCondLst>
                                  <p:childTnLst>
                                    <p:set>
                                      <p:cBhvr>
                                        <p:cTn id="10" dur="1" fill="hold">
                                          <p:stCondLst>
                                            <p:cond delay="0"/>
                                          </p:stCondLst>
                                        </p:cTn>
                                        <p:tgtEl>
                                          <p:spTgt spid="29"/>
                                        </p:tgtEl>
                                        <p:attrNameLst>
                                          <p:attrName>style.visibility</p:attrName>
                                        </p:attrNameLst>
                                      </p:cBhvr>
                                      <p:to>
                                        <p:strVal val="visible"/>
                                      </p:to>
                                    </p:set>
                                    <p:anim calcmode="lin" valueType="num">
                                      <p:cBhvr additive="base">
                                        <p:cTn id="11" dur="750" fill="hold"/>
                                        <p:tgtEl>
                                          <p:spTgt spid="29"/>
                                        </p:tgtEl>
                                        <p:attrNameLst>
                                          <p:attrName>ppt_x</p:attrName>
                                        </p:attrNameLst>
                                      </p:cBhvr>
                                      <p:tavLst>
                                        <p:tav tm="0">
                                          <p:val>
                                            <p:strVal val="1+#ppt_w/2"/>
                                          </p:val>
                                        </p:tav>
                                        <p:tav tm="100000">
                                          <p:val>
                                            <p:strVal val="#ppt_x"/>
                                          </p:val>
                                        </p:tav>
                                      </p:tavLst>
                                    </p:anim>
                                    <p:anim calcmode="lin" valueType="num">
                                      <p:cBhvr additive="base">
                                        <p:cTn id="12" dur="750" fill="hold"/>
                                        <p:tgtEl>
                                          <p:spTgt spid="29"/>
                                        </p:tgtEl>
                                        <p:attrNameLst>
                                          <p:attrName>ppt_y</p:attrName>
                                        </p:attrNameLst>
                                      </p:cBhvr>
                                      <p:tavLst>
                                        <p:tav tm="0">
                                          <p:val>
                                            <p:strVal val="#ppt_y"/>
                                          </p:val>
                                        </p:tav>
                                        <p:tav tm="100000">
                                          <p:val>
                                            <p:strVal val="#ppt_y"/>
                                          </p:val>
                                        </p:tav>
                                      </p:tavLst>
                                    </p:anim>
                                  </p:childTnLst>
                                </p:cTn>
                              </p:par>
                              <p:par>
                                <p:cTn id="13" presetID="2" presetClass="entr" presetSubtype="2" decel="100000" fill="hold" grpId="0" nodeType="withEffect">
                                  <p:stCondLst>
                                    <p:cond delay="500"/>
                                  </p:stCondLst>
                                  <p:childTnLst>
                                    <p:set>
                                      <p:cBhvr>
                                        <p:cTn id="14" dur="1" fill="hold">
                                          <p:stCondLst>
                                            <p:cond delay="0"/>
                                          </p:stCondLst>
                                        </p:cTn>
                                        <p:tgtEl>
                                          <p:spTgt spid="27"/>
                                        </p:tgtEl>
                                        <p:attrNameLst>
                                          <p:attrName>style.visibility</p:attrName>
                                        </p:attrNameLst>
                                      </p:cBhvr>
                                      <p:to>
                                        <p:strVal val="visible"/>
                                      </p:to>
                                    </p:set>
                                    <p:anim calcmode="lin" valueType="num">
                                      <p:cBhvr additive="base">
                                        <p:cTn id="15" dur="750" fill="hold"/>
                                        <p:tgtEl>
                                          <p:spTgt spid="27"/>
                                        </p:tgtEl>
                                        <p:attrNameLst>
                                          <p:attrName>ppt_x</p:attrName>
                                        </p:attrNameLst>
                                      </p:cBhvr>
                                      <p:tavLst>
                                        <p:tav tm="0">
                                          <p:val>
                                            <p:strVal val="1+#ppt_w/2"/>
                                          </p:val>
                                        </p:tav>
                                        <p:tav tm="100000">
                                          <p:val>
                                            <p:strVal val="#ppt_x"/>
                                          </p:val>
                                        </p:tav>
                                      </p:tavLst>
                                    </p:anim>
                                    <p:anim calcmode="lin" valueType="num">
                                      <p:cBhvr additive="base">
                                        <p:cTn id="16" dur="75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9" grpId="0" animBg="1"/>
      <p:bldP spid="31"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srcRect l="1722" r="9537" b="8074"/>
          <a:stretch/>
        </p:blipFill>
        <p:spPr>
          <a:xfrm>
            <a:off x="1" y="-11963"/>
            <a:ext cx="12191999" cy="6879056"/>
          </a:xfrm>
          <a:prstGeom prst="rect">
            <a:avLst/>
          </a:prstGeom>
        </p:spPr>
      </p:pic>
      <p:sp>
        <p:nvSpPr>
          <p:cNvPr id="11" name="Rectangle 10"/>
          <p:cNvSpPr/>
          <p:nvPr/>
        </p:nvSpPr>
        <p:spPr bwMode="auto">
          <a:xfrm>
            <a:off x="5680153" y="290078"/>
            <a:ext cx="6274974" cy="6274974"/>
          </a:xfrm>
          <a:prstGeom prst="rect">
            <a:avLst/>
          </a:prstGeom>
          <a:solidFill>
            <a:srgbClr val="00188F">
              <a:alpha val="9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12" name="Subtitle 2"/>
          <p:cNvSpPr txBox="1">
            <a:spLocks/>
          </p:cNvSpPr>
          <p:nvPr/>
        </p:nvSpPr>
        <p:spPr>
          <a:xfrm>
            <a:off x="5729797" y="3855551"/>
            <a:ext cx="3446555" cy="878803"/>
          </a:xfrm>
          <a:prstGeom prst="rect">
            <a:avLst/>
          </a:prstGeom>
        </p:spPr>
        <p:txBody>
          <a:bodyPr lIns="263640" tIns="140609" rIns="175761" bIns="140609"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en-US" sz="1345" b="1" dirty="0"/>
              <a:t>ANDREAS SCHIERENBECK</a:t>
            </a:r>
          </a:p>
          <a:p>
            <a:pPr fontAlgn="base">
              <a:lnSpc>
                <a:spcPct val="100000"/>
              </a:lnSpc>
              <a:spcBef>
                <a:spcPts val="0"/>
              </a:spcBef>
              <a:spcAft>
                <a:spcPct val="0"/>
              </a:spcAft>
            </a:pPr>
            <a:r>
              <a:rPr lang="en-US" sz="1345" dirty="0"/>
              <a:t>CEO</a:t>
            </a:r>
          </a:p>
          <a:p>
            <a:pPr fontAlgn="base">
              <a:lnSpc>
                <a:spcPct val="100000"/>
              </a:lnSpc>
              <a:spcBef>
                <a:spcPts val="0"/>
              </a:spcBef>
              <a:spcAft>
                <a:spcPct val="0"/>
              </a:spcAft>
            </a:pPr>
            <a:r>
              <a:rPr lang="en-US" sz="1345" dirty="0"/>
              <a:t>THYSSEN </a:t>
            </a:r>
            <a:r>
              <a:rPr lang="en-US" sz="1345" dirty="0" smtClean="0"/>
              <a:t>KRUPP ELEVATORS</a:t>
            </a:r>
            <a:endParaRPr lang="en-US" sz="1345" dirty="0"/>
          </a:p>
        </p:txBody>
      </p:sp>
      <p:sp>
        <p:nvSpPr>
          <p:cNvPr id="16" name="Rectangle 15"/>
          <p:cNvSpPr/>
          <p:nvPr/>
        </p:nvSpPr>
        <p:spPr>
          <a:xfrm>
            <a:off x="5730273" y="570575"/>
            <a:ext cx="6224854" cy="3265576"/>
          </a:xfrm>
          <a:prstGeom prst="rect">
            <a:avLst/>
          </a:prstGeom>
        </p:spPr>
        <p:txBody>
          <a:bodyPr wrap="square" lIns="175761" tIns="140609" rIns="175761" bIns="140609">
            <a:spAutoFit/>
          </a:bodyPr>
          <a:lstStyle/>
          <a:p>
            <a:pPr marL="112892" indent="-112892" defTabSz="896354" fontAlgn="base">
              <a:lnSpc>
                <a:spcPct val="90000"/>
              </a:lnSpc>
              <a:spcBef>
                <a:spcPts val="2353"/>
              </a:spcBef>
              <a:spcAft>
                <a:spcPct val="0"/>
              </a:spcAft>
            </a:pPr>
            <a:r>
              <a:rPr lang="en-US" sz="3075" dirty="0">
                <a:gradFill>
                  <a:gsLst>
                    <a:gs pos="67257">
                      <a:srgbClr val="FFFFFF"/>
                    </a:gs>
                    <a:gs pos="37000">
                      <a:srgbClr val="FFFFFF"/>
                    </a:gs>
                  </a:gsLst>
                  <a:lin ang="5400000" scaled="0"/>
                </a:gradFill>
                <a:latin typeface="Segoe UI Light"/>
                <a:ea typeface="ＭＳ Ｐゴシック" charset="0"/>
              </a:rPr>
              <a:t>“We wanted to go beyond the industry standard of preventative maintenance, to offer predictive and even preemptive maintenance, so we can guarantee a higher uptime percentage on our elevators.”</a:t>
            </a:r>
          </a:p>
        </p:txBody>
      </p:sp>
      <p:grpSp>
        <p:nvGrpSpPr>
          <p:cNvPr id="14" name="Group 13"/>
          <p:cNvGrpSpPr/>
          <p:nvPr/>
        </p:nvGrpSpPr>
        <p:grpSpPr>
          <a:xfrm>
            <a:off x="8150647" y="5414378"/>
            <a:ext cx="3297311" cy="688683"/>
            <a:chOff x="-2538413" y="1627188"/>
            <a:chExt cx="17268826" cy="3606800"/>
          </a:xfrm>
          <a:solidFill>
            <a:schemeClr val="bg1"/>
          </a:solidFill>
        </p:grpSpPr>
        <p:sp>
          <p:nvSpPr>
            <p:cNvPr id="15" name="Freeform 14"/>
            <p:cNvSpPr>
              <a:spLocks/>
            </p:cNvSpPr>
            <p:nvPr/>
          </p:nvSpPr>
          <p:spPr bwMode="auto">
            <a:xfrm>
              <a:off x="1941512" y="2365376"/>
              <a:ext cx="1036638" cy="1649413"/>
            </a:xfrm>
            <a:custGeom>
              <a:avLst/>
              <a:gdLst>
                <a:gd name="T0" fmla="*/ 0 w 653"/>
                <a:gd name="T1" fmla="*/ 0 h 1039"/>
                <a:gd name="T2" fmla="*/ 653 w 653"/>
                <a:gd name="T3" fmla="*/ 0 h 1039"/>
                <a:gd name="T4" fmla="*/ 653 w 653"/>
                <a:gd name="T5" fmla="*/ 147 h 1039"/>
                <a:gd name="T6" fmla="*/ 416 w 653"/>
                <a:gd name="T7" fmla="*/ 147 h 1039"/>
                <a:gd name="T8" fmla="*/ 416 w 653"/>
                <a:gd name="T9" fmla="*/ 1039 h 1039"/>
                <a:gd name="T10" fmla="*/ 237 w 653"/>
                <a:gd name="T11" fmla="*/ 1039 h 1039"/>
                <a:gd name="T12" fmla="*/ 237 w 653"/>
                <a:gd name="T13" fmla="*/ 147 h 1039"/>
                <a:gd name="T14" fmla="*/ 0 w 653"/>
                <a:gd name="T15" fmla="*/ 147 h 1039"/>
                <a:gd name="T16" fmla="*/ 0 w 653"/>
                <a:gd name="T17" fmla="*/ 0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53" h="1039">
                  <a:moveTo>
                    <a:pt x="0" y="0"/>
                  </a:moveTo>
                  <a:lnTo>
                    <a:pt x="653" y="0"/>
                  </a:lnTo>
                  <a:lnTo>
                    <a:pt x="653" y="147"/>
                  </a:lnTo>
                  <a:lnTo>
                    <a:pt x="416" y="147"/>
                  </a:lnTo>
                  <a:lnTo>
                    <a:pt x="416" y="1039"/>
                  </a:lnTo>
                  <a:lnTo>
                    <a:pt x="237" y="1039"/>
                  </a:lnTo>
                  <a:lnTo>
                    <a:pt x="237" y="147"/>
                  </a:lnTo>
                  <a:lnTo>
                    <a:pt x="0" y="147"/>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17" name="Freeform 16"/>
            <p:cNvSpPr>
              <a:spLocks/>
            </p:cNvSpPr>
            <p:nvPr/>
          </p:nvSpPr>
          <p:spPr bwMode="auto">
            <a:xfrm>
              <a:off x="3094037" y="2365376"/>
              <a:ext cx="869950" cy="1649413"/>
            </a:xfrm>
            <a:custGeom>
              <a:avLst/>
              <a:gdLst>
                <a:gd name="T0" fmla="*/ 0 w 232"/>
                <a:gd name="T1" fmla="*/ 0 h 439"/>
                <a:gd name="T2" fmla="*/ 69 w 232"/>
                <a:gd name="T3" fmla="*/ 0 h 439"/>
                <a:gd name="T4" fmla="*/ 69 w 232"/>
                <a:gd name="T5" fmla="*/ 157 h 439"/>
                <a:gd name="T6" fmla="*/ 149 w 232"/>
                <a:gd name="T7" fmla="*/ 106 h 439"/>
                <a:gd name="T8" fmla="*/ 197 w 232"/>
                <a:gd name="T9" fmla="*/ 119 h 439"/>
                <a:gd name="T10" fmla="*/ 225 w 232"/>
                <a:gd name="T11" fmla="*/ 154 h 439"/>
                <a:gd name="T12" fmla="*/ 232 w 232"/>
                <a:gd name="T13" fmla="*/ 234 h 439"/>
                <a:gd name="T14" fmla="*/ 232 w 232"/>
                <a:gd name="T15" fmla="*/ 439 h 439"/>
                <a:gd name="T16" fmla="*/ 163 w 232"/>
                <a:gd name="T17" fmla="*/ 439 h 439"/>
                <a:gd name="T18" fmla="*/ 163 w 232"/>
                <a:gd name="T19" fmla="*/ 234 h 439"/>
                <a:gd name="T20" fmla="*/ 151 w 232"/>
                <a:gd name="T21" fmla="*/ 172 h 439"/>
                <a:gd name="T22" fmla="*/ 122 w 232"/>
                <a:gd name="T23" fmla="*/ 160 h 439"/>
                <a:gd name="T24" fmla="*/ 69 w 232"/>
                <a:gd name="T25" fmla="*/ 253 h 439"/>
                <a:gd name="T26" fmla="*/ 69 w 232"/>
                <a:gd name="T27" fmla="*/ 439 h 439"/>
                <a:gd name="T28" fmla="*/ 0 w 232"/>
                <a:gd name="T29" fmla="*/ 439 h 439"/>
                <a:gd name="T30" fmla="*/ 0 w 232"/>
                <a:gd name="T31" fmla="*/ 0 h 4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2" h="439">
                  <a:moveTo>
                    <a:pt x="0" y="0"/>
                  </a:moveTo>
                  <a:cubicBezTo>
                    <a:pt x="69" y="0"/>
                    <a:pt x="69" y="0"/>
                    <a:pt x="69" y="0"/>
                  </a:cubicBezTo>
                  <a:cubicBezTo>
                    <a:pt x="69" y="157"/>
                    <a:pt x="69" y="157"/>
                    <a:pt x="69" y="157"/>
                  </a:cubicBezTo>
                  <a:cubicBezTo>
                    <a:pt x="85" y="123"/>
                    <a:pt x="111" y="106"/>
                    <a:pt x="149" y="106"/>
                  </a:cubicBezTo>
                  <a:cubicBezTo>
                    <a:pt x="168" y="106"/>
                    <a:pt x="184" y="111"/>
                    <a:pt x="197" y="119"/>
                  </a:cubicBezTo>
                  <a:cubicBezTo>
                    <a:pt x="210" y="128"/>
                    <a:pt x="219" y="139"/>
                    <a:pt x="225" y="154"/>
                  </a:cubicBezTo>
                  <a:cubicBezTo>
                    <a:pt x="230" y="168"/>
                    <a:pt x="232" y="195"/>
                    <a:pt x="232" y="234"/>
                  </a:cubicBezTo>
                  <a:cubicBezTo>
                    <a:pt x="232" y="439"/>
                    <a:pt x="232" y="439"/>
                    <a:pt x="232" y="439"/>
                  </a:cubicBezTo>
                  <a:cubicBezTo>
                    <a:pt x="163" y="439"/>
                    <a:pt x="163" y="439"/>
                    <a:pt x="163" y="439"/>
                  </a:cubicBezTo>
                  <a:cubicBezTo>
                    <a:pt x="163" y="234"/>
                    <a:pt x="163" y="234"/>
                    <a:pt x="163" y="234"/>
                  </a:cubicBezTo>
                  <a:cubicBezTo>
                    <a:pt x="163" y="201"/>
                    <a:pt x="159" y="180"/>
                    <a:pt x="151" y="172"/>
                  </a:cubicBezTo>
                  <a:cubicBezTo>
                    <a:pt x="143" y="164"/>
                    <a:pt x="133" y="160"/>
                    <a:pt x="122" y="160"/>
                  </a:cubicBezTo>
                  <a:cubicBezTo>
                    <a:pt x="87" y="160"/>
                    <a:pt x="69" y="191"/>
                    <a:pt x="69" y="253"/>
                  </a:cubicBezTo>
                  <a:cubicBezTo>
                    <a:pt x="69" y="439"/>
                    <a:pt x="69" y="439"/>
                    <a:pt x="69" y="439"/>
                  </a:cubicBezTo>
                  <a:cubicBezTo>
                    <a:pt x="0" y="439"/>
                    <a:pt x="0" y="439"/>
                    <a:pt x="0" y="439"/>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18" name="Freeform 17"/>
            <p:cNvSpPr>
              <a:spLocks/>
            </p:cNvSpPr>
            <p:nvPr/>
          </p:nvSpPr>
          <p:spPr bwMode="auto">
            <a:xfrm>
              <a:off x="4095750" y="2794001"/>
              <a:ext cx="941388" cy="1657350"/>
            </a:xfrm>
            <a:custGeom>
              <a:avLst/>
              <a:gdLst>
                <a:gd name="T0" fmla="*/ 0 w 251"/>
                <a:gd name="T1" fmla="*/ 0 h 441"/>
                <a:gd name="T2" fmla="*/ 68 w 251"/>
                <a:gd name="T3" fmla="*/ 0 h 441"/>
                <a:gd name="T4" fmla="*/ 127 w 251"/>
                <a:gd name="T5" fmla="*/ 226 h 441"/>
                <a:gd name="T6" fmla="*/ 188 w 251"/>
                <a:gd name="T7" fmla="*/ 0 h 441"/>
                <a:gd name="T8" fmla="*/ 251 w 251"/>
                <a:gd name="T9" fmla="*/ 0 h 441"/>
                <a:gd name="T10" fmla="*/ 142 w 251"/>
                <a:gd name="T11" fmla="*/ 346 h 441"/>
                <a:gd name="T12" fmla="*/ 120 w 251"/>
                <a:gd name="T13" fmla="*/ 401 h 441"/>
                <a:gd name="T14" fmla="*/ 91 w 251"/>
                <a:gd name="T15" fmla="*/ 430 h 441"/>
                <a:gd name="T16" fmla="*/ 44 w 251"/>
                <a:gd name="T17" fmla="*/ 441 h 441"/>
                <a:gd name="T18" fmla="*/ 8 w 251"/>
                <a:gd name="T19" fmla="*/ 437 h 441"/>
                <a:gd name="T20" fmla="*/ 8 w 251"/>
                <a:gd name="T21" fmla="*/ 383 h 441"/>
                <a:gd name="T22" fmla="*/ 33 w 251"/>
                <a:gd name="T23" fmla="*/ 385 h 441"/>
                <a:gd name="T24" fmla="*/ 71 w 251"/>
                <a:gd name="T25" fmla="*/ 373 h 441"/>
                <a:gd name="T26" fmla="*/ 95 w 251"/>
                <a:gd name="T27" fmla="*/ 314 h 441"/>
                <a:gd name="T28" fmla="*/ 0 w 251"/>
                <a:gd name="T29" fmla="*/ 0 h 4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1" h="441">
                  <a:moveTo>
                    <a:pt x="0" y="0"/>
                  </a:moveTo>
                  <a:cubicBezTo>
                    <a:pt x="68" y="0"/>
                    <a:pt x="68" y="0"/>
                    <a:pt x="68" y="0"/>
                  </a:cubicBezTo>
                  <a:cubicBezTo>
                    <a:pt x="127" y="226"/>
                    <a:pt x="127" y="226"/>
                    <a:pt x="127" y="226"/>
                  </a:cubicBezTo>
                  <a:cubicBezTo>
                    <a:pt x="188" y="0"/>
                    <a:pt x="188" y="0"/>
                    <a:pt x="188" y="0"/>
                  </a:cubicBezTo>
                  <a:cubicBezTo>
                    <a:pt x="251" y="0"/>
                    <a:pt x="251" y="0"/>
                    <a:pt x="251" y="0"/>
                  </a:cubicBezTo>
                  <a:cubicBezTo>
                    <a:pt x="142" y="346"/>
                    <a:pt x="142" y="346"/>
                    <a:pt x="142" y="346"/>
                  </a:cubicBezTo>
                  <a:cubicBezTo>
                    <a:pt x="134" y="371"/>
                    <a:pt x="126" y="389"/>
                    <a:pt x="120" y="401"/>
                  </a:cubicBezTo>
                  <a:cubicBezTo>
                    <a:pt x="113" y="413"/>
                    <a:pt x="104" y="423"/>
                    <a:pt x="91" y="430"/>
                  </a:cubicBezTo>
                  <a:cubicBezTo>
                    <a:pt x="79" y="438"/>
                    <a:pt x="63" y="441"/>
                    <a:pt x="44" y="441"/>
                  </a:cubicBezTo>
                  <a:cubicBezTo>
                    <a:pt x="33" y="441"/>
                    <a:pt x="21" y="440"/>
                    <a:pt x="8" y="437"/>
                  </a:cubicBezTo>
                  <a:cubicBezTo>
                    <a:pt x="8" y="383"/>
                    <a:pt x="8" y="383"/>
                    <a:pt x="8" y="383"/>
                  </a:cubicBezTo>
                  <a:cubicBezTo>
                    <a:pt x="17" y="385"/>
                    <a:pt x="26" y="385"/>
                    <a:pt x="33" y="385"/>
                  </a:cubicBezTo>
                  <a:cubicBezTo>
                    <a:pt x="51" y="385"/>
                    <a:pt x="64" y="381"/>
                    <a:pt x="71" y="373"/>
                  </a:cubicBezTo>
                  <a:cubicBezTo>
                    <a:pt x="79" y="364"/>
                    <a:pt x="87" y="345"/>
                    <a:pt x="95" y="314"/>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19" name="Freeform 18"/>
            <p:cNvSpPr>
              <a:spLocks/>
            </p:cNvSpPr>
            <p:nvPr/>
          </p:nvSpPr>
          <p:spPr bwMode="auto">
            <a:xfrm>
              <a:off x="5067300" y="2763838"/>
              <a:ext cx="915988" cy="1281113"/>
            </a:xfrm>
            <a:custGeom>
              <a:avLst/>
              <a:gdLst>
                <a:gd name="T0" fmla="*/ 232 w 244"/>
                <a:gd name="T1" fmla="*/ 84 h 341"/>
                <a:gd name="T2" fmla="*/ 177 w 244"/>
                <a:gd name="T3" fmla="*/ 98 h 341"/>
                <a:gd name="T4" fmla="*/ 121 w 244"/>
                <a:gd name="T5" fmla="*/ 50 h 341"/>
                <a:gd name="T6" fmla="*/ 90 w 244"/>
                <a:gd name="T7" fmla="*/ 61 h 341"/>
                <a:gd name="T8" fmla="*/ 78 w 244"/>
                <a:gd name="T9" fmla="*/ 90 h 341"/>
                <a:gd name="T10" fmla="*/ 90 w 244"/>
                <a:gd name="T11" fmla="*/ 118 h 341"/>
                <a:gd name="T12" fmla="*/ 145 w 244"/>
                <a:gd name="T13" fmla="*/ 140 h 341"/>
                <a:gd name="T14" fmla="*/ 220 w 244"/>
                <a:gd name="T15" fmla="*/ 179 h 341"/>
                <a:gd name="T16" fmla="*/ 244 w 244"/>
                <a:gd name="T17" fmla="*/ 238 h 341"/>
                <a:gd name="T18" fmla="*/ 211 w 244"/>
                <a:gd name="T19" fmla="*/ 311 h 341"/>
                <a:gd name="T20" fmla="*/ 121 w 244"/>
                <a:gd name="T21" fmla="*/ 341 h 341"/>
                <a:gd name="T22" fmla="*/ 0 w 244"/>
                <a:gd name="T23" fmla="*/ 246 h 341"/>
                <a:gd name="T24" fmla="*/ 59 w 244"/>
                <a:gd name="T25" fmla="*/ 236 h 341"/>
                <a:gd name="T26" fmla="*/ 122 w 244"/>
                <a:gd name="T27" fmla="*/ 292 h 341"/>
                <a:gd name="T28" fmla="*/ 161 w 244"/>
                <a:gd name="T29" fmla="*/ 279 h 341"/>
                <a:gd name="T30" fmla="*/ 174 w 244"/>
                <a:gd name="T31" fmla="*/ 248 h 341"/>
                <a:gd name="T32" fmla="*/ 165 w 244"/>
                <a:gd name="T33" fmla="*/ 224 h 341"/>
                <a:gd name="T34" fmla="*/ 116 w 244"/>
                <a:gd name="T35" fmla="*/ 199 h 341"/>
                <a:gd name="T36" fmla="*/ 57 w 244"/>
                <a:gd name="T37" fmla="*/ 176 h 341"/>
                <a:gd name="T38" fmla="*/ 25 w 244"/>
                <a:gd name="T39" fmla="*/ 146 h 341"/>
                <a:gd name="T40" fmla="*/ 12 w 244"/>
                <a:gd name="T41" fmla="*/ 100 h 341"/>
                <a:gd name="T42" fmla="*/ 43 w 244"/>
                <a:gd name="T43" fmla="*/ 30 h 341"/>
                <a:gd name="T44" fmla="*/ 124 w 244"/>
                <a:gd name="T45" fmla="*/ 0 h 341"/>
                <a:gd name="T46" fmla="*/ 232 w 244"/>
                <a:gd name="T47" fmla="*/ 8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4" h="341">
                  <a:moveTo>
                    <a:pt x="232" y="84"/>
                  </a:moveTo>
                  <a:cubicBezTo>
                    <a:pt x="177" y="98"/>
                    <a:pt x="177" y="98"/>
                    <a:pt x="177" y="98"/>
                  </a:cubicBezTo>
                  <a:cubicBezTo>
                    <a:pt x="168" y="66"/>
                    <a:pt x="149" y="50"/>
                    <a:pt x="121" y="50"/>
                  </a:cubicBezTo>
                  <a:cubicBezTo>
                    <a:pt x="108" y="50"/>
                    <a:pt x="98" y="53"/>
                    <a:pt x="90" y="61"/>
                  </a:cubicBezTo>
                  <a:cubicBezTo>
                    <a:pt x="82" y="69"/>
                    <a:pt x="78" y="78"/>
                    <a:pt x="78" y="90"/>
                  </a:cubicBezTo>
                  <a:cubicBezTo>
                    <a:pt x="78" y="102"/>
                    <a:pt x="82" y="112"/>
                    <a:pt x="90" y="118"/>
                  </a:cubicBezTo>
                  <a:cubicBezTo>
                    <a:pt x="98" y="124"/>
                    <a:pt x="116" y="131"/>
                    <a:pt x="145" y="140"/>
                  </a:cubicBezTo>
                  <a:cubicBezTo>
                    <a:pt x="180" y="152"/>
                    <a:pt x="205" y="164"/>
                    <a:pt x="220" y="179"/>
                  </a:cubicBezTo>
                  <a:cubicBezTo>
                    <a:pt x="236" y="193"/>
                    <a:pt x="244" y="213"/>
                    <a:pt x="244" y="238"/>
                  </a:cubicBezTo>
                  <a:cubicBezTo>
                    <a:pt x="244" y="267"/>
                    <a:pt x="233" y="291"/>
                    <a:pt x="211" y="311"/>
                  </a:cubicBezTo>
                  <a:cubicBezTo>
                    <a:pt x="188" y="331"/>
                    <a:pt x="159" y="341"/>
                    <a:pt x="121" y="341"/>
                  </a:cubicBezTo>
                  <a:cubicBezTo>
                    <a:pt x="50" y="341"/>
                    <a:pt x="10" y="309"/>
                    <a:pt x="0" y="246"/>
                  </a:cubicBezTo>
                  <a:cubicBezTo>
                    <a:pt x="59" y="236"/>
                    <a:pt x="59" y="236"/>
                    <a:pt x="59" y="236"/>
                  </a:cubicBezTo>
                  <a:cubicBezTo>
                    <a:pt x="67" y="273"/>
                    <a:pt x="88" y="292"/>
                    <a:pt x="122" y="292"/>
                  </a:cubicBezTo>
                  <a:cubicBezTo>
                    <a:pt x="140" y="292"/>
                    <a:pt x="153" y="288"/>
                    <a:pt x="161" y="279"/>
                  </a:cubicBezTo>
                  <a:cubicBezTo>
                    <a:pt x="170" y="270"/>
                    <a:pt x="174" y="260"/>
                    <a:pt x="174" y="248"/>
                  </a:cubicBezTo>
                  <a:cubicBezTo>
                    <a:pt x="174" y="240"/>
                    <a:pt x="171" y="232"/>
                    <a:pt x="165" y="224"/>
                  </a:cubicBezTo>
                  <a:cubicBezTo>
                    <a:pt x="159" y="216"/>
                    <a:pt x="143" y="208"/>
                    <a:pt x="116" y="199"/>
                  </a:cubicBezTo>
                  <a:cubicBezTo>
                    <a:pt x="90" y="191"/>
                    <a:pt x="71" y="183"/>
                    <a:pt x="57" y="176"/>
                  </a:cubicBezTo>
                  <a:cubicBezTo>
                    <a:pt x="44" y="169"/>
                    <a:pt x="33" y="159"/>
                    <a:pt x="25" y="146"/>
                  </a:cubicBezTo>
                  <a:cubicBezTo>
                    <a:pt x="16" y="132"/>
                    <a:pt x="12" y="117"/>
                    <a:pt x="12" y="100"/>
                  </a:cubicBezTo>
                  <a:cubicBezTo>
                    <a:pt x="12" y="72"/>
                    <a:pt x="23" y="49"/>
                    <a:pt x="43" y="30"/>
                  </a:cubicBezTo>
                  <a:cubicBezTo>
                    <a:pt x="64" y="10"/>
                    <a:pt x="91" y="0"/>
                    <a:pt x="124" y="0"/>
                  </a:cubicBezTo>
                  <a:cubicBezTo>
                    <a:pt x="180" y="0"/>
                    <a:pt x="216" y="28"/>
                    <a:pt x="232" y="8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0" name="Freeform 19"/>
            <p:cNvSpPr>
              <a:spLocks/>
            </p:cNvSpPr>
            <p:nvPr/>
          </p:nvSpPr>
          <p:spPr bwMode="auto">
            <a:xfrm>
              <a:off x="6069012" y="2763838"/>
              <a:ext cx="912813" cy="1281113"/>
            </a:xfrm>
            <a:custGeom>
              <a:avLst/>
              <a:gdLst>
                <a:gd name="T0" fmla="*/ 232 w 243"/>
                <a:gd name="T1" fmla="*/ 84 h 341"/>
                <a:gd name="T2" fmla="*/ 177 w 243"/>
                <a:gd name="T3" fmla="*/ 98 h 341"/>
                <a:gd name="T4" fmla="*/ 121 w 243"/>
                <a:gd name="T5" fmla="*/ 50 h 341"/>
                <a:gd name="T6" fmla="*/ 90 w 243"/>
                <a:gd name="T7" fmla="*/ 61 h 341"/>
                <a:gd name="T8" fmla="*/ 78 w 243"/>
                <a:gd name="T9" fmla="*/ 90 h 341"/>
                <a:gd name="T10" fmla="*/ 90 w 243"/>
                <a:gd name="T11" fmla="*/ 118 h 341"/>
                <a:gd name="T12" fmla="*/ 144 w 243"/>
                <a:gd name="T13" fmla="*/ 140 h 341"/>
                <a:gd name="T14" fmla="*/ 220 w 243"/>
                <a:gd name="T15" fmla="*/ 179 h 341"/>
                <a:gd name="T16" fmla="*/ 243 w 243"/>
                <a:gd name="T17" fmla="*/ 238 h 341"/>
                <a:gd name="T18" fmla="*/ 210 w 243"/>
                <a:gd name="T19" fmla="*/ 311 h 341"/>
                <a:gd name="T20" fmla="*/ 121 w 243"/>
                <a:gd name="T21" fmla="*/ 341 h 341"/>
                <a:gd name="T22" fmla="*/ 0 w 243"/>
                <a:gd name="T23" fmla="*/ 246 h 341"/>
                <a:gd name="T24" fmla="*/ 59 w 243"/>
                <a:gd name="T25" fmla="*/ 236 h 341"/>
                <a:gd name="T26" fmla="*/ 122 w 243"/>
                <a:gd name="T27" fmla="*/ 292 h 341"/>
                <a:gd name="T28" fmla="*/ 161 w 243"/>
                <a:gd name="T29" fmla="*/ 279 h 341"/>
                <a:gd name="T30" fmla="*/ 174 w 243"/>
                <a:gd name="T31" fmla="*/ 248 h 341"/>
                <a:gd name="T32" fmla="*/ 165 w 243"/>
                <a:gd name="T33" fmla="*/ 224 h 341"/>
                <a:gd name="T34" fmla="*/ 116 w 243"/>
                <a:gd name="T35" fmla="*/ 199 h 341"/>
                <a:gd name="T36" fmla="*/ 57 w 243"/>
                <a:gd name="T37" fmla="*/ 176 h 341"/>
                <a:gd name="T38" fmla="*/ 25 w 243"/>
                <a:gd name="T39" fmla="*/ 146 h 341"/>
                <a:gd name="T40" fmla="*/ 12 w 243"/>
                <a:gd name="T41" fmla="*/ 100 h 341"/>
                <a:gd name="T42" fmla="*/ 43 w 243"/>
                <a:gd name="T43" fmla="*/ 30 h 341"/>
                <a:gd name="T44" fmla="*/ 123 w 243"/>
                <a:gd name="T45" fmla="*/ 0 h 341"/>
                <a:gd name="T46" fmla="*/ 232 w 243"/>
                <a:gd name="T47" fmla="*/ 8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3" h="341">
                  <a:moveTo>
                    <a:pt x="232" y="84"/>
                  </a:moveTo>
                  <a:cubicBezTo>
                    <a:pt x="177" y="98"/>
                    <a:pt x="177" y="98"/>
                    <a:pt x="177" y="98"/>
                  </a:cubicBezTo>
                  <a:cubicBezTo>
                    <a:pt x="167" y="66"/>
                    <a:pt x="148" y="50"/>
                    <a:pt x="121" y="50"/>
                  </a:cubicBezTo>
                  <a:cubicBezTo>
                    <a:pt x="108" y="50"/>
                    <a:pt x="98" y="53"/>
                    <a:pt x="90" y="61"/>
                  </a:cubicBezTo>
                  <a:cubicBezTo>
                    <a:pt x="82" y="69"/>
                    <a:pt x="78" y="78"/>
                    <a:pt x="78" y="90"/>
                  </a:cubicBezTo>
                  <a:cubicBezTo>
                    <a:pt x="78" y="102"/>
                    <a:pt x="82" y="112"/>
                    <a:pt x="90" y="118"/>
                  </a:cubicBezTo>
                  <a:cubicBezTo>
                    <a:pt x="98" y="124"/>
                    <a:pt x="116" y="131"/>
                    <a:pt x="144" y="140"/>
                  </a:cubicBezTo>
                  <a:cubicBezTo>
                    <a:pt x="179" y="152"/>
                    <a:pt x="205" y="164"/>
                    <a:pt x="220" y="179"/>
                  </a:cubicBezTo>
                  <a:cubicBezTo>
                    <a:pt x="236" y="193"/>
                    <a:pt x="243" y="213"/>
                    <a:pt x="243" y="238"/>
                  </a:cubicBezTo>
                  <a:cubicBezTo>
                    <a:pt x="243" y="267"/>
                    <a:pt x="232" y="291"/>
                    <a:pt x="210" y="311"/>
                  </a:cubicBezTo>
                  <a:cubicBezTo>
                    <a:pt x="188" y="331"/>
                    <a:pt x="158" y="341"/>
                    <a:pt x="121" y="341"/>
                  </a:cubicBezTo>
                  <a:cubicBezTo>
                    <a:pt x="50" y="341"/>
                    <a:pt x="10" y="309"/>
                    <a:pt x="0" y="246"/>
                  </a:cubicBezTo>
                  <a:cubicBezTo>
                    <a:pt x="59" y="236"/>
                    <a:pt x="59" y="236"/>
                    <a:pt x="59" y="236"/>
                  </a:cubicBezTo>
                  <a:cubicBezTo>
                    <a:pt x="66" y="273"/>
                    <a:pt x="87" y="292"/>
                    <a:pt x="122" y="292"/>
                  </a:cubicBezTo>
                  <a:cubicBezTo>
                    <a:pt x="139" y="292"/>
                    <a:pt x="152" y="288"/>
                    <a:pt x="161" y="279"/>
                  </a:cubicBezTo>
                  <a:cubicBezTo>
                    <a:pt x="169" y="270"/>
                    <a:pt x="174" y="260"/>
                    <a:pt x="174" y="248"/>
                  </a:cubicBezTo>
                  <a:cubicBezTo>
                    <a:pt x="174" y="240"/>
                    <a:pt x="171" y="232"/>
                    <a:pt x="165" y="224"/>
                  </a:cubicBezTo>
                  <a:cubicBezTo>
                    <a:pt x="159" y="216"/>
                    <a:pt x="142" y="208"/>
                    <a:pt x="116" y="199"/>
                  </a:cubicBezTo>
                  <a:cubicBezTo>
                    <a:pt x="90" y="191"/>
                    <a:pt x="70" y="183"/>
                    <a:pt x="57" y="176"/>
                  </a:cubicBezTo>
                  <a:cubicBezTo>
                    <a:pt x="44" y="169"/>
                    <a:pt x="33" y="159"/>
                    <a:pt x="25" y="146"/>
                  </a:cubicBezTo>
                  <a:cubicBezTo>
                    <a:pt x="16" y="132"/>
                    <a:pt x="12" y="117"/>
                    <a:pt x="12" y="100"/>
                  </a:cubicBezTo>
                  <a:cubicBezTo>
                    <a:pt x="12" y="72"/>
                    <a:pt x="22" y="49"/>
                    <a:pt x="43" y="30"/>
                  </a:cubicBezTo>
                  <a:cubicBezTo>
                    <a:pt x="64" y="10"/>
                    <a:pt x="91" y="0"/>
                    <a:pt x="123" y="0"/>
                  </a:cubicBezTo>
                  <a:cubicBezTo>
                    <a:pt x="179" y="0"/>
                    <a:pt x="215" y="28"/>
                    <a:pt x="232" y="8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1" name="Freeform 20"/>
            <p:cNvSpPr>
              <a:spLocks noEditPoints="1"/>
            </p:cNvSpPr>
            <p:nvPr/>
          </p:nvSpPr>
          <p:spPr bwMode="auto">
            <a:xfrm>
              <a:off x="7119938" y="2763838"/>
              <a:ext cx="973138" cy="1281113"/>
            </a:xfrm>
            <a:custGeom>
              <a:avLst/>
              <a:gdLst>
                <a:gd name="T0" fmla="*/ 259 w 259"/>
                <a:gd name="T1" fmla="*/ 181 h 341"/>
                <a:gd name="T2" fmla="*/ 71 w 259"/>
                <a:gd name="T3" fmla="*/ 181 h 341"/>
                <a:gd name="T4" fmla="*/ 89 w 259"/>
                <a:gd name="T5" fmla="*/ 269 h 341"/>
                <a:gd name="T6" fmla="*/ 135 w 259"/>
                <a:gd name="T7" fmla="*/ 291 h 341"/>
                <a:gd name="T8" fmla="*/ 192 w 259"/>
                <a:gd name="T9" fmla="*/ 230 h 341"/>
                <a:gd name="T10" fmla="*/ 256 w 259"/>
                <a:gd name="T11" fmla="*/ 238 h 341"/>
                <a:gd name="T12" fmla="*/ 132 w 259"/>
                <a:gd name="T13" fmla="*/ 341 h 341"/>
                <a:gd name="T14" fmla="*/ 36 w 259"/>
                <a:gd name="T15" fmla="*/ 299 h 341"/>
                <a:gd name="T16" fmla="*/ 0 w 259"/>
                <a:gd name="T17" fmla="*/ 175 h 341"/>
                <a:gd name="T18" fmla="*/ 36 w 259"/>
                <a:gd name="T19" fmla="*/ 46 h 341"/>
                <a:gd name="T20" fmla="*/ 134 w 259"/>
                <a:gd name="T21" fmla="*/ 0 h 341"/>
                <a:gd name="T22" fmla="*/ 206 w 259"/>
                <a:gd name="T23" fmla="*/ 23 h 341"/>
                <a:gd name="T24" fmla="*/ 247 w 259"/>
                <a:gd name="T25" fmla="*/ 83 h 341"/>
                <a:gd name="T26" fmla="*/ 259 w 259"/>
                <a:gd name="T27" fmla="*/ 181 h 341"/>
                <a:gd name="T28" fmla="*/ 189 w 259"/>
                <a:gd name="T29" fmla="*/ 134 h 341"/>
                <a:gd name="T30" fmla="*/ 132 w 259"/>
                <a:gd name="T31" fmla="*/ 50 h 341"/>
                <a:gd name="T32" fmla="*/ 73 w 259"/>
                <a:gd name="T33" fmla="*/ 134 h 341"/>
                <a:gd name="T34" fmla="*/ 189 w 259"/>
                <a:gd name="T35" fmla="*/ 134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59" h="341">
                  <a:moveTo>
                    <a:pt x="259" y="181"/>
                  </a:moveTo>
                  <a:cubicBezTo>
                    <a:pt x="71" y="181"/>
                    <a:pt x="71" y="181"/>
                    <a:pt x="71" y="181"/>
                  </a:cubicBezTo>
                  <a:cubicBezTo>
                    <a:pt x="71" y="225"/>
                    <a:pt x="77" y="254"/>
                    <a:pt x="89" y="269"/>
                  </a:cubicBezTo>
                  <a:cubicBezTo>
                    <a:pt x="101" y="283"/>
                    <a:pt x="116" y="291"/>
                    <a:pt x="135" y="291"/>
                  </a:cubicBezTo>
                  <a:cubicBezTo>
                    <a:pt x="165" y="291"/>
                    <a:pt x="184" y="270"/>
                    <a:pt x="192" y="230"/>
                  </a:cubicBezTo>
                  <a:cubicBezTo>
                    <a:pt x="256" y="238"/>
                    <a:pt x="256" y="238"/>
                    <a:pt x="256" y="238"/>
                  </a:cubicBezTo>
                  <a:cubicBezTo>
                    <a:pt x="239" y="307"/>
                    <a:pt x="198" y="341"/>
                    <a:pt x="132" y="341"/>
                  </a:cubicBezTo>
                  <a:cubicBezTo>
                    <a:pt x="92" y="341"/>
                    <a:pt x="60" y="327"/>
                    <a:pt x="36" y="299"/>
                  </a:cubicBezTo>
                  <a:cubicBezTo>
                    <a:pt x="12" y="271"/>
                    <a:pt x="0" y="230"/>
                    <a:pt x="0" y="175"/>
                  </a:cubicBezTo>
                  <a:cubicBezTo>
                    <a:pt x="0" y="120"/>
                    <a:pt x="12" y="77"/>
                    <a:pt x="36" y="46"/>
                  </a:cubicBezTo>
                  <a:cubicBezTo>
                    <a:pt x="60" y="16"/>
                    <a:pt x="93" y="0"/>
                    <a:pt x="134" y="0"/>
                  </a:cubicBezTo>
                  <a:cubicBezTo>
                    <a:pt x="162" y="0"/>
                    <a:pt x="186" y="8"/>
                    <a:pt x="206" y="23"/>
                  </a:cubicBezTo>
                  <a:cubicBezTo>
                    <a:pt x="225" y="39"/>
                    <a:pt x="239" y="59"/>
                    <a:pt x="247" y="83"/>
                  </a:cubicBezTo>
                  <a:cubicBezTo>
                    <a:pt x="255" y="108"/>
                    <a:pt x="259" y="141"/>
                    <a:pt x="259" y="181"/>
                  </a:cubicBezTo>
                  <a:close/>
                  <a:moveTo>
                    <a:pt x="189" y="134"/>
                  </a:moveTo>
                  <a:cubicBezTo>
                    <a:pt x="189" y="78"/>
                    <a:pt x="170" y="50"/>
                    <a:pt x="132" y="50"/>
                  </a:cubicBezTo>
                  <a:cubicBezTo>
                    <a:pt x="96" y="50"/>
                    <a:pt x="76" y="78"/>
                    <a:pt x="73" y="134"/>
                  </a:cubicBezTo>
                  <a:lnTo>
                    <a:pt x="189" y="13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2" name="Freeform 21"/>
            <p:cNvSpPr>
              <a:spLocks/>
            </p:cNvSpPr>
            <p:nvPr/>
          </p:nvSpPr>
          <p:spPr bwMode="auto">
            <a:xfrm>
              <a:off x="8310563" y="2763838"/>
              <a:ext cx="873125" cy="1250950"/>
            </a:xfrm>
            <a:custGeom>
              <a:avLst/>
              <a:gdLst>
                <a:gd name="T0" fmla="*/ 0 w 233"/>
                <a:gd name="T1" fmla="*/ 8 h 333"/>
                <a:gd name="T2" fmla="*/ 64 w 233"/>
                <a:gd name="T3" fmla="*/ 8 h 333"/>
                <a:gd name="T4" fmla="*/ 64 w 233"/>
                <a:gd name="T5" fmla="*/ 58 h 333"/>
                <a:gd name="T6" fmla="*/ 147 w 233"/>
                <a:gd name="T7" fmla="*/ 0 h 333"/>
                <a:gd name="T8" fmla="*/ 201 w 233"/>
                <a:gd name="T9" fmla="*/ 16 h 333"/>
                <a:gd name="T10" fmla="*/ 228 w 233"/>
                <a:gd name="T11" fmla="*/ 54 h 333"/>
                <a:gd name="T12" fmla="*/ 233 w 233"/>
                <a:gd name="T13" fmla="*/ 124 h 333"/>
                <a:gd name="T14" fmla="*/ 233 w 233"/>
                <a:gd name="T15" fmla="*/ 333 h 333"/>
                <a:gd name="T16" fmla="*/ 163 w 233"/>
                <a:gd name="T17" fmla="*/ 333 h 333"/>
                <a:gd name="T18" fmla="*/ 163 w 233"/>
                <a:gd name="T19" fmla="*/ 127 h 333"/>
                <a:gd name="T20" fmla="*/ 156 w 233"/>
                <a:gd name="T21" fmla="*/ 69 h 333"/>
                <a:gd name="T22" fmla="*/ 124 w 233"/>
                <a:gd name="T23" fmla="*/ 54 h 333"/>
                <a:gd name="T24" fmla="*/ 84 w 233"/>
                <a:gd name="T25" fmla="*/ 74 h 333"/>
                <a:gd name="T26" fmla="*/ 70 w 233"/>
                <a:gd name="T27" fmla="*/ 151 h 333"/>
                <a:gd name="T28" fmla="*/ 70 w 233"/>
                <a:gd name="T29" fmla="*/ 333 h 333"/>
                <a:gd name="T30" fmla="*/ 0 w 233"/>
                <a:gd name="T31" fmla="*/ 333 h 333"/>
                <a:gd name="T32" fmla="*/ 0 w 233"/>
                <a:gd name="T33" fmla="*/ 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333">
                  <a:moveTo>
                    <a:pt x="0" y="8"/>
                  </a:moveTo>
                  <a:cubicBezTo>
                    <a:pt x="64" y="8"/>
                    <a:pt x="64" y="8"/>
                    <a:pt x="64" y="8"/>
                  </a:cubicBezTo>
                  <a:cubicBezTo>
                    <a:pt x="64" y="58"/>
                    <a:pt x="64" y="58"/>
                    <a:pt x="64" y="58"/>
                  </a:cubicBezTo>
                  <a:cubicBezTo>
                    <a:pt x="80" y="20"/>
                    <a:pt x="107" y="0"/>
                    <a:pt x="147" y="0"/>
                  </a:cubicBezTo>
                  <a:cubicBezTo>
                    <a:pt x="169" y="0"/>
                    <a:pt x="188" y="6"/>
                    <a:pt x="201" y="16"/>
                  </a:cubicBezTo>
                  <a:cubicBezTo>
                    <a:pt x="215" y="27"/>
                    <a:pt x="224" y="39"/>
                    <a:pt x="228" y="54"/>
                  </a:cubicBezTo>
                  <a:cubicBezTo>
                    <a:pt x="231" y="69"/>
                    <a:pt x="233" y="92"/>
                    <a:pt x="233" y="124"/>
                  </a:cubicBezTo>
                  <a:cubicBezTo>
                    <a:pt x="233" y="333"/>
                    <a:pt x="233" y="333"/>
                    <a:pt x="233" y="333"/>
                  </a:cubicBezTo>
                  <a:cubicBezTo>
                    <a:pt x="163" y="333"/>
                    <a:pt x="163" y="333"/>
                    <a:pt x="163" y="333"/>
                  </a:cubicBezTo>
                  <a:cubicBezTo>
                    <a:pt x="163" y="127"/>
                    <a:pt x="163" y="127"/>
                    <a:pt x="163" y="127"/>
                  </a:cubicBezTo>
                  <a:cubicBezTo>
                    <a:pt x="163" y="99"/>
                    <a:pt x="161" y="80"/>
                    <a:pt x="156" y="69"/>
                  </a:cubicBezTo>
                  <a:cubicBezTo>
                    <a:pt x="151" y="59"/>
                    <a:pt x="140" y="54"/>
                    <a:pt x="124" y="54"/>
                  </a:cubicBezTo>
                  <a:cubicBezTo>
                    <a:pt x="107" y="54"/>
                    <a:pt x="94" y="61"/>
                    <a:pt x="84" y="74"/>
                  </a:cubicBezTo>
                  <a:cubicBezTo>
                    <a:pt x="75" y="87"/>
                    <a:pt x="70" y="112"/>
                    <a:pt x="70" y="151"/>
                  </a:cubicBezTo>
                  <a:cubicBezTo>
                    <a:pt x="70" y="333"/>
                    <a:pt x="70" y="333"/>
                    <a:pt x="70" y="333"/>
                  </a:cubicBezTo>
                  <a:cubicBezTo>
                    <a:pt x="0" y="333"/>
                    <a:pt x="0" y="333"/>
                    <a:pt x="0" y="333"/>
                  </a:cubicBezTo>
                  <a:lnTo>
                    <a:pt x="0"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3" name="Freeform 22"/>
            <p:cNvSpPr>
              <a:spLocks/>
            </p:cNvSpPr>
            <p:nvPr/>
          </p:nvSpPr>
          <p:spPr bwMode="auto">
            <a:xfrm>
              <a:off x="9496425" y="2365376"/>
              <a:ext cx="1162050" cy="1649413"/>
            </a:xfrm>
            <a:custGeom>
              <a:avLst/>
              <a:gdLst>
                <a:gd name="T0" fmla="*/ 0 w 732"/>
                <a:gd name="T1" fmla="*/ 0 h 1039"/>
                <a:gd name="T2" fmla="*/ 177 w 732"/>
                <a:gd name="T3" fmla="*/ 0 h 1039"/>
                <a:gd name="T4" fmla="*/ 177 w 732"/>
                <a:gd name="T5" fmla="*/ 499 h 1039"/>
                <a:gd name="T6" fmla="*/ 501 w 732"/>
                <a:gd name="T7" fmla="*/ 0 h 1039"/>
                <a:gd name="T8" fmla="*/ 685 w 732"/>
                <a:gd name="T9" fmla="*/ 0 h 1039"/>
                <a:gd name="T10" fmla="*/ 411 w 732"/>
                <a:gd name="T11" fmla="*/ 381 h 1039"/>
                <a:gd name="T12" fmla="*/ 732 w 732"/>
                <a:gd name="T13" fmla="*/ 1039 h 1039"/>
                <a:gd name="T14" fmla="*/ 541 w 732"/>
                <a:gd name="T15" fmla="*/ 1039 h 1039"/>
                <a:gd name="T16" fmla="*/ 302 w 732"/>
                <a:gd name="T17" fmla="*/ 523 h 1039"/>
                <a:gd name="T18" fmla="*/ 177 w 732"/>
                <a:gd name="T19" fmla="*/ 698 h 1039"/>
                <a:gd name="T20" fmla="*/ 177 w 732"/>
                <a:gd name="T21" fmla="*/ 1039 h 1039"/>
                <a:gd name="T22" fmla="*/ 0 w 732"/>
                <a:gd name="T23" fmla="*/ 1039 h 1039"/>
                <a:gd name="T24" fmla="*/ 0 w 732"/>
                <a:gd name="T25" fmla="*/ 0 h 10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32" h="1039">
                  <a:moveTo>
                    <a:pt x="0" y="0"/>
                  </a:moveTo>
                  <a:lnTo>
                    <a:pt x="177" y="0"/>
                  </a:lnTo>
                  <a:lnTo>
                    <a:pt x="177" y="499"/>
                  </a:lnTo>
                  <a:lnTo>
                    <a:pt x="501" y="0"/>
                  </a:lnTo>
                  <a:lnTo>
                    <a:pt x="685" y="0"/>
                  </a:lnTo>
                  <a:lnTo>
                    <a:pt x="411" y="381"/>
                  </a:lnTo>
                  <a:lnTo>
                    <a:pt x="732" y="1039"/>
                  </a:lnTo>
                  <a:lnTo>
                    <a:pt x="541" y="1039"/>
                  </a:lnTo>
                  <a:lnTo>
                    <a:pt x="302" y="523"/>
                  </a:lnTo>
                  <a:lnTo>
                    <a:pt x="177" y="698"/>
                  </a:lnTo>
                  <a:lnTo>
                    <a:pt x="177" y="1039"/>
                  </a:lnTo>
                  <a:lnTo>
                    <a:pt x="0" y="1039"/>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4" name="Freeform 23"/>
            <p:cNvSpPr>
              <a:spLocks/>
            </p:cNvSpPr>
            <p:nvPr/>
          </p:nvSpPr>
          <p:spPr bwMode="auto">
            <a:xfrm>
              <a:off x="10790238" y="2763838"/>
              <a:ext cx="588963" cy="1250950"/>
            </a:xfrm>
            <a:custGeom>
              <a:avLst/>
              <a:gdLst>
                <a:gd name="T0" fmla="*/ 0 w 157"/>
                <a:gd name="T1" fmla="*/ 8 h 333"/>
                <a:gd name="T2" fmla="*/ 61 w 157"/>
                <a:gd name="T3" fmla="*/ 8 h 333"/>
                <a:gd name="T4" fmla="*/ 61 w 157"/>
                <a:gd name="T5" fmla="*/ 81 h 333"/>
                <a:gd name="T6" fmla="*/ 145 w 157"/>
                <a:gd name="T7" fmla="*/ 0 h 333"/>
                <a:gd name="T8" fmla="*/ 157 w 157"/>
                <a:gd name="T9" fmla="*/ 1 h 333"/>
                <a:gd name="T10" fmla="*/ 157 w 157"/>
                <a:gd name="T11" fmla="*/ 72 h 333"/>
                <a:gd name="T12" fmla="*/ 143 w 157"/>
                <a:gd name="T13" fmla="*/ 71 h 333"/>
                <a:gd name="T14" fmla="*/ 70 w 157"/>
                <a:gd name="T15" fmla="*/ 168 h 333"/>
                <a:gd name="T16" fmla="*/ 70 w 157"/>
                <a:gd name="T17" fmla="*/ 333 h 333"/>
                <a:gd name="T18" fmla="*/ 0 w 157"/>
                <a:gd name="T19" fmla="*/ 333 h 333"/>
                <a:gd name="T20" fmla="*/ 0 w 157"/>
                <a:gd name="T21" fmla="*/ 8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333">
                  <a:moveTo>
                    <a:pt x="0" y="8"/>
                  </a:moveTo>
                  <a:cubicBezTo>
                    <a:pt x="61" y="8"/>
                    <a:pt x="61" y="8"/>
                    <a:pt x="61" y="8"/>
                  </a:cubicBezTo>
                  <a:cubicBezTo>
                    <a:pt x="61" y="81"/>
                    <a:pt x="61" y="81"/>
                    <a:pt x="61" y="81"/>
                  </a:cubicBezTo>
                  <a:cubicBezTo>
                    <a:pt x="80" y="27"/>
                    <a:pt x="108" y="0"/>
                    <a:pt x="145" y="0"/>
                  </a:cubicBezTo>
                  <a:cubicBezTo>
                    <a:pt x="148" y="0"/>
                    <a:pt x="152" y="1"/>
                    <a:pt x="157" y="1"/>
                  </a:cubicBezTo>
                  <a:cubicBezTo>
                    <a:pt x="157" y="72"/>
                    <a:pt x="157" y="72"/>
                    <a:pt x="157" y="72"/>
                  </a:cubicBezTo>
                  <a:cubicBezTo>
                    <a:pt x="151" y="72"/>
                    <a:pt x="147" y="71"/>
                    <a:pt x="143" y="71"/>
                  </a:cubicBezTo>
                  <a:cubicBezTo>
                    <a:pt x="94" y="71"/>
                    <a:pt x="70" y="103"/>
                    <a:pt x="70" y="168"/>
                  </a:cubicBezTo>
                  <a:cubicBezTo>
                    <a:pt x="70" y="333"/>
                    <a:pt x="70" y="333"/>
                    <a:pt x="70" y="333"/>
                  </a:cubicBezTo>
                  <a:cubicBezTo>
                    <a:pt x="0" y="333"/>
                    <a:pt x="0" y="333"/>
                    <a:pt x="0" y="333"/>
                  </a:cubicBezTo>
                  <a:lnTo>
                    <a:pt x="0" y="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5" name="Freeform 24"/>
            <p:cNvSpPr>
              <a:spLocks/>
            </p:cNvSpPr>
            <p:nvPr/>
          </p:nvSpPr>
          <p:spPr bwMode="auto">
            <a:xfrm>
              <a:off x="11477625" y="2794001"/>
              <a:ext cx="873125" cy="1250950"/>
            </a:xfrm>
            <a:custGeom>
              <a:avLst/>
              <a:gdLst>
                <a:gd name="T0" fmla="*/ 0 w 233"/>
                <a:gd name="T1" fmla="*/ 0 h 333"/>
                <a:gd name="T2" fmla="*/ 70 w 233"/>
                <a:gd name="T3" fmla="*/ 0 h 333"/>
                <a:gd name="T4" fmla="*/ 70 w 233"/>
                <a:gd name="T5" fmla="*/ 207 h 333"/>
                <a:gd name="T6" fmla="*/ 77 w 233"/>
                <a:gd name="T7" fmla="*/ 265 h 333"/>
                <a:gd name="T8" fmla="*/ 109 w 233"/>
                <a:gd name="T9" fmla="*/ 279 h 333"/>
                <a:gd name="T10" fmla="*/ 151 w 233"/>
                <a:gd name="T11" fmla="*/ 253 h 333"/>
                <a:gd name="T12" fmla="*/ 163 w 233"/>
                <a:gd name="T13" fmla="*/ 157 h 333"/>
                <a:gd name="T14" fmla="*/ 163 w 233"/>
                <a:gd name="T15" fmla="*/ 0 h 333"/>
                <a:gd name="T16" fmla="*/ 233 w 233"/>
                <a:gd name="T17" fmla="*/ 0 h 333"/>
                <a:gd name="T18" fmla="*/ 233 w 233"/>
                <a:gd name="T19" fmla="*/ 325 h 333"/>
                <a:gd name="T20" fmla="*/ 169 w 233"/>
                <a:gd name="T21" fmla="*/ 325 h 333"/>
                <a:gd name="T22" fmla="*/ 169 w 233"/>
                <a:gd name="T23" fmla="*/ 276 h 333"/>
                <a:gd name="T24" fmla="*/ 84 w 233"/>
                <a:gd name="T25" fmla="*/ 333 h 333"/>
                <a:gd name="T26" fmla="*/ 35 w 233"/>
                <a:gd name="T27" fmla="*/ 321 h 333"/>
                <a:gd name="T28" fmla="*/ 8 w 233"/>
                <a:gd name="T29" fmla="*/ 286 h 333"/>
                <a:gd name="T30" fmla="*/ 0 w 233"/>
                <a:gd name="T31" fmla="*/ 208 h 333"/>
                <a:gd name="T32" fmla="*/ 0 w 233"/>
                <a:gd name="T33" fmla="*/ 0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3" h="333">
                  <a:moveTo>
                    <a:pt x="0" y="0"/>
                  </a:moveTo>
                  <a:cubicBezTo>
                    <a:pt x="70" y="0"/>
                    <a:pt x="70" y="0"/>
                    <a:pt x="70" y="0"/>
                  </a:cubicBezTo>
                  <a:cubicBezTo>
                    <a:pt x="70" y="207"/>
                    <a:pt x="70" y="207"/>
                    <a:pt x="70" y="207"/>
                  </a:cubicBezTo>
                  <a:cubicBezTo>
                    <a:pt x="70" y="236"/>
                    <a:pt x="72" y="255"/>
                    <a:pt x="77" y="265"/>
                  </a:cubicBezTo>
                  <a:cubicBezTo>
                    <a:pt x="82" y="274"/>
                    <a:pt x="92" y="279"/>
                    <a:pt x="109" y="279"/>
                  </a:cubicBezTo>
                  <a:cubicBezTo>
                    <a:pt x="129" y="279"/>
                    <a:pt x="143" y="271"/>
                    <a:pt x="151" y="253"/>
                  </a:cubicBezTo>
                  <a:cubicBezTo>
                    <a:pt x="159" y="236"/>
                    <a:pt x="163" y="204"/>
                    <a:pt x="163" y="157"/>
                  </a:cubicBezTo>
                  <a:cubicBezTo>
                    <a:pt x="163" y="0"/>
                    <a:pt x="163" y="0"/>
                    <a:pt x="163" y="0"/>
                  </a:cubicBezTo>
                  <a:cubicBezTo>
                    <a:pt x="233" y="0"/>
                    <a:pt x="233" y="0"/>
                    <a:pt x="233" y="0"/>
                  </a:cubicBezTo>
                  <a:cubicBezTo>
                    <a:pt x="233" y="325"/>
                    <a:pt x="233" y="325"/>
                    <a:pt x="233" y="325"/>
                  </a:cubicBezTo>
                  <a:cubicBezTo>
                    <a:pt x="169" y="325"/>
                    <a:pt x="169" y="325"/>
                    <a:pt x="169" y="325"/>
                  </a:cubicBezTo>
                  <a:cubicBezTo>
                    <a:pt x="169" y="276"/>
                    <a:pt x="169" y="276"/>
                    <a:pt x="169" y="276"/>
                  </a:cubicBezTo>
                  <a:cubicBezTo>
                    <a:pt x="151" y="314"/>
                    <a:pt x="123" y="333"/>
                    <a:pt x="84" y="333"/>
                  </a:cubicBezTo>
                  <a:cubicBezTo>
                    <a:pt x="64" y="333"/>
                    <a:pt x="48" y="329"/>
                    <a:pt x="35" y="321"/>
                  </a:cubicBezTo>
                  <a:cubicBezTo>
                    <a:pt x="23" y="313"/>
                    <a:pt x="14" y="301"/>
                    <a:pt x="8" y="286"/>
                  </a:cubicBezTo>
                  <a:cubicBezTo>
                    <a:pt x="3" y="271"/>
                    <a:pt x="0" y="245"/>
                    <a:pt x="0" y="208"/>
                  </a:cubicBez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6" name="Freeform 25"/>
            <p:cNvSpPr>
              <a:spLocks noEditPoints="1"/>
            </p:cNvSpPr>
            <p:nvPr/>
          </p:nvSpPr>
          <p:spPr bwMode="auto">
            <a:xfrm>
              <a:off x="12565063" y="2774951"/>
              <a:ext cx="971550" cy="1654175"/>
            </a:xfrm>
            <a:custGeom>
              <a:avLst/>
              <a:gdLst>
                <a:gd name="T0" fmla="*/ 0 w 259"/>
                <a:gd name="T1" fmla="*/ 5 h 440"/>
                <a:gd name="T2" fmla="*/ 64 w 259"/>
                <a:gd name="T3" fmla="*/ 5 h 440"/>
                <a:gd name="T4" fmla="*/ 64 w 259"/>
                <a:gd name="T5" fmla="*/ 59 h 440"/>
                <a:gd name="T6" fmla="*/ 147 w 259"/>
                <a:gd name="T7" fmla="*/ 0 h 440"/>
                <a:gd name="T8" fmla="*/ 228 w 259"/>
                <a:gd name="T9" fmla="*/ 43 h 440"/>
                <a:gd name="T10" fmla="*/ 259 w 259"/>
                <a:gd name="T11" fmla="*/ 165 h 440"/>
                <a:gd name="T12" fmla="*/ 231 w 259"/>
                <a:gd name="T13" fmla="*/ 286 h 440"/>
                <a:gd name="T14" fmla="*/ 144 w 259"/>
                <a:gd name="T15" fmla="*/ 336 h 440"/>
                <a:gd name="T16" fmla="*/ 70 w 259"/>
                <a:gd name="T17" fmla="*/ 296 h 440"/>
                <a:gd name="T18" fmla="*/ 70 w 259"/>
                <a:gd name="T19" fmla="*/ 440 h 440"/>
                <a:gd name="T20" fmla="*/ 0 w 259"/>
                <a:gd name="T21" fmla="*/ 440 h 440"/>
                <a:gd name="T22" fmla="*/ 0 w 259"/>
                <a:gd name="T23" fmla="*/ 5 h 440"/>
                <a:gd name="T24" fmla="*/ 70 w 259"/>
                <a:gd name="T25" fmla="*/ 194 h 440"/>
                <a:gd name="T26" fmla="*/ 75 w 259"/>
                <a:gd name="T27" fmla="*/ 243 h 440"/>
                <a:gd name="T28" fmla="*/ 94 w 259"/>
                <a:gd name="T29" fmla="*/ 273 h 440"/>
                <a:gd name="T30" fmla="*/ 127 w 259"/>
                <a:gd name="T31" fmla="*/ 285 h 440"/>
                <a:gd name="T32" fmla="*/ 186 w 259"/>
                <a:gd name="T33" fmla="*/ 165 h 440"/>
                <a:gd name="T34" fmla="*/ 129 w 259"/>
                <a:gd name="T35" fmla="*/ 49 h 440"/>
                <a:gd name="T36" fmla="*/ 87 w 259"/>
                <a:gd name="T37" fmla="*/ 73 h 440"/>
                <a:gd name="T38" fmla="*/ 70 w 259"/>
                <a:gd name="T39" fmla="*/ 140 h 440"/>
                <a:gd name="T40" fmla="*/ 70 w 259"/>
                <a:gd name="T41" fmla="*/ 19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9" h="440">
                  <a:moveTo>
                    <a:pt x="0" y="5"/>
                  </a:moveTo>
                  <a:cubicBezTo>
                    <a:pt x="64" y="5"/>
                    <a:pt x="64" y="5"/>
                    <a:pt x="64" y="5"/>
                  </a:cubicBezTo>
                  <a:cubicBezTo>
                    <a:pt x="64" y="59"/>
                    <a:pt x="64" y="59"/>
                    <a:pt x="64" y="59"/>
                  </a:cubicBezTo>
                  <a:cubicBezTo>
                    <a:pt x="82" y="19"/>
                    <a:pt x="109" y="0"/>
                    <a:pt x="147" y="0"/>
                  </a:cubicBezTo>
                  <a:cubicBezTo>
                    <a:pt x="180" y="0"/>
                    <a:pt x="207" y="14"/>
                    <a:pt x="228" y="43"/>
                  </a:cubicBezTo>
                  <a:cubicBezTo>
                    <a:pt x="249" y="71"/>
                    <a:pt x="259" y="112"/>
                    <a:pt x="259" y="165"/>
                  </a:cubicBezTo>
                  <a:cubicBezTo>
                    <a:pt x="259" y="212"/>
                    <a:pt x="250" y="253"/>
                    <a:pt x="231" y="286"/>
                  </a:cubicBezTo>
                  <a:cubicBezTo>
                    <a:pt x="212" y="319"/>
                    <a:pt x="183" y="336"/>
                    <a:pt x="144" y="336"/>
                  </a:cubicBezTo>
                  <a:cubicBezTo>
                    <a:pt x="112" y="336"/>
                    <a:pt x="88" y="323"/>
                    <a:pt x="70" y="296"/>
                  </a:cubicBezTo>
                  <a:cubicBezTo>
                    <a:pt x="70" y="440"/>
                    <a:pt x="70" y="440"/>
                    <a:pt x="70" y="440"/>
                  </a:cubicBezTo>
                  <a:cubicBezTo>
                    <a:pt x="0" y="440"/>
                    <a:pt x="0" y="440"/>
                    <a:pt x="0" y="440"/>
                  </a:cubicBezTo>
                  <a:lnTo>
                    <a:pt x="0" y="5"/>
                  </a:lnTo>
                  <a:close/>
                  <a:moveTo>
                    <a:pt x="70" y="194"/>
                  </a:moveTo>
                  <a:cubicBezTo>
                    <a:pt x="70" y="215"/>
                    <a:pt x="72" y="231"/>
                    <a:pt x="75" y="243"/>
                  </a:cubicBezTo>
                  <a:cubicBezTo>
                    <a:pt x="78" y="255"/>
                    <a:pt x="84" y="265"/>
                    <a:pt x="94" y="273"/>
                  </a:cubicBezTo>
                  <a:cubicBezTo>
                    <a:pt x="104" y="281"/>
                    <a:pt x="115" y="285"/>
                    <a:pt x="127" y="285"/>
                  </a:cubicBezTo>
                  <a:cubicBezTo>
                    <a:pt x="166" y="285"/>
                    <a:pt x="186" y="245"/>
                    <a:pt x="186" y="165"/>
                  </a:cubicBezTo>
                  <a:cubicBezTo>
                    <a:pt x="186" y="88"/>
                    <a:pt x="167" y="49"/>
                    <a:pt x="129" y="49"/>
                  </a:cubicBezTo>
                  <a:cubicBezTo>
                    <a:pt x="112" y="49"/>
                    <a:pt x="98" y="57"/>
                    <a:pt x="87" y="73"/>
                  </a:cubicBezTo>
                  <a:cubicBezTo>
                    <a:pt x="76" y="88"/>
                    <a:pt x="70" y="111"/>
                    <a:pt x="70" y="140"/>
                  </a:cubicBezTo>
                  <a:lnTo>
                    <a:pt x="70"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7" name="Freeform 26"/>
            <p:cNvSpPr>
              <a:spLocks noEditPoints="1"/>
            </p:cNvSpPr>
            <p:nvPr/>
          </p:nvSpPr>
          <p:spPr bwMode="auto">
            <a:xfrm>
              <a:off x="13762038" y="2774951"/>
              <a:ext cx="968375" cy="1654175"/>
            </a:xfrm>
            <a:custGeom>
              <a:avLst/>
              <a:gdLst>
                <a:gd name="T0" fmla="*/ 0 w 258"/>
                <a:gd name="T1" fmla="*/ 5 h 440"/>
                <a:gd name="T2" fmla="*/ 63 w 258"/>
                <a:gd name="T3" fmla="*/ 5 h 440"/>
                <a:gd name="T4" fmla="*/ 63 w 258"/>
                <a:gd name="T5" fmla="*/ 59 h 440"/>
                <a:gd name="T6" fmla="*/ 146 w 258"/>
                <a:gd name="T7" fmla="*/ 0 h 440"/>
                <a:gd name="T8" fmla="*/ 227 w 258"/>
                <a:gd name="T9" fmla="*/ 43 h 440"/>
                <a:gd name="T10" fmla="*/ 258 w 258"/>
                <a:gd name="T11" fmla="*/ 165 h 440"/>
                <a:gd name="T12" fmla="*/ 230 w 258"/>
                <a:gd name="T13" fmla="*/ 286 h 440"/>
                <a:gd name="T14" fmla="*/ 143 w 258"/>
                <a:gd name="T15" fmla="*/ 336 h 440"/>
                <a:gd name="T16" fmla="*/ 69 w 258"/>
                <a:gd name="T17" fmla="*/ 296 h 440"/>
                <a:gd name="T18" fmla="*/ 69 w 258"/>
                <a:gd name="T19" fmla="*/ 440 h 440"/>
                <a:gd name="T20" fmla="*/ 0 w 258"/>
                <a:gd name="T21" fmla="*/ 440 h 440"/>
                <a:gd name="T22" fmla="*/ 0 w 258"/>
                <a:gd name="T23" fmla="*/ 5 h 440"/>
                <a:gd name="T24" fmla="*/ 69 w 258"/>
                <a:gd name="T25" fmla="*/ 194 h 440"/>
                <a:gd name="T26" fmla="*/ 74 w 258"/>
                <a:gd name="T27" fmla="*/ 243 h 440"/>
                <a:gd name="T28" fmla="*/ 93 w 258"/>
                <a:gd name="T29" fmla="*/ 273 h 440"/>
                <a:gd name="T30" fmla="*/ 127 w 258"/>
                <a:gd name="T31" fmla="*/ 285 h 440"/>
                <a:gd name="T32" fmla="*/ 185 w 258"/>
                <a:gd name="T33" fmla="*/ 165 h 440"/>
                <a:gd name="T34" fmla="*/ 128 w 258"/>
                <a:gd name="T35" fmla="*/ 49 h 440"/>
                <a:gd name="T36" fmla="*/ 86 w 258"/>
                <a:gd name="T37" fmla="*/ 73 h 440"/>
                <a:gd name="T38" fmla="*/ 69 w 258"/>
                <a:gd name="T39" fmla="*/ 140 h 440"/>
                <a:gd name="T40" fmla="*/ 69 w 258"/>
                <a:gd name="T41" fmla="*/ 194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58" h="440">
                  <a:moveTo>
                    <a:pt x="0" y="5"/>
                  </a:moveTo>
                  <a:cubicBezTo>
                    <a:pt x="63" y="5"/>
                    <a:pt x="63" y="5"/>
                    <a:pt x="63" y="5"/>
                  </a:cubicBezTo>
                  <a:cubicBezTo>
                    <a:pt x="63" y="59"/>
                    <a:pt x="63" y="59"/>
                    <a:pt x="63" y="59"/>
                  </a:cubicBezTo>
                  <a:cubicBezTo>
                    <a:pt x="81" y="19"/>
                    <a:pt x="108" y="0"/>
                    <a:pt x="146" y="0"/>
                  </a:cubicBezTo>
                  <a:cubicBezTo>
                    <a:pt x="179" y="0"/>
                    <a:pt x="206" y="14"/>
                    <a:pt x="227" y="43"/>
                  </a:cubicBezTo>
                  <a:cubicBezTo>
                    <a:pt x="248" y="71"/>
                    <a:pt x="258" y="112"/>
                    <a:pt x="258" y="165"/>
                  </a:cubicBezTo>
                  <a:cubicBezTo>
                    <a:pt x="258" y="212"/>
                    <a:pt x="249" y="253"/>
                    <a:pt x="230" y="286"/>
                  </a:cubicBezTo>
                  <a:cubicBezTo>
                    <a:pt x="211" y="319"/>
                    <a:pt x="182" y="336"/>
                    <a:pt x="143" y="336"/>
                  </a:cubicBezTo>
                  <a:cubicBezTo>
                    <a:pt x="111" y="336"/>
                    <a:pt x="87" y="323"/>
                    <a:pt x="69" y="296"/>
                  </a:cubicBezTo>
                  <a:cubicBezTo>
                    <a:pt x="69" y="440"/>
                    <a:pt x="69" y="440"/>
                    <a:pt x="69" y="440"/>
                  </a:cubicBezTo>
                  <a:cubicBezTo>
                    <a:pt x="0" y="440"/>
                    <a:pt x="0" y="440"/>
                    <a:pt x="0" y="440"/>
                  </a:cubicBezTo>
                  <a:lnTo>
                    <a:pt x="0" y="5"/>
                  </a:lnTo>
                  <a:close/>
                  <a:moveTo>
                    <a:pt x="69" y="194"/>
                  </a:moveTo>
                  <a:cubicBezTo>
                    <a:pt x="69" y="215"/>
                    <a:pt x="71" y="231"/>
                    <a:pt x="74" y="243"/>
                  </a:cubicBezTo>
                  <a:cubicBezTo>
                    <a:pt x="77" y="255"/>
                    <a:pt x="83" y="265"/>
                    <a:pt x="93" y="273"/>
                  </a:cubicBezTo>
                  <a:cubicBezTo>
                    <a:pt x="103" y="281"/>
                    <a:pt x="114" y="285"/>
                    <a:pt x="127" y="285"/>
                  </a:cubicBezTo>
                  <a:cubicBezTo>
                    <a:pt x="165" y="285"/>
                    <a:pt x="185" y="245"/>
                    <a:pt x="185" y="165"/>
                  </a:cubicBezTo>
                  <a:cubicBezTo>
                    <a:pt x="185" y="88"/>
                    <a:pt x="166" y="49"/>
                    <a:pt x="128" y="49"/>
                  </a:cubicBezTo>
                  <a:cubicBezTo>
                    <a:pt x="111" y="49"/>
                    <a:pt x="97" y="57"/>
                    <a:pt x="86" y="73"/>
                  </a:cubicBezTo>
                  <a:cubicBezTo>
                    <a:pt x="75" y="88"/>
                    <a:pt x="69" y="111"/>
                    <a:pt x="69" y="140"/>
                  </a:cubicBezTo>
                  <a:lnTo>
                    <a:pt x="69" y="19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8" name="Freeform 27"/>
            <p:cNvSpPr>
              <a:spLocks/>
            </p:cNvSpPr>
            <p:nvPr/>
          </p:nvSpPr>
          <p:spPr bwMode="auto">
            <a:xfrm>
              <a:off x="-942975" y="4008438"/>
              <a:ext cx="393700" cy="412750"/>
            </a:xfrm>
            <a:custGeom>
              <a:avLst/>
              <a:gdLst>
                <a:gd name="T0" fmla="*/ 105 w 105"/>
                <a:gd name="T1" fmla="*/ 0 h 110"/>
                <a:gd name="T2" fmla="*/ 52 w 105"/>
                <a:gd name="T3" fmla="*/ 9 h 110"/>
                <a:gd name="T4" fmla="*/ 0 w 105"/>
                <a:gd name="T5" fmla="*/ 0 h 110"/>
                <a:gd name="T6" fmla="*/ 53 w 105"/>
                <a:gd name="T7" fmla="*/ 110 h 110"/>
                <a:gd name="T8" fmla="*/ 105 w 105"/>
                <a:gd name="T9" fmla="*/ 0 h 110"/>
              </a:gdLst>
              <a:ahLst/>
              <a:cxnLst>
                <a:cxn ang="0">
                  <a:pos x="T0" y="T1"/>
                </a:cxn>
                <a:cxn ang="0">
                  <a:pos x="T2" y="T3"/>
                </a:cxn>
                <a:cxn ang="0">
                  <a:pos x="T4" y="T5"/>
                </a:cxn>
                <a:cxn ang="0">
                  <a:pos x="T6" y="T7"/>
                </a:cxn>
                <a:cxn ang="0">
                  <a:pos x="T8" y="T9"/>
                </a:cxn>
              </a:cxnLst>
              <a:rect l="0" t="0" r="r" b="b"/>
              <a:pathLst>
                <a:path w="105" h="110">
                  <a:moveTo>
                    <a:pt x="105" y="0"/>
                  </a:moveTo>
                  <a:cubicBezTo>
                    <a:pt x="88" y="6"/>
                    <a:pt x="71" y="9"/>
                    <a:pt x="52" y="9"/>
                  </a:cubicBezTo>
                  <a:cubicBezTo>
                    <a:pt x="34" y="9"/>
                    <a:pt x="17" y="6"/>
                    <a:pt x="0" y="0"/>
                  </a:cubicBezTo>
                  <a:cubicBezTo>
                    <a:pt x="1" y="44"/>
                    <a:pt x="21" y="84"/>
                    <a:pt x="53" y="110"/>
                  </a:cubicBezTo>
                  <a:cubicBezTo>
                    <a:pt x="84" y="84"/>
                    <a:pt x="104" y="44"/>
                    <a:pt x="10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29" name="Freeform 28"/>
            <p:cNvSpPr>
              <a:spLocks/>
            </p:cNvSpPr>
            <p:nvPr/>
          </p:nvSpPr>
          <p:spPr bwMode="auto">
            <a:xfrm>
              <a:off x="-681038" y="3451226"/>
              <a:ext cx="476250" cy="444500"/>
            </a:xfrm>
            <a:custGeom>
              <a:avLst/>
              <a:gdLst>
                <a:gd name="T0" fmla="*/ 0 w 127"/>
                <a:gd name="T1" fmla="*/ 23 h 118"/>
                <a:gd name="T2" fmla="*/ 53 w 127"/>
                <a:gd name="T3" fmla="*/ 118 h 118"/>
                <a:gd name="T4" fmla="*/ 127 w 127"/>
                <a:gd name="T5" fmla="*/ 10 h 118"/>
                <a:gd name="T6" fmla="*/ 77 w 127"/>
                <a:gd name="T7" fmla="*/ 0 h 118"/>
                <a:gd name="T8" fmla="*/ 0 w 127"/>
                <a:gd name="T9" fmla="*/ 23 h 118"/>
              </a:gdLst>
              <a:ahLst/>
              <a:cxnLst>
                <a:cxn ang="0">
                  <a:pos x="T0" y="T1"/>
                </a:cxn>
                <a:cxn ang="0">
                  <a:pos x="T2" y="T3"/>
                </a:cxn>
                <a:cxn ang="0">
                  <a:pos x="T4" y="T5"/>
                </a:cxn>
                <a:cxn ang="0">
                  <a:pos x="T6" y="T7"/>
                </a:cxn>
                <a:cxn ang="0">
                  <a:pos x="T8" y="T9"/>
                </a:cxn>
              </a:cxnLst>
              <a:rect l="0" t="0" r="r" b="b"/>
              <a:pathLst>
                <a:path w="127" h="118">
                  <a:moveTo>
                    <a:pt x="0" y="23"/>
                  </a:moveTo>
                  <a:cubicBezTo>
                    <a:pt x="27" y="47"/>
                    <a:pt x="46" y="80"/>
                    <a:pt x="53" y="118"/>
                  </a:cubicBezTo>
                  <a:cubicBezTo>
                    <a:pt x="93" y="96"/>
                    <a:pt x="121" y="56"/>
                    <a:pt x="127" y="10"/>
                  </a:cubicBezTo>
                  <a:cubicBezTo>
                    <a:pt x="111" y="4"/>
                    <a:pt x="95" y="0"/>
                    <a:pt x="77" y="0"/>
                  </a:cubicBezTo>
                  <a:cubicBezTo>
                    <a:pt x="48" y="0"/>
                    <a:pt x="22" y="9"/>
                    <a:pt x="0" y="2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30" name="Freeform 29"/>
            <p:cNvSpPr>
              <a:spLocks/>
            </p:cNvSpPr>
            <p:nvPr/>
          </p:nvSpPr>
          <p:spPr bwMode="auto">
            <a:xfrm>
              <a:off x="-1296988" y="2860676"/>
              <a:ext cx="1100138" cy="620713"/>
            </a:xfrm>
            <a:custGeom>
              <a:avLst/>
              <a:gdLst>
                <a:gd name="T0" fmla="*/ 147 w 293"/>
                <a:gd name="T1" fmla="*/ 165 h 165"/>
                <a:gd name="T2" fmla="*/ 241 w 293"/>
                <a:gd name="T3" fmla="*/ 136 h 165"/>
                <a:gd name="T4" fmla="*/ 293 w 293"/>
                <a:gd name="T5" fmla="*/ 145 h 165"/>
                <a:gd name="T6" fmla="*/ 146 w 293"/>
                <a:gd name="T7" fmla="*/ 0 h 165"/>
                <a:gd name="T8" fmla="*/ 0 w 293"/>
                <a:gd name="T9" fmla="*/ 145 h 165"/>
                <a:gd name="T10" fmla="*/ 52 w 293"/>
                <a:gd name="T11" fmla="*/ 136 h 165"/>
                <a:gd name="T12" fmla="*/ 147 w 293"/>
                <a:gd name="T13" fmla="*/ 165 h 165"/>
              </a:gdLst>
              <a:ahLst/>
              <a:cxnLst>
                <a:cxn ang="0">
                  <a:pos x="T0" y="T1"/>
                </a:cxn>
                <a:cxn ang="0">
                  <a:pos x="T2" y="T3"/>
                </a:cxn>
                <a:cxn ang="0">
                  <a:pos x="T4" y="T5"/>
                </a:cxn>
                <a:cxn ang="0">
                  <a:pos x="T6" y="T7"/>
                </a:cxn>
                <a:cxn ang="0">
                  <a:pos x="T8" y="T9"/>
                </a:cxn>
                <a:cxn ang="0">
                  <a:pos x="T10" y="T11"/>
                </a:cxn>
                <a:cxn ang="0">
                  <a:pos x="T12" y="T13"/>
                </a:cxn>
              </a:cxnLst>
              <a:rect l="0" t="0" r="r" b="b"/>
              <a:pathLst>
                <a:path w="293" h="165">
                  <a:moveTo>
                    <a:pt x="147" y="165"/>
                  </a:moveTo>
                  <a:cubicBezTo>
                    <a:pt x="173" y="147"/>
                    <a:pt x="206" y="136"/>
                    <a:pt x="241" y="136"/>
                  </a:cubicBezTo>
                  <a:cubicBezTo>
                    <a:pt x="259" y="136"/>
                    <a:pt x="276" y="140"/>
                    <a:pt x="293" y="145"/>
                  </a:cubicBezTo>
                  <a:cubicBezTo>
                    <a:pt x="292" y="65"/>
                    <a:pt x="227" y="0"/>
                    <a:pt x="146" y="0"/>
                  </a:cubicBezTo>
                  <a:cubicBezTo>
                    <a:pt x="66" y="0"/>
                    <a:pt x="1" y="65"/>
                    <a:pt x="0" y="145"/>
                  </a:cubicBezTo>
                  <a:cubicBezTo>
                    <a:pt x="17" y="140"/>
                    <a:pt x="34" y="136"/>
                    <a:pt x="52" y="136"/>
                  </a:cubicBezTo>
                  <a:cubicBezTo>
                    <a:pt x="87" y="136"/>
                    <a:pt x="120" y="147"/>
                    <a:pt x="147" y="16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31" name="Freeform 30"/>
            <p:cNvSpPr>
              <a:spLocks/>
            </p:cNvSpPr>
            <p:nvPr/>
          </p:nvSpPr>
          <p:spPr bwMode="auto">
            <a:xfrm>
              <a:off x="-1289050" y="3451226"/>
              <a:ext cx="476250" cy="439738"/>
            </a:xfrm>
            <a:custGeom>
              <a:avLst/>
              <a:gdLst>
                <a:gd name="T0" fmla="*/ 74 w 127"/>
                <a:gd name="T1" fmla="*/ 117 h 117"/>
                <a:gd name="T2" fmla="*/ 127 w 127"/>
                <a:gd name="T3" fmla="*/ 22 h 117"/>
                <a:gd name="T4" fmla="*/ 50 w 127"/>
                <a:gd name="T5" fmla="*/ 0 h 117"/>
                <a:gd name="T6" fmla="*/ 0 w 127"/>
                <a:gd name="T7" fmla="*/ 10 h 117"/>
                <a:gd name="T8" fmla="*/ 74 w 127"/>
                <a:gd name="T9" fmla="*/ 117 h 117"/>
              </a:gdLst>
              <a:ahLst/>
              <a:cxnLst>
                <a:cxn ang="0">
                  <a:pos x="T0" y="T1"/>
                </a:cxn>
                <a:cxn ang="0">
                  <a:pos x="T2" y="T3"/>
                </a:cxn>
                <a:cxn ang="0">
                  <a:pos x="T4" y="T5"/>
                </a:cxn>
                <a:cxn ang="0">
                  <a:pos x="T6" y="T7"/>
                </a:cxn>
                <a:cxn ang="0">
                  <a:pos x="T8" y="T9"/>
                </a:cxn>
              </a:cxnLst>
              <a:rect l="0" t="0" r="r" b="b"/>
              <a:pathLst>
                <a:path w="127" h="117">
                  <a:moveTo>
                    <a:pt x="74" y="117"/>
                  </a:moveTo>
                  <a:cubicBezTo>
                    <a:pt x="81" y="80"/>
                    <a:pt x="100" y="47"/>
                    <a:pt x="127" y="22"/>
                  </a:cubicBezTo>
                  <a:cubicBezTo>
                    <a:pt x="105" y="9"/>
                    <a:pt x="79" y="0"/>
                    <a:pt x="50" y="0"/>
                  </a:cubicBezTo>
                  <a:cubicBezTo>
                    <a:pt x="32" y="0"/>
                    <a:pt x="16" y="4"/>
                    <a:pt x="0" y="10"/>
                  </a:cubicBezTo>
                  <a:cubicBezTo>
                    <a:pt x="6" y="56"/>
                    <a:pt x="34" y="96"/>
                    <a:pt x="74" y="11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32" name="Freeform 31"/>
            <p:cNvSpPr>
              <a:spLocks/>
            </p:cNvSpPr>
            <p:nvPr/>
          </p:nvSpPr>
          <p:spPr bwMode="auto">
            <a:xfrm>
              <a:off x="-1649413" y="3522663"/>
              <a:ext cx="836613" cy="1030288"/>
            </a:xfrm>
            <a:custGeom>
              <a:avLst/>
              <a:gdLst>
                <a:gd name="T0" fmla="*/ 167 w 223"/>
                <a:gd name="T1" fmla="*/ 128 h 274"/>
                <a:gd name="T2" fmla="*/ 168 w 223"/>
                <a:gd name="T3" fmla="*/ 121 h 274"/>
                <a:gd name="T4" fmla="*/ 76 w 223"/>
                <a:gd name="T5" fmla="*/ 0 h 274"/>
                <a:gd name="T6" fmla="*/ 0 w 223"/>
                <a:gd name="T7" fmla="*/ 128 h 274"/>
                <a:gd name="T8" fmla="*/ 146 w 223"/>
                <a:gd name="T9" fmla="*/ 274 h 274"/>
                <a:gd name="T10" fmla="*/ 223 w 223"/>
                <a:gd name="T11" fmla="*/ 252 h 274"/>
                <a:gd name="T12" fmla="*/ 167 w 223"/>
                <a:gd name="T13" fmla="*/ 128 h 274"/>
              </a:gdLst>
              <a:ahLst/>
              <a:cxnLst>
                <a:cxn ang="0">
                  <a:pos x="T0" y="T1"/>
                </a:cxn>
                <a:cxn ang="0">
                  <a:pos x="T2" y="T3"/>
                </a:cxn>
                <a:cxn ang="0">
                  <a:pos x="T4" y="T5"/>
                </a:cxn>
                <a:cxn ang="0">
                  <a:pos x="T6" y="T7"/>
                </a:cxn>
                <a:cxn ang="0">
                  <a:pos x="T8" y="T9"/>
                </a:cxn>
                <a:cxn ang="0">
                  <a:pos x="T10" y="T11"/>
                </a:cxn>
                <a:cxn ang="0">
                  <a:pos x="T12" y="T13"/>
                </a:cxn>
              </a:cxnLst>
              <a:rect l="0" t="0" r="r" b="b"/>
              <a:pathLst>
                <a:path w="223" h="274">
                  <a:moveTo>
                    <a:pt x="167" y="128"/>
                  </a:moveTo>
                  <a:cubicBezTo>
                    <a:pt x="167" y="125"/>
                    <a:pt x="168" y="123"/>
                    <a:pt x="168" y="121"/>
                  </a:cubicBezTo>
                  <a:cubicBezTo>
                    <a:pt x="120" y="98"/>
                    <a:pt x="85" y="54"/>
                    <a:pt x="76" y="0"/>
                  </a:cubicBezTo>
                  <a:cubicBezTo>
                    <a:pt x="31" y="25"/>
                    <a:pt x="0" y="72"/>
                    <a:pt x="0" y="128"/>
                  </a:cubicBezTo>
                  <a:cubicBezTo>
                    <a:pt x="0" y="209"/>
                    <a:pt x="65" y="274"/>
                    <a:pt x="146" y="274"/>
                  </a:cubicBezTo>
                  <a:cubicBezTo>
                    <a:pt x="175" y="274"/>
                    <a:pt x="201" y="266"/>
                    <a:pt x="223" y="252"/>
                  </a:cubicBezTo>
                  <a:cubicBezTo>
                    <a:pt x="189" y="221"/>
                    <a:pt x="167" y="177"/>
                    <a:pt x="167" y="12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33" name="Freeform 32"/>
            <p:cNvSpPr>
              <a:spLocks/>
            </p:cNvSpPr>
            <p:nvPr/>
          </p:nvSpPr>
          <p:spPr bwMode="auto">
            <a:xfrm>
              <a:off x="-681038" y="3522663"/>
              <a:ext cx="836613" cy="1030288"/>
            </a:xfrm>
            <a:custGeom>
              <a:avLst/>
              <a:gdLst>
                <a:gd name="T0" fmla="*/ 55 w 223"/>
                <a:gd name="T1" fmla="*/ 121 h 274"/>
                <a:gd name="T2" fmla="*/ 56 w 223"/>
                <a:gd name="T3" fmla="*/ 128 h 274"/>
                <a:gd name="T4" fmla="*/ 0 w 223"/>
                <a:gd name="T5" fmla="*/ 252 h 274"/>
                <a:gd name="T6" fmla="*/ 77 w 223"/>
                <a:gd name="T7" fmla="*/ 274 h 274"/>
                <a:gd name="T8" fmla="*/ 223 w 223"/>
                <a:gd name="T9" fmla="*/ 128 h 274"/>
                <a:gd name="T10" fmla="*/ 147 w 223"/>
                <a:gd name="T11" fmla="*/ 0 h 274"/>
                <a:gd name="T12" fmla="*/ 55 w 223"/>
                <a:gd name="T13" fmla="*/ 121 h 274"/>
              </a:gdLst>
              <a:ahLst/>
              <a:cxnLst>
                <a:cxn ang="0">
                  <a:pos x="T0" y="T1"/>
                </a:cxn>
                <a:cxn ang="0">
                  <a:pos x="T2" y="T3"/>
                </a:cxn>
                <a:cxn ang="0">
                  <a:pos x="T4" y="T5"/>
                </a:cxn>
                <a:cxn ang="0">
                  <a:pos x="T6" y="T7"/>
                </a:cxn>
                <a:cxn ang="0">
                  <a:pos x="T8" y="T9"/>
                </a:cxn>
                <a:cxn ang="0">
                  <a:pos x="T10" y="T11"/>
                </a:cxn>
                <a:cxn ang="0">
                  <a:pos x="T12" y="T13"/>
                </a:cxn>
              </a:cxnLst>
              <a:rect l="0" t="0" r="r" b="b"/>
              <a:pathLst>
                <a:path w="223" h="274">
                  <a:moveTo>
                    <a:pt x="55" y="121"/>
                  </a:moveTo>
                  <a:cubicBezTo>
                    <a:pt x="55" y="123"/>
                    <a:pt x="56" y="125"/>
                    <a:pt x="56" y="128"/>
                  </a:cubicBezTo>
                  <a:cubicBezTo>
                    <a:pt x="56" y="177"/>
                    <a:pt x="34" y="221"/>
                    <a:pt x="0" y="252"/>
                  </a:cubicBezTo>
                  <a:cubicBezTo>
                    <a:pt x="22" y="266"/>
                    <a:pt x="48" y="274"/>
                    <a:pt x="77" y="274"/>
                  </a:cubicBezTo>
                  <a:cubicBezTo>
                    <a:pt x="158" y="274"/>
                    <a:pt x="223" y="209"/>
                    <a:pt x="223" y="128"/>
                  </a:cubicBezTo>
                  <a:cubicBezTo>
                    <a:pt x="223" y="72"/>
                    <a:pt x="192" y="25"/>
                    <a:pt x="147" y="0"/>
                  </a:cubicBezTo>
                  <a:cubicBezTo>
                    <a:pt x="138" y="54"/>
                    <a:pt x="103" y="98"/>
                    <a:pt x="55" y="1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34" name="Freeform 33"/>
            <p:cNvSpPr>
              <a:spLocks noEditPoints="1"/>
            </p:cNvSpPr>
            <p:nvPr/>
          </p:nvSpPr>
          <p:spPr bwMode="auto">
            <a:xfrm>
              <a:off x="-2538413" y="1627188"/>
              <a:ext cx="3602038" cy="3606800"/>
            </a:xfrm>
            <a:custGeom>
              <a:avLst/>
              <a:gdLst>
                <a:gd name="T0" fmla="*/ 480 w 960"/>
                <a:gd name="T1" fmla="*/ 0 h 959"/>
                <a:gd name="T2" fmla="*/ 0 w 960"/>
                <a:gd name="T3" fmla="*/ 479 h 959"/>
                <a:gd name="T4" fmla="*/ 480 w 960"/>
                <a:gd name="T5" fmla="*/ 959 h 959"/>
                <a:gd name="T6" fmla="*/ 960 w 960"/>
                <a:gd name="T7" fmla="*/ 479 h 959"/>
                <a:gd name="T8" fmla="*/ 480 w 960"/>
                <a:gd name="T9" fmla="*/ 0 h 959"/>
                <a:gd name="T10" fmla="*/ 572 w 960"/>
                <a:gd name="T11" fmla="*/ 799 h 959"/>
                <a:gd name="T12" fmla="*/ 478 w 960"/>
                <a:gd name="T13" fmla="*/ 770 h 959"/>
                <a:gd name="T14" fmla="*/ 383 w 960"/>
                <a:gd name="T15" fmla="*/ 799 h 959"/>
                <a:gd name="T16" fmla="*/ 216 w 960"/>
                <a:gd name="T17" fmla="*/ 632 h 959"/>
                <a:gd name="T18" fmla="*/ 311 w 960"/>
                <a:gd name="T19" fmla="*/ 481 h 959"/>
                <a:gd name="T20" fmla="*/ 310 w 960"/>
                <a:gd name="T21" fmla="*/ 475 h 959"/>
                <a:gd name="T22" fmla="*/ 477 w 960"/>
                <a:gd name="T23" fmla="*/ 307 h 959"/>
                <a:gd name="T24" fmla="*/ 645 w 960"/>
                <a:gd name="T25" fmla="*/ 475 h 959"/>
                <a:gd name="T26" fmla="*/ 644 w 960"/>
                <a:gd name="T27" fmla="*/ 481 h 959"/>
                <a:gd name="T28" fmla="*/ 739 w 960"/>
                <a:gd name="T29" fmla="*/ 632 h 959"/>
                <a:gd name="T30" fmla="*/ 572 w 960"/>
                <a:gd name="T31" fmla="*/ 799 h 959"/>
                <a:gd name="T32" fmla="*/ 789 w 960"/>
                <a:gd name="T33" fmla="*/ 721 h 959"/>
                <a:gd name="T34" fmla="*/ 477 w 960"/>
                <a:gd name="T35" fmla="*/ 197 h 959"/>
                <a:gd name="T36" fmla="*/ 166 w 960"/>
                <a:gd name="T37" fmla="*/ 721 h 959"/>
                <a:gd name="T38" fmla="*/ 152 w 960"/>
                <a:gd name="T39" fmla="*/ 721 h 959"/>
                <a:gd name="T40" fmla="*/ 477 w 960"/>
                <a:gd name="T41" fmla="*/ 82 h 959"/>
                <a:gd name="T42" fmla="*/ 803 w 960"/>
                <a:gd name="T43" fmla="*/ 721 h 959"/>
                <a:gd name="T44" fmla="*/ 789 w 960"/>
                <a:gd name="T45" fmla="*/ 721 h 9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0" h="959">
                  <a:moveTo>
                    <a:pt x="480" y="0"/>
                  </a:moveTo>
                  <a:cubicBezTo>
                    <a:pt x="215" y="0"/>
                    <a:pt x="0" y="215"/>
                    <a:pt x="0" y="479"/>
                  </a:cubicBezTo>
                  <a:cubicBezTo>
                    <a:pt x="0" y="744"/>
                    <a:pt x="215" y="959"/>
                    <a:pt x="480" y="959"/>
                  </a:cubicBezTo>
                  <a:cubicBezTo>
                    <a:pt x="745" y="959"/>
                    <a:pt x="960" y="744"/>
                    <a:pt x="960" y="479"/>
                  </a:cubicBezTo>
                  <a:cubicBezTo>
                    <a:pt x="960" y="215"/>
                    <a:pt x="745" y="0"/>
                    <a:pt x="480" y="0"/>
                  </a:cubicBezTo>
                  <a:close/>
                  <a:moveTo>
                    <a:pt x="572" y="799"/>
                  </a:moveTo>
                  <a:cubicBezTo>
                    <a:pt x="537" y="799"/>
                    <a:pt x="504" y="789"/>
                    <a:pt x="478" y="770"/>
                  </a:cubicBezTo>
                  <a:cubicBezTo>
                    <a:pt x="451" y="789"/>
                    <a:pt x="418" y="799"/>
                    <a:pt x="383" y="799"/>
                  </a:cubicBezTo>
                  <a:cubicBezTo>
                    <a:pt x="291" y="799"/>
                    <a:pt x="216" y="724"/>
                    <a:pt x="216" y="632"/>
                  </a:cubicBezTo>
                  <a:cubicBezTo>
                    <a:pt x="216" y="565"/>
                    <a:pt x="255" y="509"/>
                    <a:pt x="311" y="481"/>
                  </a:cubicBezTo>
                  <a:cubicBezTo>
                    <a:pt x="311" y="479"/>
                    <a:pt x="310" y="477"/>
                    <a:pt x="310" y="475"/>
                  </a:cubicBezTo>
                  <a:cubicBezTo>
                    <a:pt x="310" y="382"/>
                    <a:pt x="385" y="307"/>
                    <a:pt x="477" y="307"/>
                  </a:cubicBezTo>
                  <a:cubicBezTo>
                    <a:pt x="570" y="307"/>
                    <a:pt x="645" y="382"/>
                    <a:pt x="645" y="475"/>
                  </a:cubicBezTo>
                  <a:cubicBezTo>
                    <a:pt x="645" y="477"/>
                    <a:pt x="644" y="479"/>
                    <a:pt x="644" y="481"/>
                  </a:cubicBezTo>
                  <a:cubicBezTo>
                    <a:pt x="700" y="509"/>
                    <a:pt x="739" y="565"/>
                    <a:pt x="739" y="632"/>
                  </a:cubicBezTo>
                  <a:cubicBezTo>
                    <a:pt x="739" y="724"/>
                    <a:pt x="664" y="799"/>
                    <a:pt x="572" y="799"/>
                  </a:cubicBezTo>
                  <a:close/>
                  <a:moveTo>
                    <a:pt x="789" y="721"/>
                  </a:moveTo>
                  <a:cubicBezTo>
                    <a:pt x="717" y="402"/>
                    <a:pt x="604" y="197"/>
                    <a:pt x="477" y="197"/>
                  </a:cubicBezTo>
                  <a:cubicBezTo>
                    <a:pt x="351" y="197"/>
                    <a:pt x="238" y="402"/>
                    <a:pt x="166" y="721"/>
                  </a:cubicBezTo>
                  <a:cubicBezTo>
                    <a:pt x="161" y="721"/>
                    <a:pt x="157" y="721"/>
                    <a:pt x="152" y="721"/>
                  </a:cubicBezTo>
                  <a:cubicBezTo>
                    <a:pt x="219" y="338"/>
                    <a:pt x="340" y="82"/>
                    <a:pt x="477" y="82"/>
                  </a:cubicBezTo>
                  <a:cubicBezTo>
                    <a:pt x="615" y="82"/>
                    <a:pt x="736" y="338"/>
                    <a:pt x="803" y="721"/>
                  </a:cubicBezTo>
                  <a:cubicBezTo>
                    <a:pt x="798" y="721"/>
                    <a:pt x="793" y="721"/>
                    <a:pt x="789" y="72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sp>
          <p:nvSpPr>
            <p:cNvPr id="35" name="Freeform 34"/>
            <p:cNvSpPr>
              <a:spLocks/>
            </p:cNvSpPr>
            <p:nvPr/>
          </p:nvSpPr>
          <p:spPr bwMode="auto">
            <a:xfrm>
              <a:off x="-936625" y="3582988"/>
              <a:ext cx="379413" cy="379413"/>
            </a:xfrm>
            <a:custGeom>
              <a:avLst/>
              <a:gdLst>
                <a:gd name="T0" fmla="*/ 0 w 101"/>
                <a:gd name="T1" fmla="*/ 92 h 101"/>
                <a:gd name="T2" fmla="*/ 50 w 101"/>
                <a:gd name="T3" fmla="*/ 101 h 101"/>
                <a:gd name="T4" fmla="*/ 101 w 101"/>
                <a:gd name="T5" fmla="*/ 92 h 101"/>
                <a:gd name="T6" fmla="*/ 51 w 101"/>
                <a:gd name="T7" fmla="*/ 0 h 101"/>
                <a:gd name="T8" fmla="*/ 0 w 101"/>
                <a:gd name="T9" fmla="*/ 92 h 101"/>
              </a:gdLst>
              <a:ahLst/>
              <a:cxnLst>
                <a:cxn ang="0">
                  <a:pos x="T0" y="T1"/>
                </a:cxn>
                <a:cxn ang="0">
                  <a:pos x="T2" y="T3"/>
                </a:cxn>
                <a:cxn ang="0">
                  <a:pos x="T4" y="T5"/>
                </a:cxn>
                <a:cxn ang="0">
                  <a:pos x="T6" y="T7"/>
                </a:cxn>
                <a:cxn ang="0">
                  <a:pos x="T8" y="T9"/>
                </a:cxn>
              </a:cxnLst>
              <a:rect l="0" t="0" r="r" b="b"/>
              <a:pathLst>
                <a:path w="101" h="101">
                  <a:moveTo>
                    <a:pt x="0" y="92"/>
                  </a:moveTo>
                  <a:cubicBezTo>
                    <a:pt x="16" y="98"/>
                    <a:pt x="33" y="101"/>
                    <a:pt x="50" y="101"/>
                  </a:cubicBezTo>
                  <a:cubicBezTo>
                    <a:pt x="68" y="101"/>
                    <a:pt x="85" y="98"/>
                    <a:pt x="101" y="92"/>
                  </a:cubicBezTo>
                  <a:cubicBezTo>
                    <a:pt x="96" y="55"/>
                    <a:pt x="77" y="23"/>
                    <a:pt x="51" y="0"/>
                  </a:cubicBezTo>
                  <a:cubicBezTo>
                    <a:pt x="24" y="23"/>
                    <a:pt x="5" y="55"/>
                    <a:pt x="0" y="9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80" tIns="43940" rIns="87880" bIns="43940" numCol="1" anchor="t" anchorCtr="0" compatLnSpc="1">
              <a:prstTxWarp prst="textNoShape">
                <a:avLst/>
              </a:prstTxWarp>
            </a:bodyPr>
            <a:lstStyle/>
            <a:p>
              <a:pPr defTabSz="895509" fontAlgn="base">
                <a:spcBef>
                  <a:spcPct val="0"/>
                </a:spcBef>
                <a:spcAft>
                  <a:spcPct val="0"/>
                </a:spcAft>
              </a:pPr>
              <a:endParaRPr lang="en-US" sz="1730">
                <a:solidFill>
                  <a:srgbClr val="505050"/>
                </a:solidFill>
                <a:ea typeface="ＭＳ Ｐゴシック" charset="0"/>
              </a:endParaRPr>
            </a:p>
          </p:txBody>
        </p:sp>
      </p:grpSp>
      <p:sp>
        <p:nvSpPr>
          <p:cNvPr id="39" name="Rectangle 38"/>
          <p:cNvSpPr/>
          <p:nvPr/>
        </p:nvSpPr>
        <p:spPr bwMode="auto">
          <a:xfrm rot="16200000">
            <a:off x="51597" y="2073515"/>
            <a:ext cx="4751029" cy="4751029"/>
          </a:xfrm>
          <a:prstGeom prst="rect">
            <a:avLst/>
          </a:prstGeom>
          <a:gradFill>
            <a:gsLst>
              <a:gs pos="0">
                <a:srgbClr val="000000">
                  <a:alpha val="67000"/>
                </a:srgbClr>
              </a:gs>
              <a:gs pos="50000">
                <a:srgbClr val="000000">
                  <a:alpha val="0"/>
                </a:srgbClr>
              </a:gs>
            </a:gsLst>
            <a:lin ang="27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02242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normAutofit fontScale="90000"/>
          </a:bodyPr>
          <a:lstStyle/>
          <a:p>
            <a:r>
              <a:rPr lang="en-US" dirty="0" smtClean="0"/>
              <a:t>Bringing the Internet of Things to life</a:t>
            </a:r>
            <a:br>
              <a:rPr lang="en-US" dirty="0" smtClean="0"/>
            </a:br>
            <a:endParaRPr lang="en-IN" sz="2941" dirty="0"/>
          </a:p>
        </p:txBody>
      </p:sp>
      <p:sp>
        <p:nvSpPr>
          <p:cNvPr id="37" name="TextBox 36"/>
          <p:cNvSpPr txBox="1"/>
          <p:nvPr/>
        </p:nvSpPr>
        <p:spPr>
          <a:xfrm>
            <a:off x="8663697" y="2203043"/>
            <a:ext cx="2865323" cy="512935"/>
          </a:xfrm>
          <a:prstGeom prst="rect">
            <a:avLst/>
          </a:prstGeom>
          <a:noFill/>
        </p:spPr>
        <p:txBody>
          <a:bodyPr wrap="square" rtlCol="0">
            <a:spAutoFit/>
          </a:bodyPr>
          <a:lstStyle/>
          <a:p>
            <a:pPr defTabSz="895862">
              <a:spcAft>
                <a:spcPts val="576"/>
              </a:spcAft>
            </a:pPr>
            <a:r>
              <a:rPr lang="en-US" sz="2745" dirty="0">
                <a:solidFill>
                  <a:srgbClr val="505050"/>
                </a:solidFill>
                <a:latin typeface="Segoe UI Light"/>
              </a:rPr>
              <a:t>Enable innovation</a:t>
            </a:r>
          </a:p>
        </p:txBody>
      </p:sp>
      <p:sp>
        <p:nvSpPr>
          <p:cNvPr id="38" name="TextBox 37"/>
          <p:cNvSpPr txBox="1"/>
          <p:nvPr/>
        </p:nvSpPr>
        <p:spPr>
          <a:xfrm>
            <a:off x="345479" y="2090990"/>
            <a:ext cx="2957022" cy="512935"/>
          </a:xfrm>
          <a:prstGeom prst="rect">
            <a:avLst/>
          </a:prstGeom>
          <a:noFill/>
        </p:spPr>
        <p:txBody>
          <a:bodyPr wrap="square" rtlCol="0">
            <a:spAutoFit/>
          </a:bodyPr>
          <a:lstStyle/>
          <a:p>
            <a:pPr defTabSz="895862">
              <a:spcAft>
                <a:spcPts val="576"/>
              </a:spcAft>
            </a:pPr>
            <a:r>
              <a:rPr lang="en-US" sz="2745" dirty="0">
                <a:solidFill>
                  <a:srgbClr val="505050"/>
                </a:solidFill>
                <a:latin typeface="Segoe UI Light"/>
              </a:rPr>
              <a:t>Improve efficiency</a:t>
            </a:r>
          </a:p>
        </p:txBody>
      </p:sp>
      <p:sp>
        <p:nvSpPr>
          <p:cNvPr id="39" name="TextBox 38"/>
          <p:cNvSpPr txBox="1"/>
          <p:nvPr/>
        </p:nvSpPr>
        <p:spPr>
          <a:xfrm>
            <a:off x="7798474" y="5453662"/>
            <a:ext cx="4051058" cy="512935"/>
          </a:xfrm>
          <a:prstGeom prst="rect">
            <a:avLst/>
          </a:prstGeom>
          <a:noFill/>
        </p:spPr>
        <p:txBody>
          <a:bodyPr wrap="square" rtlCol="0">
            <a:spAutoFit/>
          </a:bodyPr>
          <a:lstStyle/>
          <a:p>
            <a:pPr defTabSz="895862">
              <a:spcAft>
                <a:spcPts val="576"/>
              </a:spcAft>
            </a:pPr>
            <a:r>
              <a:rPr lang="en-US" sz="2745" dirty="0">
                <a:solidFill>
                  <a:srgbClr val="505050"/>
                </a:solidFill>
                <a:latin typeface="Segoe UI Light"/>
              </a:rPr>
              <a:t>Transform your business</a:t>
            </a:r>
          </a:p>
        </p:txBody>
      </p:sp>
      <p:sp>
        <p:nvSpPr>
          <p:cNvPr id="40" name="Oval 39"/>
          <p:cNvSpPr/>
          <p:nvPr/>
        </p:nvSpPr>
        <p:spPr>
          <a:xfrm>
            <a:off x="3223990" y="1219726"/>
            <a:ext cx="5153307" cy="5153307"/>
          </a:xfrm>
          <a:prstGeom prst="ellipse">
            <a:avLst/>
          </a:prstGeom>
          <a:solidFill>
            <a:sysClr val="window" lastClr="FFFFFF"/>
          </a:solidFill>
          <a:ln w="9525" cap="flat" cmpd="sng" algn="ctr">
            <a:noFill/>
            <a:prstDash val="solid"/>
          </a:ln>
          <a:effectLst/>
        </p:spPr>
        <p:txBody>
          <a:bodyPr rtlCol="0" anchor="ctr"/>
          <a:lstStyle/>
          <a:p>
            <a:pPr algn="ctr" defTabSz="914314">
              <a:defRPr/>
            </a:pPr>
            <a:endParaRPr lang="en-US" kern="0">
              <a:solidFill>
                <a:prstClr val="white"/>
              </a:solidFill>
            </a:endParaRPr>
          </a:p>
        </p:txBody>
      </p:sp>
      <p:sp>
        <p:nvSpPr>
          <p:cNvPr id="41" name="Isosceles Triangle 60"/>
          <p:cNvSpPr/>
          <p:nvPr/>
        </p:nvSpPr>
        <p:spPr bwMode="auto">
          <a:xfrm rot="16200000">
            <a:off x="4860664" y="2973462"/>
            <a:ext cx="1897484" cy="1680157"/>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accent5"/>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b="1" kern="0" dirty="0">
              <a:solidFill>
                <a:prstClr val="white"/>
              </a:solidFill>
              <a:latin typeface="Segoe UI Light"/>
              <a:ea typeface="Segoe UI" pitchFamily="34" charset="0"/>
              <a:cs typeface="Segoe UI" pitchFamily="34" charset="0"/>
            </a:endParaRPr>
          </a:p>
        </p:txBody>
      </p:sp>
      <p:sp>
        <p:nvSpPr>
          <p:cNvPr id="42" name="TextBox 41"/>
          <p:cNvSpPr txBox="1"/>
          <p:nvPr/>
        </p:nvSpPr>
        <p:spPr>
          <a:xfrm>
            <a:off x="4768454" y="3598320"/>
            <a:ext cx="2081912" cy="413791"/>
          </a:xfrm>
          <a:prstGeom prst="rect">
            <a:avLst/>
          </a:prstGeom>
          <a:noFill/>
        </p:spPr>
        <p:txBody>
          <a:bodyPr lIns="179285" tIns="143428" rIns="179285" bIns="143428" anchor="ctr"/>
          <a:lstStyle/>
          <a:p>
            <a:pPr algn="ctr" defTabSz="914314">
              <a:lnSpc>
                <a:spcPct val="90000"/>
              </a:lnSpc>
              <a:defRPr/>
            </a:pPr>
            <a:r>
              <a:rPr lang="en-US" sz="2745" dirty="0">
                <a:solidFill>
                  <a:srgbClr val="002050"/>
                </a:solidFill>
                <a:latin typeface="Segoe UI Light"/>
                <a:ea typeface="MS PGothic" panose="020B0600070205080204" pitchFamily="34" charset="-128"/>
              </a:rPr>
              <a:t>Things</a:t>
            </a:r>
          </a:p>
        </p:txBody>
      </p:sp>
      <p:sp>
        <p:nvSpPr>
          <p:cNvPr id="43" name="Freeform 42"/>
          <p:cNvSpPr/>
          <p:nvPr/>
        </p:nvSpPr>
        <p:spPr bwMode="auto">
          <a:xfrm>
            <a:off x="3589981" y="1370955"/>
            <a:ext cx="4656606" cy="343791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50" name="Freeform 61"/>
          <p:cNvSpPr>
            <a:spLocks noChangeAspect="1"/>
          </p:cNvSpPr>
          <p:nvPr/>
        </p:nvSpPr>
        <p:spPr bwMode="auto">
          <a:xfrm>
            <a:off x="6921591" y="2605548"/>
            <a:ext cx="876884" cy="575109"/>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ysClr val="window" lastClr="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82">
              <a:defRPr/>
            </a:pPr>
            <a:endParaRPr lang="en-US" sz="1730" kern="0">
              <a:solidFill>
                <a:prstClr val="black"/>
              </a:solidFill>
            </a:endParaRPr>
          </a:p>
        </p:txBody>
      </p:sp>
      <p:grpSp>
        <p:nvGrpSpPr>
          <p:cNvPr id="51" name="Group 50"/>
          <p:cNvGrpSpPr/>
          <p:nvPr/>
        </p:nvGrpSpPr>
        <p:grpSpPr>
          <a:xfrm>
            <a:off x="3876379" y="2475432"/>
            <a:ext cx="940819" cy="778733"/>
            <a:chOff x="12890500" y="-3265488"/>
            <a:chExt cx="3722688" cy="3081338"/>
          </a:xfrm>
          <a:solidFill>
            <a:sysClr val="window" lastClr="FFFFFF"/>
          </a:solidFill>
        </p:grpSpPr>
        <p:sp>
          <p:nvSpPr>
            <p:cNvPr id="52"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prstClr val="black"/>
                </a:solidFill>
              </a:endParaRPr>
            </a:p>
          </p:txBody>
        </p:sp>
        <p:sp>
          <p:nvSpPr>
            <p:cNvPr id="53"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prstClr val="black"/>
                </a:solidFill>
              </a:endParaRPr>
            </a:p>
          </p:txBody>
        </p:sp>
      </p:grpSp>
      <p:sp>
        <p:nvSpPr>
          <p:cNvPr id="79" name="Freeform 78"/>
          <p:cNvSpPr/>
          <p:nvPr/>
        </p:nvSpPr>
        <p:spPr bwMode="auto">
          <a:xfrm>
            <a:off x="3321758" y="1369104"/>
            <a:ext cx="2378045" cy="343791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80" name="Group 79"/>
          <p:cNvGrpSpPr/>
          <p:nvPr/>
        </p:nvGrpSpPr>
        <p:grpSpPr>
          <a:xfrm>
            <a:off x="3825908" y="2473580"/>
            <a:ext cx="940819" cy="778733"/>
            <a:chOff x="12890500" y="-3265488"/>
            <a:chExt cx="3722688" cy="3081338"/>
          </a:xfrm>
          <a:solidFill>
            <a:sysClr val="window" lastClr="FFFFFF"/>
          </a:solidFill>
        </p:grpSpPr>
        <p:sp>
          <p:nvSpPr>
            <p:cNvPr id="81"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prstClr val="black"/>
                </a:solidFill>
              </a:endParaRPr>
            </a:p>
          </p:txBody>
        </p:sp>
        <p:sp>
          <p:nvSpPr>
            <p:cNvPr id="82"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defRPr/>
              </a:pPr>
              <a:endParaRPr lang="en-US" kern="0">
                <a:solidFill>
                  <a:prstClr val="black"/>
                </a:solidFill>
              </a:endParaRPr>
            </a:p>
          </p:txBody>
        </p:sp>
      </p:grpSp>
      <p:sp>
        <p:nvSpPr>
          <p:cNvPr id="83" name="Freeform 82"/>
          <p:cNvSpPr/>
          <p:nvPr/>
        </p:nvSpPr>
        <p:spPr bwMode="auto">
          <a:xfrm>
            <a:off x="3564408" y="4210757"/>
            <a:ext cx="4438861" cy="2052739"/>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rgbClr val="D83B00"/>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3" name="Group 92"/>
          <p:cNvGrpSpPr/>
          <p:nvPr/>
        </p:nvGrpSpPr>
        <p:grpSpPr>
          <a:xfrm>
            <a:off x="5331563" y="5192055"/>
            <a:ext cx="705405" cy="709421"/>
            <a:chOff x="5438471" y="5295670"/>
            <a:chExt cx="719550" cy="723646"/>
          </a:xfrm>
        </p:grpSpPr>
        <p:sp>
          <p:nvSpPr>
            <p:cNvPr id="94" name="Rectangle 93"/>
            <p:cNvSpPr/>
            <p:nvPr/>
          </p:nvSpPr>
          <p:spPr bwMode="auto">
            <a:xfrm>
              <a:off x="5481382" y="5684829"/>
              <a:ext cx="124395" cy="334485"/>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5" name="Rectangle 94"/>
            <p:cNvSpPr/>
            <p:nvPr/>
          </p:nvSpPr>
          <p:spPr bwMode="auto">
            <a:xfrm>
              <a:off x="5665464" y="5550057"/>
              <a:ext cx="124395" cy="469255"/>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6" name="Rectangle 95"/>
            <p:cNvSpPr/>
            <p:nvPr/>
          </p:nvSpPr>
          <p:spPr bwMode="auto">
            <a:xfrm>
              <a:off x="5849546" y="5440097"/>
              <a:ext cx="124395" cy="579219"/>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7" name="Rectangle 96"/>
            <p:cNvSpPr/>
            <p:nvPr/>
          </p:nvSpPr>
          <p:spPr bwMode="auto">
            <a:xfrm>
              <a:off x="6033626" y="5295670"/>
              <a:ext cx="124395" cy="723646"/>
            </a:xfrm>
            <a:prstGeom prst="rect">
              <a:avLst/>
            </a:prstGeom>
            <a:solidFill>
              <a:sysClr val="window" lastClr="FFFFFF"/>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defRPr/>
              </a:pPr>
              <a:endParaRPr lang="en-US" sz="2353" kern="0" dirty="0" err="1">
                <a:gradFill>
                  <a:gsLst>
                    <a:gs pos="0">
                      <a:srgbClr val="FFFFFF"/>
                    </a:gs>
                    <a:gs pos="100000">
                      <a:srgbClr val="FFFFFF"/>
                    </a:gs>
                  </a:gsLst>
                  <a:lin ang="5400000" scaled="0"/>
                </a:gradFill>
                <a:ea typeface="Segoe UI" pitchFamily="34" charset="0"/>
                <a:cs typeface="Segoe UI" pitchFamily="34" charset="0"/>
              </a:endParaRPr>
            </a:p>
          </p:txBody>
        </p:sp>
        <p:sp>
          <p:nvSpPr>
            <p:cNvPr id="98" name="icon BULB"/>
            <p:cNvSpPr>
              <a:spLocks noChangeAspect="1" noEditPoints="1"/>
            </p:cNvSpPr>
            <p:nvPr/>
          </p:nvSpPr>
          <p:spPr bwMode="auto">
            <a:xfrm>
              <a:off x="5438471" y="5303311"/>
              <a:ext cx="196197" cy="313913"/>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ysClr val="window" lastClr="FFFFFF"/>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47">
                <a:defRPr/>
              </a:pPr>
              <a:endParaRPr lang="en-US" sz="1730">
                <a:solidFill>
                  <a:srgbClr val="000000"/>
                </a:solidFill>
              </a:endParaRPr>
            </a:p>
          </p:txBody>
        </p:sp>
      </p:grpSp>
    </p:spTree>
    <p:extLst>
      <p:ext uri="{BB962C8B-B14F-4D97-AF65-F5344CB8AC3E}">
        <p14:creationId xmlns:p14="http://schemas.microsoft.com/office/powerpoint/2010/main" val="242760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0"/>
                                  </p:stCondLst>
                                  <p:childTnLst>
                                    <p:set>
                                      <p:cBhvr>
                                        <p:cTn id="9" dur="1" fill="hold">
                                          <p:stCondLst>
                                            <p:cond delay="0"/>
                                          </p:stCondLst>
                                        </p:cTn>
                                        <p:tgtEl>
                                          <p:spTgt spid="80"/>
                                        </p:tgtEl>
                                        <p:attrNameLst>
                                          <p:attrName>style.visibility</p:attrName>
                                        </p:attrNameLst>
                                      </p:cBhvr>
                                      <p:to>
                                        <p:strVal val="visible"/>
                                      </p:to>
                                    </p:set>
                                    <p:animEffect transition="in" filter="fade">
                                      <p:cBhvr>
                                        <p:cTn id="10" dur="500"/>
                                        <p:tgtEl>
                                          <p:spTgt spid="80"/>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9"/>
                                        </p:tgtEl>
                                        <p:attrNameLst>
                                          <p:attrName>style.visibility</p:attrName>
                                        </p:attrNameLst>
                                      </p:cBhvr>
                                      <p:to>
                                        <p:strVal val="visible"/>
                                      </p:to>
                                    </p:set>
                                    <p:animEffect transition="in" filter="fade">
                                      <p:cBhvr>
                                        <p:cTn id="13" dur="500"/>
                                        <p:tgtEl>
                                          <p:spTgt spid="79"/>
                                        </p:tgtEl>
                                      </p:cBhvr>
                                    </p:animEffect>
                                  </p:childTnLst>
                                </p:cTn>
                              </p:par>
                            </p:childTnLst>
                          </p:cTn>
                        </p:par>
                        <p:par>
                          <p:cTn id="14" fill="hold">
                            <p:stCondLst>
                              <p:cond delay="500"/>
                            </p:stCondLst>
                            <p:childTnLst>
                              <p:par>
                                <p:cTn id="15" presetID="10" presetClass="entr" presetSubtype="0" fill="hold" grpId="0" nodeType="afterEffect">
                                  <p:stCondLst>
                                    <p:cond delay="0"/>
                                  </p:stCondLst>
                                  <p:childTnLst>
                                    <p:set>
                                      <p:cBhvr>
                                        <p:cTn id="16" dur="1" fill="hold">
                                          <p:stCondLst>
                                            <p:cond delay="0"/>
                                          </p:stCondLst>
                                        </p:cTn>
                                        <p:tgtEl>
                                          <p:spTgt spid="43"/>
                                        </p:tgtEl>
                                        <p:attrNameLst>
                                          <p:attrName>style.visibility</p:attrName>
                                        </p:attrNameLst>
                                      </p:cBhvr>
                                      <p:to>
                                        <p:strVal val="visible"/>
                                      </p:to>
                                    </p:set>
                                    <p:animEffect transition="in" filter="fade">
                                      <p:cBhvr>
                                        <p:cTn id="17" dur="500"/>
                                        <p:tgtEl>
                                          <p:spTgt spid="43"/>
                                        </p:tgtEl>
                                      </p:cBhvr>
                                    </p:animEffect>
                                  </p:childTnLst>
                                </p:cTn>
                              </p:par>
                              <p:par>
                                <p:cTn id="18" presetID="10" presetClass="entr" presetSubtype="0" fill="hold" grpId="0" nodeType="withEffect">
                                  <p:stCondLst>
                                    <p:cond delay="0"/>
                                  </p:stCondLst>
                                  <p:childTnLst>
                                    <p:set>
                                      <p:cBhvr>
                                        <p:cTn id="19" dur="1" fill="hold">
                                          <p:stCondLst>
                                            <p:cond delay="0"/>
                                          </p:stCondLst>
                                        </p:cTn>
                                        <p:tgtEl>
                                          <p:spTgt spid="50"/>
                                        </p:tgtEl>
                                        <p:attrNameLst>
                                          <p:attrName>style.visibility</p:attrName>
                                        </p:attrNameLst>
                                      </p:cBhvr>
                                      <p:to>
                                        <p:strVal val="visible"/>
                                      </p:to>
                                    </p:set>
                                    <p:animEffect transition="in" filter="fade">
                                      <p:cBhvr>
                                        <p:cTn id="20" dur="500"/>
                                        <p:tgtEl>
                                          <p:spTgt spid="50"/>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37"/>
                                        </p:tgtEl>
                                        <p:attrNameLst>
                                          <p:attrName>style.visibility</p:attrName>
                                        </p:attrNameLst>
                                      </p:cBhvr>
                                      <p:to>
                                        <p:strVal val="visible"/>
                                      </p:to>
                                    </p:set>
                                    <p:animEffect transition="in" filter="fade">
                                      <p:cBhvr>
                                        <p:cTn id="23" dur="500"/>
                                        <p:tgtEl>
                                          <p:spTgt spid="37"/>
                                        </p:tgtEl>
                                      </p:cBhvr>
                                    </p:animEffect>
                                  </p:childTnLst>
                                </p:cTn>
                              </p:par>
                            </p:childTnLst>
                          </p:cTn>
                        </p:par>
                        <p:par>
                          <p:cTn id="24" fill="hold">
                            <p:stCondLst>
                              <p:cond delay="1000"/>
                            </p:stCondLst>
                            <p:childTnLst>
                              <p:par>
                                <p:cTn id="25" presetID="10" presetClass="entr" presetSubtype="0" fill="hold" grpId="0" nodeType="after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fade">
                                      <p:cBhvr>
                                        <p:cTn id="27" dur="500"/>
                                        <p:tgtEl>
                                          <p:spTgt spid="39"/>
                                        </p:tgtEl>
                                      </p:cBhvr>
                                    </p:animEffect>
                                  </p:childTnLst>
                                </p:cTn>
                              </p:par>
                              <p:par>
                                <p:cTn id="28" presetID="10" presetClass="entr" presetSubtype="0" fill="hold" nodeType="withEffect">
                                  <p:stCondLst>
                                    <p:cond delay="0"/>
                                  </p:stCondLst>
                                  <p:childTnLst>
                                    <p:set>
                                      <p:cBhvr>
                                        <p:cTn id="29" dur="1" fill="hold">
                                          <p:stCondLst>
                                            <p:cond delay="0"/>
                                          </p:stCondLst>
                                        </p:cTn>
                                        <p:tgtEl>
                                          <p:spTgt spid="93"/>
                                        </p:tgtEl>
                                        <p:attrNameLst>
                                          <p:attrName>style.visibility</p:attrName>
                                        </p:attrNameLst>
                                      </p:cBhvr>
                                      <p:to>
                                        <p:strVal val="visible"/>
                                      </p:to>
                                    </p:set>
                                    <p:animEffect transition="in" filter="fade">
                                      <p:cBhvr>
                                        <p:cTn id="30" dur="500"/>
                                        <p:tgtEl>
                                          <p:spTgt spid="93"/>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83"/>
                                        </p:tgtEl>
                                        <p:attrNameLst>
                                          <p:attrName>style.visibility</p:attrName>
                                        </p:attrNameLst>
                                      </p:cBhvr>
                                      <p:to>
                                        <p:strVal val="visible"/>
                                      </p:to>
                                    </p:set>
                                    <p:animEffect transition="in" filter="fade">
                                      <p:cBhvr>
                                        <p:cTn id="33" dur="500"/>
                                        <p:tgtEl>
                                          <p:spTgt spid="83"/>
                                        </p:tgtEl>
                                      </p:cBhvr>
                                    </p:animEffect>
                                  </p:childTnLst>
                                </p:cTn>
                              </p:par>
                            </p:childTnLst>
                          </p:cTn>
                        </p:par>
                        <p:par>
                          <p:cTn id="34" fill="hold">
                            <p:stCondLst>
                              <p:cond delay="1500"/>
                            </p:stCondLst>
                            <p:childTnLst>
                              <p:par>
                                <p:cTn id="35" presetID="10" presetClass="entr" presetSubtype="0" fill="hold" grpId="1" nodeType="afterEffect">
                                  <p:stCondLst>
                                    <p:cond delay="0"/>
                                  </p:stCondLst>
                                  <p:childTnLst>
                                    <p:set>
                                      <p:cBhvr>
                                        <p:cTn id="36" dur="1" fill="hold">
                                          <p:stCondLst>
                                            <p:cond delay="0"/>
                                          </p:stCondLst>
                                        </p:cTn>
                                        <p:tgtEl>
                                          <p:spTgt spid="41"/>
                                        </p:tgtEl>
                                        <p:attrNameLst>
                                          <p:attrName>style.visibility</p:attrName>
                                        </p:attrNameLst>
                                      </p:cBhvr>
                                      <p:to>
                                        <p:strVal val="visible"/>
                                      </p:to>
                                    </p:set>
                                    <p:animEffect transition="in" filter="fade">
                                      <p:cBhvr>
                                        <p:cTn id="37" dur="1000"/>
                                        <p:tgtEl>
                                          <p:spTgt spid="41"/>
                                        </p:tgtEl>
                                      </p:cBhvr>
                                    </p:animEffect>
                                  </p:childTnLst>
                                </p:cTn>
                              </p:par>
                              <p:par>
                                <p:cTn id="38" presetID="8" presetClass="emph" presetSubtype="0" decel="100000" fill="hold" grpId="0" nodeType="withEffect">
                                  <p:stCondLst>
                                    <p:cond delay="0"/>
                                  </p:stCondLst>
                                  <p:childTnLst>
                                    <p:animRot by="21600000">
                                      <p:cBhvr>
                                        <p:cTn id="39" dur="1000" fill="hold"/>
                                        <p:tgtEl>
                                          <p:spTgt spid="41"/>
                                        </p:tgtEl>
                                        <p:attrNameLst>
                                          <p:attrName>r</p:attrName>
                                        </p:attrNameLst>
                                      </p:cBhvr>
                                    </p:animRot>
                                  </p:childTnLst>
                                </p:cTn>
                              </p:par>
                              <p:par>
                                <p:cTn id="40" presetID="10" presetClass="entr" presetSubtype="0" fill="hold" grpId="0" nodeType="with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8" grpId="0"/>
      <p:bldP spid="39" grpId="0"/>
      <p:bldP spid="41" grpId="0" animBg="1"/>
      <p:bldP spid="41" grpId="1" animBg="1"/>
      <p:bldP spid="42" grpId="0"/>
      <p:bldP spid="43" grpId="0" animBg="1"/>
      <p:bldP spid="50" grpId="0" animBg="1"/>
      <p:bldP spid="79" grpId="0" animBg="1"/>
      <p:bldP spid="83"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 name="Title 1"/>
          <p:cNvSpPr>
            <a:spLocks noGrp="1"/>
          </p:cNvSpPr>
          <p:nvPr>
            <p:ph type="title"/>
          </p:nvPr>
        </p:nvSpPr>
        <p:spPr/>
        <p:txBody>
          <a:bodyPr>
            <a:noAutofit/>
          </a:bodyPr>
          <a:lstStyle/>
          <a:p>
            <a:pPr marL="273050"/>
            <a:r>
              <a:rPr lang="en-US" sz="4600" dirty="0"/>
              <a:t/>
            </a:r>
            <a:br>
              <a:rPr lang="en-US" sz="4600" dirty="0"/>
            </a:br>
            <a:r>
              <a:rPr lang="en-US" sz="4600" dirty="0"/>
              <a:t>Microsoft Azure IoT services</a:t>
            </a:r>
          </a:p>
        </p:txBody>
      </p:sp>
      <p:graphicFrame>
        <p:nvGraphicFramePr>
          <p:cNvPr id="32" name="Table 31"/>
          <p:cNvGraphicFramePr>
            <a:graphicFrameLocks noGrp="1"/>
          </p:cNvGraphicFramePr>
          <p:nvPr>
            <p:extLst>
              <p:ext uri="{D42A27DB-BD31-4B8C-83A1-F6EECF244321}">
                <p14:modId xmlns:p14="http://schemas.microsoft.com/office/powerpoint/2010/main" val="3774654556"/>
              </p:ext>
            </p:extLst>
          </p:nvPr>
        </p:nvGraphicFramePr>
        <p:xfrm>
          <a:off x="720271" y="1385433"/>
          <a:ext cx="10779896" cy="4710566"/>
        </p:xfrm>
        <a:graphic>
          <a:graphicData uri="http://schemas.openxmlformats.org/drawingml/2006/table">
            <a:tbl>
              <a:tblPr firstRow="1" bandRow="1">
                <a:tableStyleId>{5C22544A-7EE6-4342-B048-85BDC9FD1C3A}</a:tableStyleId>
              </a:tblPr>
              <a:tblGrid>
                <a:gridCol w="1507484">
                  <a:extLst>
                    <a:ext uri="{9D8B030D-6E8A-4147-A177-3AD203B41FA5}">
                      <a16:colId xmlns:a16="http://schemas.microsoft.com/office/drawing/2014/main" val="20000"/>
                    </a:ext>
                  </a:extLst>
                </a:gridCol>
                <a:gridCol w="2318103">
                  <a:extLst>
                    <a:ext uri="{9D8B030D-6E8A-4147-A177-3AD203B41FA5}">
                      <a16:colId xmlns:a16="http://schemas.microsoft.com/office/drawing/2014/main" val="20001"/>
                    </a:ext>
                  </a:extLst>
                </a:gridCol>
                <a:gridCol w="2318103">
                  <a:extLst>
                    <a:ext uri="{9D8B030D-6E8A-4147-A177-3AD203B41FA5}">
                      <a16:colId xmlns:a16="http://schemas.microsoft.com/office/drawing/2014/main" val="20002"/>
                    </a:ext>
                  </a:extLst>
                </a:gridCol>
                <a:gridCol w="2318103">
                  <a:extLst>
                    <a:ext uri="{9D8B030D-6E8A-4147-A177-3AD203B41FA5}">
                      <a16:colId xmlns:a16="http://schemas.microsoft.com/office/drawing/2014/main" val="20003"/>
                    </a:ext>
                  </a:extLst>
                </a:gridCol>
                <a:gridCol w="2318103">
                  <a:extLst>
                    <a:ext uri="{9D8B030D-6E8A-4147-A177-3AD203B41FA5}">
                      <a16:colId xmlns:a16="http://schemas.microsoft.com/office/drawing/2014/main" val="20004"/>
                    </a:ext>
                  </a:extLst>
                </a:gridCol>
              </a:tblGrid>
              <a:tr h="470194">
                <a:tc>
                  <a:txBody>
                    <a:bodyPr/>
                    <a:lstStyle/>
                    <a:p>
                      <a:r>
                        <a:rPr lang="en-GB" sz="1800" b="1" dirty="0" smtClean="0">
                          <a:solidFill>
                            <a:srgbClr val="FFFFFF"/>
                          </a:solidFill>
                          <a:latin typeface="+mj-lt"/>
                        </a:rPr>
                        <a:t>Producers</a:t>
                      </a:r>
                      <a:endParaRPr lang="en-US" sz="1800" dirty="0">
                        <a:latin typeface="+mj-lt"/>
                      </a:endParaRPr>
                    </a:p>
                  </a:txBody>
                  <a:tcPr marL="84483" marR="84483" marT="42242" marB="42242" anchor="ctr">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GB" sz="1800" b="1" dirty="0" smtClean="0">
                          <a:solidFill>
                            <a:srgbClr val="FFFFFF"/>
                          </a:solidFill>
                          <a:latin typeface="+mj-lt"/>
                        </a:rPr>
                        <a:t>Connect</a:t>
                      </a:r>
                      <a:r>
                        <a:rPr lang="en-GB" sz="1800" b="1" baseline="0" dirty="0" smtClean="0">
                          <a:solidFill>
                            <a:srgbClr val="FFFFFF"/>
                          </a:solidFill>
                          <a:latin typeface="+mj-lt"/>
                        </a:rPr>
                        <a:t> Devices</a:t>
                      </a:r>
                      <a:endParaRPr lang="en-GB" sz="1800" b="1" dirty="0" smtClean="0">
                        <a:solidFill>
                          <a:srgbClr val="FFFFFF"/>
                        </a:solidFill>
                        <a:latin typeface="+mj-lt"/>
                      </a:endParaRPr>
                    </a:p>
                  </a:txBody>
                  <a:tcPr marL="84483" marR="84483"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Storage</a:t>
                      </a:r>
                      <a:endParaRPr lang="en-US" sz="1800" dirty="0">
                        <a:latin typeface="+mj-lt"/>
                      </a:endParaRPr>
                    </a:p>
                  </a:txBody>
                  <a:tcPr marL="84483" marR="84483"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r>
                        <a:rPr lang="en-GB" sz="1800" b="1" dirty="0" smtClean="0">
                          <a:solidFill>
                            <a:srgbClr val="FFFFFF"/>
                          </a:solidFill>
                          <a:latin typeface="+mj-lt"/>
                        </a:rPr>
                        <a:t>Analytics</a:t>
                      </a:r>
                      <a:endParaRPr lang="en-US" sz="1800" dirty="0">
                        <a:latin typeface="+mj-lt"/>
                      </a:endParaRPr>
                    </a:p>
                  </a:txBody>
                  <a:tcPr marL="84483" marR="84483"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tc>
                  <a:txBody>
                    <a:bodyPr/>
                    <a:lstStyle/>
                    <a:p>
                      <a:pPr marL="0" marR="0" indent="0" algn="ctr" defTabSz="699630" rtl="0" eaLnBrk="1" fontAlgn="auto" latinLnBrk="0" hangingPunct="1">
                        <a:lnSpc>
                          <a:spcPct val="100000"/>
                        </a:lnSpc>
                        <a:spcBef>
                          <a:spcPts val="0"/>
                        </a:spcBef>
                        <a:spcAft>
                          <a:spcPts val="0"/>
                        </a:spcAft>
                        <a:buClrTx/>
                        <a:buSzTx/>
                        <a:buFontTx/>
                        <a:buNone/>
                        <a:tabLst/>
                        <a:defRPr/>
                      </a:pPr>
                      <a:r>
                        <a:rPr lang="en-GB" sz="1800" b="1" kern="1200" dirty="0" smtClean="0">
                          <a:solidFill>
                            <a:srgbClr val="FFFFFF"/>
                          </a:solidFill>
                          <a:latin typeface="+mn-lt"/>
                          <a:ea typeface="+mn-ea"/>
                          <a:cs typeface="+mn-cs"/>
                        </a:rPr>
                        <a:t>Take Action</a:t>
                      </a:r>
                    </a:p>
                  </a:txBody>
                  <a:tcPr marL="84483" marR="84483"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dot"/>
                      <a:round/>
                      <a:headEnd type="none" w="med" len="med"/>
                      <a:tailEnd type="none" w="med" len="med"/>
                    </a:lnT>
                    <a:lnB w="38100" cmpd="sng">
                      <a:noFill/>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vent Hubs </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QL Database</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achine Learning</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Azure Website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8100" cmpd="sng">
                      <a:noFill/>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1"/>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ervice Bus</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Table/Blob Storage</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Stream Analytics</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Power BI</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2"/>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endParaRPr lang="en-US" sz="1600" dirty="0" smtClean="0">
                        <a:solidFill>
                          <a:schemeClr val="bg1"/>
                        </a:solidFill>
                      </a:endParaRP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ocumentDB</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err="1" smtClean="0">
                          <a:solidFill>
                            <a:srgbClr val="FFFFFF"/>
                          </a:solidFill>
                        </a:rPr>
                        <a:t>HDInsight</a:t>
                      </a:r>
                      <a:endParaRPr lang="en-US" sz="1600" kern="0" dirty="0" smtClean="0">
                        <a:solidFill>
                          <a:srgbClr val="FFFFFF"/>
                        </a:solidFill>
                      </a:endParaRP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Notification Hub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3"/>
                  </a:ext>
                </a:extLst>
              </a:tr>
              <a:tr h="939100">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85517" rtl="0" eaLnBrk="1" fontAlgn="auto" latinLnBrk="0" hangingPunct="1">
                        <a:lnSpc>
                          <a:spcPct val="100000"/>
                        </a:lnSpc>
                        <a:spcBef>
                          <a:spcPts val="0"/>
                        </a:spcBef>
                        <a:spcAft>
                          <a:spcPts val="0"/>
                        </a:spcAft>
                        <a:buClrTx/>
                        <a:buSzTx/>
                        <a:buFontTx/>
                        <a:buNone/>
                        <a:tabLst/>
                        <a:defRPr/>
                      </a:pPr>
                      <a:endParaRPr lang="en-US" sz="1600" dirty="0" smtClean="0">
                        <a:solidFill>
                          <a:schemeClr val="bg1"/>
                        </a:solidFill>
                      </a:endParaRP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External Data Sources</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Data Factory</a:t>
                      </a:r>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Mobile Service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31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4"/>
                  </a:ext>
                </a:extLst>
              </a:tr>
              <a:tr h="825318">
                <a:tc>
                  <a:txBody>
                    <a:bodyPr/>
                    <a:lstStyle/>
                    <a:p>
                      <a:endParaRPr lang="en-US" sz="1200" dirty="0"/>
                    </a:p>
                  </a:txBody>
                  <a:tcPr marL="506904" marR="84483" marT="42242" marB="42242">
                    <a:lnL w="12700" cap="flat" cmpd="sng" algn="ctr">
                      <a:noFill/>
                      <a:prstDash val="solid"/>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en-US" sz="1600" dirty="0"/>
                    </a:p>
                  </a:txBody>
                  <a:tcPr marL="844840" marR="42242" marT="42242" marB="42242" anchor="ctr">
                    <a:lnL w="12700" cap="flat" cmpd="sng" algn="ctr">
                      <a:solidFill>
                        <a:schemeClr val="bg1"/>
                      </a:solidFill>
                      <a:prstDash val="dot"/>
                      <a:round/>
                      <a:headEnd type="none" w="med" len="med"/>
                      <a:tailEnd type="none" w="med" len="med"/>
                    </a:lnL>
                    <a:lnR w="12700" cap="flat" cmpd="sng" algn="ctr">
                      <a:solidFill>
                        <a:schemeClr val="bg1"/>
                      </a:solidFill>
                      <a:prstDash val="dot"/>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indent="0" algn="l" defTabSz="699630" rtl="0" eaLnBrk="1" fontAlgn="auto" latinLnBrk="0" hangingPunct="1">
                        <a:lnSpc>
                          <a:spcPct val="100000"/>
                        </a:lnSpc>
                        <a:spcBef>
                          <a:spcPts val="0"/>
                        </a:spcBef>
                        <a:spcAft>
                          <a:spcPts val="0"/>
                        </a:spcAft>
                        <a:buClrTx/>
                        <a:buSzTx/>
                        <a:buFontTx/>
                        <a:buNone/>
                        <a:tabLst/>
                        <a:defRPr/>
                      </a:pPr>
                      <a:r>
                        <a:rPr lang="en-US" sz="1600" kern="0" dirty="0" smtClean="0">
                          <a:solidFill>
                            <a:srgbClr val="FFFFFF"/>
                          </a:solidFill>
                        </a:rPr>
                        <a:t>BizTalk Services</a:t>
                      </a:r>
                    </a:p>
                  </a:txBody>
                  <a:tcPr marL="844840" marR="42242" marT="42242" marB="42242" anchor="ctr">
                    <a:lnL w="12700" cap="flat" cmpd="sng" algn="ctr">
                      <a:solidFill>
                        <a:schemeClr val="bg1"/>
                      </a:solidFill>
                      <a:prstDash val="dot"/>
                      <a:round/>
                      <a:headEnd type="none" w="med" len="med"/>
                      <a:tailEnd type="none" w="med" len="med"/>
                    </a:lnL>
                    <a:lnR w="12700" cap="flat" cmpd="sng" algn="ctr">
                      <a:noFill/>
                      <a:prstDash val="solid"/>
                      <a:round/>
                      <a:headEnd type="none" w="med" len="med"/>
                      <a:tailEnd type="none" w="med" len="med"/>
                    </a:lnR>
                    <a:lnT w="31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4668C5"/>
                    </a:solidFill>
                  </a:tcPr>
                </a:tc>
                <a:extLst>
                  <a:ext uri="{0D108BD9-81ED-4DB2-BD59-A6C34878D82A}">
                    <a16:rowId xmlns:a16="http://schemas.microsoft.com/office/drawing/2014/main" val="10005"/>
                  </a:ext>
                </a:extLst>
              </a:tr>
            </a:tbl>
          </a:graphicData>
        </a:graphic>
      </p:graphicFrame>
      <p:grpSp>
        <p:nvGrpSpPr>
          <p:cNvPr id="33" name="Group 32"/>
          <p:cNvGrpSpPr>
            <a:grpSpLocks noChangeAspect="1"/>
          </p:cNvGrpSpPr>
          <p:nvPr/>
        </p:nvGrpSpPr>
        <p:grpSpPr>
          <a:xfrm>
            <a:off x="1015538" y="1982670"/>
            <a:ext cx="840543" cy="607057"/>
            <a:chOff x="5893817" y="-2363993"/>
            <a:chExt cx="1589176" cy="1147736"/>
          </a:xfrm>
        </p:grpSpPr>
        <p:pic>
          <p:nvPicPr>
            <p:cNvPr id="34" name="Picture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91521" y="-2363993"/>
              <a:ext cx="190326" cy="365760"/>
            </a:xfrm>
            <a:prstGeom prst="rect">
              <a:avLst/>
            </a:prstGeom>
          </p:spPr>
        </p:pic>
        <p:grpSp>
          <p:nvGrpSpPr>
            <p:cNvPr id="35" name="Group 34"/>
            <p:cNvGrpSpPr>
              <a:grpSpLocks noChangeAspect="1"/>
            </p:cNvGrpSpPr>
            <p:nvPr/>
          </p:nvGrpSpPr>
          <p:grpSpPr>
            <a:xfrm>
              <a:off x="6051365" y="-2363988"/>
              <a:ext cx="1149652" cy="1147731"/>
              <a:chOff x="2475317" y="-6877877"/>
              <a:chExt cx="1493848" cy="1490961"/>
            </a:xfrm>
          </p:grpSpPr>
          <p:sp>
            <p:nvSpPr>
              <p:cNvPr id="40" name="Round Same Side Corner Rectangle 11"/>
              <p:cNvSpPr/>
              <p:nvPr/>
            </p:nvSpPr>
            <p:spPr>
              <a:xfrm>
                <a:off x="2475317" y="-6877877"/>
                <a:ext cx="564521" cy="361777"/>
              </a:xfrm>
              <a:custGeom>
                <a:avLst/>
                <a:gdLst/>
                <a:ahLst/>
                <a:cxnLst/>
                <a:rect l="l" t="t" r="r" b="b"/>
                <a:pathLst>
                  <a:path w="564520" h="361776">
                    <a:moveTo>
                      <a:pt x="21117" y="19360"/>
                    </a:moveTo>
                    <a:lnTo>
                      <a:pt x="21117" y="345592"/>
                    </a:lnTo>
                    <a:lnTo>
                      <a:pt x="543404" y="345592"/>
                    </a:lnTo>
                    <a:lnTo>
                      <a:pt x="543404" y="19360"/>
                    </a:lnTo>
                    <a:close/>
                    <a:moveTo>
                      <a:pt x="17539" y="0"/>
                    </a:moveTo>
                    <a:lnTo>
                      <a:pt x="546981" y="0"/>
                    </a:lnTo>
                    <a:cubicBezTo>
                      <a:pt x="556668" y="0"/>
                      <a:pt x="564520" y="7852"/>
                      <a:pt x="564520" y="17539"/>
                    </a:cubicBezTo>
                    <a:lnTo>
                      <a:pt x="564520" y="361776"/>
                    </a:lnTo>
                    <a:lnTo>
                      <a:pt x="0" y="361776"/>
                    </a:lnTo>
                    <a:lnTo>
                      <a:pt x="0" y="17539"/>
                    </a:lnTo>
                    <a:cubicBezTo>
                      <a:pt x="0" y="7852"/>
                      <a:pt x="7852" y="0"/>
                      <a:pt x="17539" y="0"/>
                    </a:cubicBezTo>
                    <a:close/>
                  </a:path>
                </a:pathLst>
              </a:custGeom>
              <a:solidFill>
                <a:srgbClr val="FFFFFF"/>
              </a:solidFill>
              <a:ln w="25400" cap="flat" cmpd="sng" algn="ctr">
                <a:noFill/>
                <a:prstDash val="solid"/>
              </a:ln>
              <a:effectLst/>
            </p:spPr>
            <p:txBody>
              <a:bodyPr rtlCol="0" anchor="ctr"/>
              <a:lstStyle/>
              <a:p>
                <a:pPr algn="ctr" defTabSz="685204">
                  <a:defRPr/>
                </a:pPr>
                <a:endParaRPr lang="en-US" sz="882" kern="0">
                  <a:solidFill>
                    <a:srgbClr val="000000"/>
                  </a:solidFill>
                  <a:sym typeface="Segoe UI" panose="020B0502040204020203" pitchFamily="34" charset="0"/>
                </a:endParaRPr>
              </a:p>
            </p:txBody>
          </p:sp>
          <p:sp>
            <p:nvSpPr>
              <p:cNvPr id="41" name="Trapezoid 12"/>
              <p:cNvSpPr/>
              <p:nvPr/>
            </p:nvSpPr>
            <p:spPr>
              <a:xfrm>
                <a:off x="3302774" y="-5591537"/>
                <a:ext cx="666391" cy="84126"/>
              </a:xfrm>
              <a:custGeom>
                <a:avLst/>
                <a:gdLst/>
                <a:ahLst/>
                <a:cxnLst/>
                <a:rect l="l" t="t" r="r" b="b"/>
                <a:pathLst>
                  <a:path w="666391" h="84127">
                    <a:moveTo>
                      <a:pt x="257990" y="52557"/>
                    </a:moveTo>
                    <a:lnTo>
                      <a:pt x="241755" y="79989"/>
                    </a:lnTo>
                    <a:lnTo>
                      <a:pt x="424635" y="79989"/>
                    </a:lnTo>
                    <a:lnTo>
                      <a:pt x="408400" y="52557"/>
                    </a:lnTo>
                    <a:close/>
                    <a:moveTo>
                      <a:pt x="49787" y="0"/>
                    </a:moveTo>
                    <a:lnTo>
                      <a:pt x="616604" y="0"/>
                    </a:lnTo>
                    <a:lnTo>
                      <a:pt x="666391" y="84127"/>
                    </a:lnTo>
                    <a:lnTo>
                      <a:pt x="0" y="84127"/>
                    </a:lnTo>
                    <a:close/>
                  </a:path>
                </a:pathLst>
              </a:custGeom>
              <a:solidFill>
                <a:srgbClr val="FFFFFF"/>
              </a:solidFill>
              <a:ln w="25400" cap="flat" cmpd="sng" algn="ctr">
                <a:noFill/>
                <a:prstDash val="solid"/>
              </a:ln>
              <a:effectLst/>
            </p:spPr>
            <p:txBody>
              <a:bodyPr rtlCol="0" anchor="ctr"/>
              <a:lstStyle/>
              <a:p>
                <a:pPr algn="ctr" defTabSz="685204">
                  <a:defRPr/>
                </a:pPr>
                <a:endParaRPr lang="en-US" sz="882" kern="0">
                  <a:solidFill>
                    <a:srgbClr val="000000"/>
                  </a:solidFill>
                  <a:sym typeface="Segoe UI" panose="020B0502040204020203" pitchFamily="34" charset="0"/>
                </a:endParaRPr>
              </a:p>
            </p:txBody>
          </p:sp>
          <p:sp>
            <p:nvSpPr>
              <p:cNvPr id="42" name="Rectangle 41"/>
              <p:cNvSpPr/>
              <p:nvPr/>
            </p:nvSpPr>
            <p:spPr>
              <a:xfrm>
                <a:off x="3265064" y="-5414348"/>
                <a:ext cx="665797" cy="27432"/>
              </a:xfrm>
              <a:prstGeom prst="rect">
                <a:avLst/>
              </a:prstGeom>
              <a:solidFill>
                <a:srgbClr val="FFFFFF"/>
              </a:solidFill>
              <a:ln w="25400" cap="flat" cmpd="sng" algn="ctr">
                <a:noFill/>
                <a:prstDash val="solid"/>
              </a:ln>
              <a:effectLst/>
            </p:spPr>
            <p:txBody>
              <a:bodyPr rtlCol="0" anchor="ctr"/>
              <a:lstStyle/>
              <a:p>
                <a:pPr algn="ctr" defTabSz="685204">
                  <a:defRPr/>
                </a:pPr>
                <a:endParaRPr lang="en-US" sz="882" kern="0">
                  <a:solidFill>
                    <a:srgbClr val="000000"/>
                  </a:solidFill>
                  <a:sym typeface="Segoe UI" panose="020B0502040204020203" pitchFamily="34" charset="0"/>
                </a:endParaRPr>
              </a:p>
            </p:txBody>
          </p:sp>
        </p:grpSp>
        <p:sp>
          <p:nvSpPr>
            <p:cNvPr id="36" name="Rounded Rectangle 6"/>
            <p:cNvSpPr>
              <a:spLocks noChangeAspect="1"/>
            </p:cNvSpPr>
            <p:nvPr/>
          </p:nvSpPr>
          <p:spPr bwMode="auto">
            <a:xfrm rot="16200000">
              <a:off x="6950542" y="-2438448"/>
              <a:ext cx="349866" cy="50943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FFFFFF"/>
            </a:solidFill>
            <a:ln w="10795" cap="flat" cmpd="sng" algn="ctr">
              <a:noFill/>
              <a:prstDash val="solid"/>
              <a:headEnd type="none" w="med" len="med"/>
              <a:tailEnd type="none" w="med" len="med"/>
            </a:ln>
            <a:effectLst/>
          </p:spPr>
          <p:txBody>
            <a:bodyPr vert="horz" wrap="square" lIns="67210" tIns="33604" rIns="67210" bIns="33604" numCol="1" rtlCol="0" anchor="ctr" anchorCtr="0" compatLnSpc="1">
              <a:prstTxWarp prst="textNoShape">
                <a:avLst/>
              </a:prstTxWarp>
            </a:bodyPr>
            <a:lstStyle/>
            <a:p>
              <a:pPr algn="ctr" defTabSz="604530">
                <a:defRPr/>
              </a:pPr>
              <a:endParaRPr lang="en-US" sz="1324" kern="0" dirty="0">
                <a:solidFill>
                  <a:srgbClr val="000000"/>
                </a:solidFill>
                <a:latin typeface="Segoe UI Light" panose="020B0502040204020203" pitchFamily="34" charset="0"/>
                <a:sym typeface="Segoe UI Light" panose="020B0502040204020203" pitchFamily="34" charset="0"/>
              </a:endParaRPr>
            </a:p>
          </p:txBody>
        </p:sp>
        <p:pic>
          <p:nvPicPr>
            <p:cNvPr id="37" name="Picture 2" descr="\\MAGNUM\Projects\Microsoft\Cloud Power FY12\Design\ICONS_PNG\Next_Gen_Application.png"/>
            <p:cNvPicPr>
              <a:picLocks noChangeAspect="1" noChangeArrowheads="1"/>
            </p:cNvPicPr>
            <p:nvPr/>
          </p:nvPicPr>
          <p:blipFill>
            <a:blip r:embed="rId4" cstate="screen">
              <a:lum bright="100000"/>
              <a:extLst>
                <a:ext uri="{28A0092B-C50C-407E-A947-70E740481C1C}">
                  <a14:useLocalDpi xmlns:a14="http://schemas.microsoft.com/office/drawing/2010/main" val="0"/>
                </a:ext>
              </a:extLst>
            </a:blip>
            <a:srcRect/>
            <a:stretch>
              <a:fillRect/>
            </a:stretch>
          </p:blipFill>
          <p:spPr bwMode="auto">
            <a:xfrm>
              <a:off x="5893817" y="-2050668"/>
              <a:ext cx="640080" cy="640079"/>
            </a:xfrm>
            <a:prstGeom prst="rect">
              <a:avLst/>
            </a:prstGeom>
            <a:noFill/>
          </p:spPr>
        </p:pic>
        <p:pic>
          <p:nvPicPr>
            <p:cNvPr id="38" name="Picture 24" descr="E:\Eric Suchiang FD\Icons\Metro Icon\Metro icons ALL WHITE\cctv.png"/>
            <p:cNvPicPr>
              <a:picLocks noChangeAspect="1" noChangeArrowheads="1"/>
            </p:cNvPicPr>
            <p:nvPr/>
          </p:nvPicPr>
          <p:blipFill rotWithShape="1">
            <a:blip r:embed="rId5" cstate="screen">
              <a:extLst>
                <a:ext uri="{28A0092B-C50C-407E-A947-70E740481C1C}">
                  <a14:useLocalDpi xmlns:a14="http://schemas.microsoft.com/office/drawing/2010/main" val="0"/>
                </a:ext>
              </a:extLst>
            </a:blip>
            <a:srcRect/>
            <a:stretch/>
          </p:blipFill>
          <p:spPr bwMode="auto">
            <a:xfrm>
              <a:off x="6751473" y="-1979040"/>
              <a:ext cx="731520" cy="403482"/>
            </a:xfrm>
            <a:prstGeom prst="rect">
              <a:avLst/>
            </a:prstGeom>
            <a:noFill/>
            <a:extLst>
              <a:ext uri="{909E8E84-426E-40DD-AFC4-6F175D3DCCD1}">
                <a14:hiddenFill xmlns:a14="http://schemas.microsoft.com/office/drawing/2010/main">
                  <a:solidFill>
                    <a:srgbClr val="FFFFFF"/>
                  </a:solidFill>
                </a14:hiddenFill>
              </a:ext>
            </a:extLst>
          </p:spPr>
        </p:pic>
        <p:sp>
          <p:nvSpPr>
            <p:cNvPr id="39" name="Freeform 38"/>
            <p:cNvSpPr>
              <a:spLocks noChangeAspect="1"/>
            </p:cNvSpPr>
            <p:nvPr/>
          </p:nvSpPr>
          <p:spPr bwMode="auto">
            <a:xfrm flipH="1">
              <a:off x="6520288" y="-1953486"/>
              <a:ext cx="304147" cy="445714"/>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solidFill>
              <a:srgbClr val="FFFFFF"/>
            </a:solidFill>
            <a:ln w="12700" cap="flat" cmpd="sng" algn="ctr">
              <a:noFill/>
              <a:prstDash val="solid"/>
              <a:headEnd type="none" w="med" len="med"/>
              <a:tailEnd type="none" w="med" len="med"/>
            </a:ln>
            <a:effectLst/>
          </p:spPr>
          <p:txBody>
            <a:bodyPr vert="horz" wrap="none" lIns="65889" tIns="32945" rIns="65889" bIns="32945" numCol="1" rtlCol="0" anchor="ctr" anchorCtr="0" compatLnSpc="1">
              <a:prstTxWarp prst="textNoShape">
                <a:avLst/>
              </a:prstTxWarp>
            </a:bodyPr>
            <a:lstStyle/>
            <a:p>
              <a:pPr algn="ctr" defTabSz="658256" fontAlgn="base">
                <a:spcBef>
                  <a:spcPct val="0"/>
                </a:spcBef>
                <a:spcAft>
                  <a:spcPct val="0"/>
                </a:spcAft>
                <a:defRPr/>
              </a:pPr>
              <a:endParaRPr lang="en-US" sz="1250" kern="0" dirty="0">
                <a:solidFill>
                  <a:srgbClr val="000000"/>
                </a:solidFill>
              </a:endParaRPr>
            </a:p>
          </p:txBody>
        </p:sp>
      </p:grpSp>
      <p:grpSp>
        <p:nvGrpSpPr>
          <p:cNvPr id="43" name="Group 42"/>
          <p:cNvGrpSpPr>
            <a:grpSpLocks noChangeAspect="1"/>
          </p:cNvGrpSpPr>
          <p:nvPr/>
        </p:nvGrpSpPr>
        <p:grpSpPr>
          <a:xfrm>
            <a:off x="1161088" y="2867021"/>
            <a:ext cx="681826" cy="506509"/>
            <a:chOff x="5630249" y="-855090"/>
            <a:chExt cx="1258953" cy="935238"/>
          </a:xfrm>
          <a:solidFill>
            <a:schemeClr val="bg1"/>
          </a:solidFill>
        </p:grpSpPr>
        <p:sp>
          <p:nvSpPr>
            <p:cNvPr id="44" name="Freeform 239"/>
            <p:cNvSpPr>
              <a:spLocks/>
            </p:cNvSpPr>
            <p:nvPr/>
          </p:nvSpPr>
          <p:spPr bwMode="auto">
            <a:xfrm>
              <a:off x="6536381" y="-810289"/>
              <a:ext cx="352821" cy="439918"/>
            </a:xfrm>
            <a:custGeom>
              <a:avLst/>
              <a:gdLst/>
              <a:ahLst/>
              <a:cxnLst/>
              <a:rect l="l" t="t" r="r" b="b"/>
              <a:pathLst>
                <a:path w="555609" h="711730">
                  <a:moveTo>
                    <a:pt x="11038" y="660302"/>
                  </a:moveTo>
                  <a:cubicBezTo>
                    <a:pt x="11053" y="660302"/>
                    <a:pt x="13887" y="660302"/>
                    <a:pt x="548250" y="660302"/>
                  </a:cubicBezTo>
                  <a:cubicBezTo>
                    <a:pt x="551930" y="660302"/>
                    <a:pt x="555609" y="663976"/>
                    <a:pt x="555609" y="671323"/>
                  </a:cubicBezTo>
                  <a:cubicBezTo>
                    <a:pt x="555609" y="671332"/>
                    <a:pt x="555609" y="671847"/>
                    <a:pt x="555609" y="704383"/>
                  </a:cubicBezTo>
                  <a:cubicBezTo>
                    <a:pt x="555609" y="708057"/>
                    <a:pt x="551930" y="711730"/>
                    <a:pt x="548250" y="711730"/>
                  </a:cubicBezTo>
                  <a:cubicBezTo>
                    <a:pt x="548235" y="711730"/>
                    <a:pt x="545395" y="711730"/>
                    <a:pt x="11038" y="711730"/>
                  </a:cubicBezTo>
                  <a:lnTo>
                    <a:pt x="0" y="704383"/>
                  </a:lnTo>
                  <a:cubicBezTo>
                    <a:pt x="0" y="704375"/>
                    <a:pt x="0" y="703860"/>
                    <a:pt x="0" y="671323"/>
                  </a:cubicBezTo>
                  <a:cubicBezTo>
                    <a:pt x="0" y="663976"/>
                    <a:pt x="3679" y="660302"/>
                    <a:pt x="11038" y="660302"/>
                  </a:cubicBezTo>
                  <a:close/>
                  <a:moveTo>
                    <a:pt x="176551" y="568466"/>
                  </a:moveTo>
                  <a:cubicBezTo>
                    <a:pt x="206005" y="583160"/>
                    <a:pt x="242823" y="590507"/>
                    <a:pt x="279641" y="590507"/>
                  </a:cubicBezTo>
                  <a:cubicBezTo>
                    <a:pt x="316459" y="590507"/>
                    <a:pt x="349595" y="583160"/>
                    <a:pt x="382732" y="568466"/>
                  </a:cubicBezTo>
                  <a:cubicBezTo>
                    <a:pt x="404822" y="601527"/>
                    <a:pt x="437959" y="627242"/>
                    <a:pt x="482140" y="649282"/>
                  </a:cubicBezTo>
                  <a:cubicBezTo>
                    <a:pt x="482124" y="649282"/>
                    <a:pt x="479561" y="649282"/>
                    <a:pt x="77142" y="649282"/>
                  </a:cubicBezTo>
                  <a:cubicBezTo>
                    <a:pt x="121323" y="627242"/>
                    <a:pt x="154460" y="601527"/>
                    <a:pt x="176551" y="568466"/>
                  </a:cubicBezTo>
                  <a:close/>
                  <a:moveTo>
                    <a:pt x="272261" y="221325"/>
                  </a:moveTo>
                  <a:lnTo>
                    <a:pt x="279642" y="221325"/>
                  </a:lnTo>
                  <a:cubicBezTo>
                    <a:pt x="334999" y="221325"/>
                    <a:pt x="379284" y="265615"/>
                    <a:pt x="379284" y="317285"/>
                  </a:cubicBezTo>
                  <a:cubicBezTo>
                    <a:pt x="379284" y="372647"/>
                    <a:pt x="334999" y="416936"/>
                    <a:pt x="279642" y="416936"/>
                  </a:cubicBezTo>
                  <a:cubicBezTo>
                    <a:pt x="224285" y="416936"/>
                    <a:pt x="179999" y="372647"/>
                    <a:pt x="179999" y="317285"/>
                  </a:cubicBezTo>
                  <a:cubicBezTo>
                    <a:pt x="179999" y="298831"/>
                    <a:pt x="187380" y="280378"/>
                    <a:pt x="194761" y="265615"/>
                  </a:cubicBezTo>
                  <a:cubicBezTo>
                    <a:pt x="194761" y="302522"/>
                    <a:pt x="220594" y="324667"/>
                    <a:pt x="250118" y="324667"/>
                  </a:cubicBezTo>
                  <a:cubicBezTo>
                    <a:pt x="279642" y="324667"/>
                    <a:pt x="305475" y="302522"/>
                    <a:pt x="305475" y="269305"/>
                  </a:cubicBezTo>
                  <a:cubicBezTo>
                    <a:pt x="305475" y="247161"/>
                    <a:pt x="290713" y="228707"/>
                    <a:pt x="272261" y="221325"/>
                  </a:cubicBezTo>
                  <a:close/>
                  <a:moveTo>
                    <a:pt x="277805" y="177015"/>
                  </a:moveTo>
                  <a:cubicBezTo>
                    <a:pt x="202284" y="177015"/>
                    <a:pt x="141063" y="238236"/>
                    <a:pt x="141063" y="313757"/>
                  </a:cubicBezTo>
                  <a:cubicBezTo>
                    <a:pt x="141063" y="389278"/>
                    <a:pt x="202284" y="450499"/>
                    <a:pt x="277805" y="450499"/>
                  </a:cubicBezTo>
                  <a:cubicBezTo>
                    <a:pt x="353326" y="450499"/>
                    <a:pt x="414547" y="389278"/>
                    <a:pt x="414547" y="313757"/>
                  </a:cubicBezTo>
                  <a:cubicBezTo>
                    <a:pt x="414547" y="238236"/>
                    <a:pt x="353326" y="177015"/>
                    <a:pt x="277805" y="177015"/>
                  </a:cubicBezTo>
                  <a:close/>
                  <a:moveTo>
                    <a:pt x="277805" y="67313"/>
                  </a:moveTo>
                  <a:cubicBezTo>
                    <a:pt x="413912" y="67313"/>
                    <a:pt x="524249" y="177650"/>
                    <a:pt x="524249" y="313757"/>
                  </a:cubicBezTo>
                  <a:cubicBezTo>
                    <a:pt x="524249" y="449864"/>
                    <a:pt x="413912" y="560201"/>
                    <a:pt x="277805" y="560201"/>
                  </a:cubicBezTo>
                  <a:cubicBezTo>
                    <a:pt x="141698" y="560201"/>
                    <a:pt x="31361" y="449864"/>
                    <a:pt x="31361" y="313757"/>
                  </a:cubicBezTo>
                  <a:cubicBezTo>
                    <a:pt x="31361" y="177650"/>
                    <a:pt x="141698" y="67313"/>
                    <a:pt x="277805" y="67313"/>
                  </a:cubicBezTo>
                  <a:close/>
                  <a:moveTo>
                    <a:pt x="279641" y="0"/>
                  </a:moveTo>
                  <a:cubicBezTo>
                    <a:pt x="338653" y="0"/>
                    <a:pt x="375536" y="29388"/>
                    <a:pt x="379224" y="29388"/>
                  </a:cubicBezTo>
                  <a:lnTo>
                    <a:pt x="382912" y="36735"/>
                  </a:lnTo>
                  <a:cubicBezTo>
                    <a:pt x="382917" y="36751"/>
                    <a:pt x="383137" y="37482"/>
                    <a:pt x="393977" y="73469"/>
                  </a:cubicBezTo>
                  <a:cubicBezTo>
                    <a:pt x="357095" y="55102"/>
                    <a:pt x="320212" y="47755"/>
                    <a:pt x="279641" y="47755"/>
                  </a:cubicBezTo>
                  <a:cubicBezTo>
                    <a:pt x="239070" y="47755"/>
                    <a:pt x="198500" y="55102"/>
                    <a:pt x="165305" y="73469"/>
                  </a:cubicBezTo>
                  <a:cubicBezTo>
                    <a:pt x="165310" y="73454"/>
                    <a:pt x="165529" y="72727"/>
                    <a:pt x="176370" y="36735"/>
                  </a:cubicBezTo>
                  <a:lnTo>
                    <a:pt x="180058" y="29388"/>
                  </a:lnTo>
                  <a:cubicBezTo>
                    <a:pt x="183747" y="29388"/>
                    <a:pt x="220629" y="0"/>
                    <a:pt x="279641" y="0"/>
                  </a:cubicBezTo>
                  <a:close/>
                </a:path>
              </a:pathLst>
            </a:custGeom>
            <a:grpFill/>
            <a:ln>
              <a:noFill/>
            </a:ln>
            <a:extLst/>
          </p:spPr>
          <p:txBody>
            <a:bodyPr vert="horz" wrap="square" lIns="67213" tIns="33606" rIns="67213" bIns="33606" numCol="1" anchor="t" anchorCtr="0" compatLnSpc="1">
              <a:prstTxWarp prst="textNoShape">
                <a:avLst/>
              </a:prstTxWarp>
            </a:bodyPr>
            <a:lstStyle/>
            <a:p>
              <a:pPr algn="ctr" defTabSz="685204">
                <a:defRPr/>
              </a:pPr>
              <a:endParaRPr lang="en-US" sz="1324" kern="0" dirty="0">
                <a:solidFill>
                  <a:srgbClr val="000000"/>
                </a:solidFill>
              </a:endParaRPr>
            </a:p>
          </p:txBody>
        </p:sp>
        <p:sp>
          <p:nvSpPr>
            <p:cNvPr id="50" name="Round Same Side Corner Rectangle 26"/>
            <p:cNvSpPr>
              <a:spLocks noChangeAspect="1"/>
            </p:cNvSpPr>
            <p:nvPr/>
          </p:nvSpPr>
          <p:spPr bwMode="auto">
            <a:xfrm>
              <a:off x="6169585" y="-360487"/>
              <a:ext cx="240729" cy="403680"/>
            </a:xfrm>
            <a:custGeom>
              <a:avLst/>
              <a:gdLst/>
              <a:ahLst/>
              <a:cxnLst/>
              <a:rect l="l" t="t" r="r" b="b"/>
              <a:pathLst>
                <a:path w="1752600" h="3019424">
                  <a:moveTo>
                    <a:pt x="125916" y="2027200"/>
                  </a:moveTo>
                  <a:lnTo>
                    <a:pt x="125916" y="2164731"/>
                  </a:lnTo>
                  <a:lnTo>
                    <a:pt x="125916" y="2491833"/>
                  </a:lnTo>
                  <a:cubicBezTo>
                    <a:pt x="125916" y="2672486"/>
                    <a:pt x="272365" y="2818935"/>
                    <a:pt x="453018" y="2818935"/>
                  </a:cubicBezTo>
                  <a:lnTo>
                    <a:pt x="1281926" y="2818935"/>
                  </a:lnTo>
                  <a:cubicBezTo>
                    <a:pt x="1462579" y="2818935"/>
                    <a:pt x="1609028" y="2672486"/>
                    <a:pt x="1609028" y="2491833"/>
                  </a:cubicBezTo>
                  <a:cubicBezTo>
                    <a:pt x="1609028" y="2384143"/>
                    <a:pt x="1601776" y="2160419"/>
                    <a:pt x="1601623" y="2049869"/>
                  </a:cubicBezTo>
                  <a:lnTo>
                    <a:pt x="1616462" y="2045785"/>
                  </a:lnTo>
                  <a:lnTo>
                    <a:pt x="1601594" y="2045785"/>
                  </a:lnTo>
                  <a:lnTo>
                    <a:pt x="1601623" y="2049869"/>
                  </a:lnTo>
                  <a:cubicBezTo>
                    <a:pt x="1126071" y="2202699"/>
                    <a:pt x="536769" y="2180503"/>
                    <a:pt x="125916" y="2027200"/>
                  </a:cubicBezTo>
                  <a:close/>
                  <a:moveTo>
                    <a:pt x="1324773" y="1874254"/>
                  </a:moveTo>
                  <a:cubicBezTo>
                    <a:pt x="1312258" y="1874254"/>
                    <a:pt x="1302112" y="1884400"/>
                    <a:pt x="1302112" y="1896915"/>
                  </a:cubicBezTo>
                  <a:lnTo>
                    <a:pt x="1302112" y="1987559"/>
                  </a:lnTo>
                  <a:cubicBezTo>
                    <a:pt x="1302112" y="2000074"/>
                    <a:pt x="1312258" y="2010220"/>
                    <a:pt x="1324773" y="2010220"/>
                  </a:cubicBezTo>
                  <a:lnTo>
                    <a:pt x="1593801" y="2010220"/>
                  </a:lnTo>
                  <a:cubicBezTo>
                    <a:pt x="1606316" y="2010220"/>
                    <a:pt x="1616462" y="2000074"/>
                    <a:pt x="1616462" y="1987559"/>
                  </a:cubicBezTo>
                  <a:lnTo>
                    <a:pt x="1616462" y="1896915"/>
                  </a:lnTo>
                  <a:cubicBezTo>
                    <a:pt x="1616462" y="1884400"/>
                    <a:pt x="1606316" y="1874254"/>
                    <a:pt x="1593801" y="1874254"/>
                  </a:cubicBezTo>
                  <a:close/>
                  <a:moveTo>
                    <a:pt x="935186" y="1874254"/>
                  </a:moveTo>
                  <a:cubicBezTo>
                    <a:pt x="922671" y="1874254"/>
                    <a:pt x="912525" y="1884400"/>
                    <a:pt x="912525" y="1896915"/>
                  </a:cubicBezTo>
                  <a:lnTo>
                    <a:pt x="912525" y="1987559"/>
                  </a:lnTo>
                  <a:cubicBezTo>
                    <a:pt x="912525" y="2000074"/>
                    <a:pt x="922671" y="2010220"/>
                    <a:pt x="935186" y="2010220"/>
                  </a:cubicBezTo>
                  <a:lnTo>
                    <a:pt x="1204214" y="2010220"/>
                  </a:lnTo>
                  <a:cubicBezTo>
                    <a:pt x="1216729" y="2010220"/>
                    <a:pt x="1226875" y="2000074"/>
                    <a:pt x="1226875" y="1987559"/>
                  </a:cubicBezTo>
                  <a:lnTo>
                    <a:pt x="1226875" y="1896915"/>
                  </a:lnTo>
                  <a:cubicBezTo>
                    <a:pt x="1226875" y="1884400"/>
                    <a:pt x="1216729" y="1874254"/>
                    <a:pt x="1204214" y="1874254"/>
                  </a:cubicBezTo>
                  <a:close/>
                  <a:moveTo>
                    <a:pt x="545598" y="1874254"/>
                  </a:moveTo>
                  <a:cubicBezTo>
                    <a:pt x="533083" y="1874254"/>
                    <a:pt x="522937" y="1884400"/>
                    <a:pt x="522937" y="1896915"/>
                  </a:cubicBezTo>
                  <a:lnTo>
                    <a:pt x="522937" y="1987559"/>
                  </a:lnTo>
                  <a:cubicBezTo>
                    <a:pt x="522937" y="2000074"/>
                    <a:pt x="533083" y="2010220"/>
                    <a:pt x="545598" y="2010220"/>
                  </a:cubicBezTo>
                  <a:lnTo>
                    <a:pt x="814626" y="2010220"/>
                  </a:lnTo>
                  <a:cubicBezTo>
                    <a:pt x="827141" y="2010220"/>
                    <a:pt x="837287" y="2000074"/>
                    <a:pt x="837287" y="1987559"/>
                  </a:cubicBezTo>
                  <a:lnTo>
                    <a:pt x="837287" y="1896915"/>
                  </a:lnTo>
                  <a:cubicBezTo>
                    <a:pt x="837287" y="1884400"/>
                    <a:pt x="827141" y="1874254"/>
                    <a:pt x="814626" y="1874254"/>
                  </a:cubicBezTo>
                  <a:close/>
                  <a:moveTo>
                    <a:pt x="156010" y="1874254"/>
                  </a:moveTo>
                  <a:cubicBezTo>
                    <a:pt x="143495" y="1874254"/>
                    <a:pt x="133349" y="1884400"/>
                    <a:pt x="133349" y="1896915"/>
                  </a:cubicBezTo>
                  <a:lnTo>
                    <a:pt x="133349" y="1987559"/>
                  </a:lnTo>
                  <a:cubicBezTo>
                    <a:pt x="133349" y="2000074"/>
                    <a:pt x="143495" y="2010220"/>
                    <a:pt x="156010" y="2010220"/>
                  </a:cubicBezTo>
                  <a:lnTo>
                    <a:pt x="425038" y="2010220"/>
                  </a:lnTo>
                  <a:cubicBezTo>
                    <a:pt x="437553" y="2010220"/>
                    <a:pt x="447699" y="2000074"/>
                    <a:pt x="447699" y="1987559"/>
                  </a:cubicBezTo>
                  <a:lnTo>
                    <a:pt x="447699" y="1896915"/>
                  </a:lnTo>
                  <a:cubicBezTo>
                    <a:pt x="447699" y="1884400"/>
                    <a:pt x="437553" y="1874254"/>
                    <a:pt x="425038" y="1874254"/>
                  </a:cubicBezTo>
                  <a:close/>
                  <a:moveTo>
                    <a:pt x="0" y="1811356"/>
                  </a:moveTo>
                  <a:lnTo>
                    <a:pt x="1752600" y="1811356"/>
                  </a:lnTo>
                  <a:lnTo>
                    <a:pt x="1752600" y="2501115"/>
                  </a:lnTo>
                  <a:cubicBezTo>
                    <a:pt x="1752600" y="2787369"/>
                    <a:pt x="1520545" y="3019424"/>
                    <a:pt x="1234291" y="3019424"/>
                  </a:cubicBezTo>
                  <a:lnTo>
                    <a:pt x="518309" y="3019424"/>
                  </a:lnTo>
                  <a:cubicBezTo>
                    <a:pt x="232055" y="3019424"/>
                    <a:pt x="0" y="2787369"/>
                    <a:pt x="0" y="2501115"/>
                  </a:cubicBezTo>
                  <a:close/>
                  <a:moveTo>
                    <a:pt x="142875" y="676276"/>
                  </a:moveTo>
                  <a:lnTo>
                    <a:pt x="142875" y="1628776"/>
                  </a:lnTo>
                  <a:lnTo>
                    <a:pt x="1609725" y="1628776"/>
                  </a:lnTo>
                  <a:lnTo>
                    <a:pt x="1609725" y="676276"/>
                  </a:lnTo>
                  <a:close/>
                  <a:moveTo>
                    <a:pt x="699410" y="192089"/>
                  </a:moveTo>
                  <a:cubicBezTo>
                    <a:pt x="638133" y="192089"/>
                    <a:pt x="588459" y="241763"/>
                    <a:pt x="588459" y="303040"/>
                  </a:cubicBezTo>
                  <a:cubicBezTo>
                    <a:pt x="588459" y="303039"/>
                    <a:pt x="588459" y="303039"/>
                    <a:pt x="588459" y="303039"/>
                  </a:cubicBezTo>
                  <a:lnTo>
                    <a:pt x="588459" y="303040"/>
                  </a:lnTo>
                  <a:lnTo>
                    <a:pt x="588459" y="303040"/>
                  </a:lnTo>
                  <a:cubicBezTo>
                    <a:pt x="588459" y="364316"/>
                    <a:pt x="638133" y="413990"/>
                    <a:pt x="699410" y="413990"/>
                  </a:cubicBezTo>
                  <a:lnTo>
                    <a:pt x="1053190" y="413991"/>
                  </a:lnTo>
                  <a:cubicBezTo>
                    <a:pt x="1114467" y="413991"/>
                    <a:pt x="1164141" y="364317"/>
                    <a:pt x="1164141" y="303040"/>
                  </a:cubicBezTo>
                  <a:lnTo>
                    <a:pt x="1164142" y="303040"/>
                  </a:lnTo>
                  <a:cubicBezTo>
                    <a:pt x="1164142" y="241763"/>
                    <a:pt x="1114468" y="192089"/>
                    <a:pt x="1053191" y="192089"/>
                  </a:cubicBezTo>
                  <a:close/>
                  <a:moveTo>
                    <a:pt x="434978" y="0"/>
                  </a:moveTo>
                  <a:lnTo>
                    <a:pt x="1317622" y="0"/>
                  </a:lnTo>
                  <a:cubicBezTo>
                    <a:pt x="1557854" y="0"/>
                    <a:pt x="1752600" y="194746"/>
                    <a:pt x="1752600" y="434978"/>
                  </a:cubicBezTo>
                  <a:lnTo>
                    <a:pt x="1752600" y="1781175"/>
                  </a:lnTo>
                  <a:lnTo>
                    <a:pt x="0" y="1781175"/>
                  </a:lnTo>
                  <a:lnTo>
                    <a:pt x="0" y="434978"/>
                  </a:lnTo>
                  <a:cubicBezTo>
                    <a:pt x="0" y="194746"/>
                    <a:pt x="194746" y="0"/>
                    <a:pt x="434978" y="0"/>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13" tIns="33606" rIns="33606" bIns="67213" numCol="1" spcCol="0" rtlCol="0" fromWordArt="0" anchor="b" anchorCtr="0" forceAA="0" compatLnSpc="1">
              <a:prstTxWarp prst="textNoShape">
                <a:avLst/>
              </a:prstTxWarp>
              <a:noAutofit/>
            </a:bodyPr>
            <a:lstStyle/>
            <a:p>
              <a:pPr algn="ctr" defTabSz="671483" fontAlgn="base">
                <a:spcBef>
                  <a:spcPct val="0"/>
                </a:spcBef>
                <a:spcAft>
                  <a:spcPct val="0"/>
                </a:spcAft>
                <a:defRPr/>
              </a:pPr>
              <a:endParaRPr lang="en-US" sz="735" kern="0" dirty="0" err="1">
                <a:solidFill>
                  <a:srgbClr val="000000"/>
                </a:solidFill>
                <a:ea typeface="Segoe UI" pitchFamily="34" charset="0"/>
                <a:cs typeface="Segoe UI" pitchFamily="34" charset="0"/>
              </a:endParaRPr>
            </a:p>
          </p:txBody>
        </p:sp>
        <p:pic>
          <p:nvPicPr>
            <p:cNvPr id="63" name="Picture 3" descr="C:\Users\chrisw\Desktop\Kinect Hand.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black">
            <a:xfrm>
              <a:off x="5630249" y="-354098"/>
              <a:ext cx="495792" cy="397290"/>
            </a:xfrm>
            <a:prstGeom prst="rect">
              <a:avLst/>
            </a:prstGeom>
            <a:noFill/>
            <a:extLst/>
          </p:spPr>
        </p:pic>
        <p:sp>
          <p:nvSpPr>
            <p:cNvPr id="64" name="Freeform 362"/>
            <p:cNvSpPr>
              <a:spLocks noChangeAspect="1"/>
            </p:cNvSpPr>
            <p:nvPr/>
          </p:nvSpPr>
          <p:spPr bwMode="auto">
            <a:xfrm rot="19207886">
              <a:off x="5709957" y="-855090"/>
              <a:ext cx="265470" cy="461887"/>
            </a:xfrm>
            <a:custGeom>
              <a:avLst/>
              <a:gdLst/>
              <a:ahLst/>
              <a:cxnLst/>
              <a:rect l="l" t="t" r="r" b="b"/>
              <a:pathLst>
                <a:path w="2319649" h="4146395">
                  <a:moveTo>
                    <a:pt x="721347" y="1393541"/>
                  </a:moveTo>
                  <a:lnTo>
                    <a:pt x="1004577" y="1630094"/>
                  </a:lnTo>
                  <a:lnTo>
                    <a:pt x="783124" y="1895244"/>
                  </a:lnTo>
                  <a:lnTo>
                    <a:pt x="499894" y="1658691"/>
                  </a:lnTo>
                  <a:close/>
                  <a:moveTo>
                    <a:pt x="221453" y="976031"/>
                  </a:moveTo>
                  <a:lnTo>
                    <a:pt x="504683" y="1212584"/>
                  </a:lnTo>
                  <a:lnTo>
                    <a:pt x="283230" y="1477734"/>
                  </a:lnTo>
                  <a:lnTo>
                    <a:pt x="0" y="1241181"/>
                  </a:lnTo>
                  <a:close/>
                  <a:moveTo>
                    <a:pt x="1119716" y="916564"/>
                  </a:moveTo>
                  <a:lnTo>
                    <a:pt x="1402946" y="1153118"/>
                  </a:lnTo>
                  <a:lnTo>
                    <a:pt x="1181493" y="1418268"/>
                  </a:lnTo>
                  <a:lnTo>
                    <a:pt x="898263" y="1181715"/>
                  </a:lnTo>
                  <a:close/>
                  <a:moveTo>
                    <a:pt x="619823" y="499054"/>
                  </a:moveTo>
                  <a:lnTo>
                    <a:pt x="903053" y="735607"/>
                  </a:lnTo>
                  <a:lnTo>
                    <a:pt x="681600" y="1000757"/>
                  </a:lnTo>
                  <a:lnTo>
                    <a:pt x="398370" y="764204"/>
                  </a:lnTo>
                  <a:close/>
                  <a:moveTo>
                    <a:pt x="1788219" y="1414996"/>
                  </a:moveTo>
                  <a:lnTo>
                    <a:pt x="1827007" y="1456492"/>
                  </a:lnTo>
                  <a:lnTo>
                    <a:pt x="1848826" y="1510192"/>
                  </a:lnTo>
                  <a:lnTo>
                    <a:pt x="1853674" y="1566334"/>
                  </a:lnTo>
                  <a:lnTo>
                    <a:pt x="1843977" y="1620034"/>
                  </a:lnTo>
                  <a:lnTo>
                    <a:pt x="1817310" y="1671294"/>
                  </a:lnTo>
                  <a:lnTo>
                    <a:pt x="1371242" y="2230266"/>
                  </a:lnTo>
                  <a:lnTo>
                    <a:pt x="1412455" y="2191212"/>
                  </a:lnTo>
                  <a:lnTo>
                    <a:pt x="1465789" y="2166802"/>
                  </a:lnTo>
                  <a:lnTo>
                    <a:pt x="1519123" y="2161920"/>
                  </a:lnTo>
                  <a:lnTo>
                    <a:pt x="1574882" y="2171684"/>
                  </a:lnTo>
                  <a:lnTo>
                    <a:pt x="1625792" y="2200975"/>
                  </a:lnTo>
                  <a:lnTo>
                    <a:pt x="1664580" y="2244912"/>
                  </a:lnTo>
                  <a:lnTo>
                    <a:pt x="1688823" y="2296171"/>
                  </a:lnTo>
                  <a:lnTo>
                    <a:pt x="1693672" y="2349872"/>
                  </a:lnTo>
                  <a:lnTo>
                    <a:pt x="1679126" y="2406013"/>
                  </a:lnTo>
                  <a:lnTo>
                    <a:pt x="1650035" y="2454832"/>
                  </a:lnTo>
                  <a:lnTo>
                    <a:pt x="1613670" y="2506091"/>
                  </a:lnTo>
                  <a:lnTo>
                    <a:pt x="1664580" y="2476800"/>
                  </a:lnTo>
                  <a:lnTo>
                    <a:pt x="1727611" y="2467036"/>
                  </a:lnTo>
                  <a:lnTo>
                    <a:pt x="1783370" y="2476800"/>
                  </a:lnTo>
                  <a:lnTo>
                    <a:pt x="1839128" y="2506091"/>
                  </a:lnTo>
                  <a:lnTo>
                    <a:pt x="1877917" y="2550028"/>
                  </a:lnTo>
                  <a:lnTo>
                    <a:pt x="1902160" y="2601288"/>
                  </a:lnTo>
                  <a:lnTo>
                    <a:pt x="1907008" y="2654988"/>
                  </a:lnTo>
                  <a:lnTo>
                    <a:pt x="1897311" y="2711129"/>
                  </a:lnTo>
                  <a:lnTo>
                    <a:pt x="1868220" y="2759948"/>
                  </a:lnTo>
                  <a:lnTo>
                    <a:pt x="1797916" y="2850262"/>
                  </a:lnTo>
                  <a:lnTo>
                    <a:pt x="1848825" y="2820971"/>
                  </a:lnTo>
                  <a:lnTo>
                    <a:pt x="1907008" y="2811207"/>
                  </a:lnTo>
                  <a:lnTo>
                    <a:pt x="1967616" y="2820971"/>
                  </a:lnTo>
                  <a:lnTo>
                    <a:pt x="2020950" y="2850262"/>
                  </a:lnTo>
                  <a:lnTo>
                    <a:pt x="2057314" y="2891758"/>
                  </a:lnTo>
                  <a:lnTo>
                    <a:pt x="2081557" y="2945459"/>
                  </a:lnTo>
                  <a:lnTo>
                    <a:pt x="2086406" y="3001600"/>
                  </a:lnTo>
                  <a:lnTo>
                    <a:pt x="2076708" y="3055300"/>
                  </a:lnTo>
                  <a:lnTo>
                    <a:pt x="2050041" y="3106560"/>
                  </a:lnTo>
                  <a:lnTo>
                    <a:pt x="1380939" y="3941357"/>
                  </a:lnTo>
                  <a:lnTo>
                    <a:pt x="1351848" y="3975530"/>
                  </a:lnTo>
                  <a:lnTo>
                    <a:pt x="1313059" y="4017026"/>
                  </a:lnTo>
                  <a:lnTo>
                    <a:pt x="1271846" y="4060963"/>
                  </a:lnTo>
                  <a:lnTo>
                    <a:pt x="1218512" y="4097577"/>
                  </a:lnTo>
                  <a:lnTo>
                    <a:pt x="1167602" y="4126868"/>
                  </a:lnTo>
                  <a:lnTo>
                    <a:pt x="1109420" y="4146395"/>
                  </a:lnTo>
                  <a:lnTo>
                    <a:pt x="1058510" y="4141514"/>
                  </a:lnTo>
                  <a:lnTo>
                    <a:pt x="1010024" y="4117104"/>
                  </a:lnTo>
                  <a:lnTo>
                    <a:pt x="973660" y="4090254"/>
                  </a:lnTo>
                  <a:lnTo>
                    <a:pt x="915477" y="4046317"/>
                  </a:lnTo>
                  <a:lnTo>
                    <a:pt x="850022" y="3990176"/>
                  </a:lnTo>
                  <a:lnTo>
                    <a:pt x="777293" y="3931593"/>
                  </a:lnTo>
                  <a:lnTo>
                    <a:pt x="697292" y="3865688"/>
                  </a:lnTo>
                  <a:lnTo>
                    <a:pt x="612442" y="3797343"/>
                  </a:lnTo>
                  <a:lnTo>
                    <a:pt x="532440" y="3731438"/>
                  </a:lnTo>
                  <a:lnTo>
                    <a:pt x="450015" y="3670415"/>
                  </a:lnTo>
                  <a:lnTo>
                    <a:pt x="379710" y="3611832"/>
                  </a:lnTo>
                  <a:lnTo>
                    <a:pt x="319104" y="3560573"/>
                  </a:lnTo>
                  <a:lnTo>
                    <a:pt x="270618" y="3521518"/>
                  </a:lnTo>
                  <a:lnTo>
                    <a:pt x="236678" y="3497108"/>
                  </a:lnTo>
                  <a:lnTo>
                    <a:pt x="190617" y="3445849"/>
                  </a:lnTo>
                  <a:lnTo>
                    <a:pt x="161525" y="3392148"/>
                  </a:lnTo>
                  <a:lnTo>
                    <a:pt x="151828" y="3336007"/>
                  </a:lnTo>
                  <a:lnTo>
                    <a:pt x="151828" y="3277425"/>
                  </a:lnTo>
                  <a:lnTo>
                    <a:pt x="156677" y="3221284"/>
                  </a:lnTo>
                  <a:lnTo>
                    <a:pt x="319104" y="2110661"/>
                  </a:lnTo>
                  <a:lnTo>
                    <a:pt x="333649" y="2052078"/>
                  </a:lnTo>
                  <a:lnTo>
                    <a:pt x="365165" y="2005701"/>
                  </a:lnTo>
                  <a:lnTo>
                    <a:pt x="413651" y="1976410"/>
                  </a:lnTo>
                  <a:lnTo>
                    <a:pt x="464561" y="1956882"/>
                  </a:lnTo>
                  <a:lnTo>
                    <a:pt x="522743" y="1956882"/>
                  </a:lnTo>
                  <a:lnTo>
                    <a:pt x="578502" y="1971528"/>
                  </a:lnTo>
                  <a:lnTo>
                    <a:pt x="622139" y="2005701"/>
                  </a:lnTo>
                  <a:lnTo>
                    <a:pt x="656079" y="2052078"/>
                  </a:lnTo>
                  <a:lnTo>
                    <a:pt x="673049" y="2105779"/>
                  </a:lnTo>
                  <a:lnTo>
                    <a:pt x="673049" y="2161921"/>
                  </a:lnTo>
                  <a:lnTo>
                    <a:pt x="612442" y="2601288"/>
                  </a:lnTo>
                  <a:lnTo>
                    <a:pt x="1531245" y="1441846"/>
                  </a:lnTo>
                  <a:lnTo>
                    <a:pt x="1574882" y="1405232"/>
                  </a:lnTo>
                  <a:lnTo>
                    <a:pt x="1625792" y="1380823"/>
                  </a:lnTo>
                  <a:lnTo>
                    <a:pt x="1683974" y="1375941"/>
                  </a:lnTo>
                  <a:lnTo>
                    <a:pt x="1734885" y="1385705"/>
                  </a:lnTo>
                  <a:close/>
                  <a:moveTo>
                    <a:pt x="2036419" y="835021"/>
                  </a:moveTo>
                  <a:lnTo>
                    <a:pt x="2319649" y="1071574"/>
                  </a:lnTo>
                  <a:lnTo>
                    <a:pt x="2098196" y="1336724"/>
                  </a:lnTo>
                  <a:lnTo>
                    <a:pt x="1814966" y="1100171"/>
                  </a:lnTo>
                  <a:close/>
                  <a:moveTo>
                    <a:pt x="1536525" y="417510"/>
                  </a:moveTo>
                  <a:lnTo>
                    <a:pt x="1819755" y="654063"/>
                  </a:lnTo>
                  <a:lnTo>
                    <a:pt x="1598302" y="919214"/>
                  </a:lnTo>
                  <a:lnTo>
                    <a:pt x="1315073" y="682661"/>
                  </a:lnTo>
                  <a:close/>
                  <a:moveTo>
                    <a:pt x="1036632" y="0"/>
                  </a:moveTo>
                  <a:lnTo>
                    <a:pt x="1319862" y="236553"/>
                  </a:lnTo>
                  <a:lnTo>
                    <a:pt x="1098409" y="501703"/>
                  </a:lnTo>
                  <a:lnTo>
                    <a:pt x="815179" y="265150"/>
                  </a:lnTo>
                  <a:close/>
                </a:path>
              </a:pathLst>
            </a:custGeom>
            <a:grpFill/>
            <a:ln w="0">
              <a:noFill/>
              <a:prstDash val="solid"/>
              <a:round/>
              <a:headEnd/>
              <a:tailEnd/>
            </a:ln>
          </p:spPr>
          <p:txBody>
            <a:bodyPr vert="horz" wrap="square" lIns="65891" tIns="32946" rIns="65891" bIns="32946" numCol="1" anchor="t" anchorCtr="0" compatLnSpc="1">
              <a:prstTxWarp prst="textNoShape">
                <a:avLst/>
              </a:prstTxWarp>
            </a:bodyPr>
            <a:lstStyle/>
            <a:p>
              <a:pPr algn="ctr" defTabSz="658472">
                <a:defRPr/>
              </a:pPr>
              <a:endParaRPr lang="en-US" sz="1250" kern="0">
                <a:solidFill>
                  <a:srgbClr val="000000"/>
                </a:solidFill>
              </a:endParaRPr>
            </a:p>
          </p:txBody>
        </p:sp>
        <p:sp>
          <p:nvSpPr>
            <p:cNvPr id="65" name="handheld"/>
            <p:cNvSpPr>
              <a:spLocks noChangeAspect="1"/>
            </p:cNvSpPr>
            <p:nvPr/>
          </p:nvSpPr>
          <p:spPr bwMode="auto">
            <a:xfrm>
              <a:off x="6068808" y="-810289"/>
              <a:ext cx="396090" cy="274321"/>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13" tIns="33606" rIns="806554" bIns="33606" numCol="1" spcCol="0" rtlCol="0" fromWordArt="0" anchor="b" anchorCtr="0" forceAA="0" compatLnSpc="1">
              <a:prstTxWarp prst="textNoShape">
                <a:avLst/>
              </a:prstTxWarp>
              <a:noAutofit/>
            </a:bodyPr>
            <a:lstStyle/>
            <a:p>
              <a:pPr defTabSz="671483" fontAlgn="base">
                <a:spcBef>
                  <a:spcPct val="0"/>
                </a:spcBef>
                <a:spcAft>
                  <a:spcPct val="0"/>
                </a:spcAft>
                <a:defRPr/>
              </a:pPr>
              <a:endParaRPr lang="en-US" sz="1618" kern="0" spc="-37" dirty="0" err="1">
                <a:solidFill>
                  <a:srgbClr val="000000"/>
                </a:solidFill>
                <a:latin typeface="Segoe UI Light"/>
                <a:ea typeface="Segoe UI" pitchFamily="34" charset="0"/>
                <a:cs typeface="Segoe UI" pitchFamily="34" charset="0"/>
              </a:endParaRPr>
            </a:p>
          </p:txBody>
        </p:sp>
        <p:sp>
          <p:nvSpPr>
            <p:cNvPr id="66" name="Freeform 86"/>
            <p:cNvSpPr>
              <a:spLocks noEditPoints="1"/>
            </p:cNvSpPr>
            <p:nvPr/>
          </p:nvSpPr>
          <p:spPr bwMode="black">
            <a:xfrm>
              <a:off x="6488062" y="-249940"/>
              <a:ext cx="328185" cy="330088"/>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7213" tIns="33606" rIns="67213" bIns="33606" numCol="1" anchor="t" anchorCtr="0" compatLnSpc="1">
              <a:prstTxWarp prst="textNoShape">
                <a:avLst/>
              </a:prstTxWarp>
            </a:bodyPr>
            <a:lstStyle/>
            <a:p>
              <a:pPr defTabSz="685178"/>
              <a:endParaRPr lang="en-US" sz="1544">
                <a:solidFill>
                  <a:srgbClr val="000000"/>
                </a:solidFill>
              </a:endParaRPr>
            </a:p>
          </p:txBody>
        </p:sp>
      </p:grpSp>
      <p:grpSp>
        <p:nvGrpSpPr>
          <p:cNvPr id="67" name="Group 66"/>
          <p:cNvGrpSpPr/>
          <p:nvPr/>
        </p:nvGrpSpPr>
        <p:grpSpPr>
          <a:xfrm>
            <a:off x="1418643" y="3686236"/>
            <a:ext cx="541502" cy="329128"/>
            <a:chOff x="2012636" y="-279971"/>
            <a:chExt cx="734842" cy="447764"/>
          </a:xfrm>
          <a:solidFill>
            <a:schemeClr val="bg1"/>
          </a:solidFill>
        </p:grpSpPr>
        <p:sp>
          <p:nvSpPr>
            <p:cNvPr id="73" name="Donut 100"/>
            <p:cNvSpPr>
              <a:spLocks noChangeAspect="1"/>
            </p:cNvSpPr>
            <p:nvPr/>
          </p:nvSpPr>
          <p:spPr bwMode="auto">
            <a:xfrm>
              <a:off x="2012636" y="-139831"/>
              <a:ext cx="643825" cy="307624"/>
            </a:xfrm>
            <a:custGeom>
              <a:avLst/>
              <a:gdLst/>
              <a:ahLst/>
              <a:cxnLst/>
              <a:rect l="l" t="t" r="r" b="b"/>
              <a:pathLst>
                <a:path w="6911584" h="2912616">
                  <a:moveTo>
                    <a:pt x="4928423" y="2274235"/>
                  </a:moveTo>
                  <a:cubicBezTo>
                    <a:pt x="4810900" y="2274235"/>
                    <a:pt x="4715629" y="2369506"/>
                    <a:pt x="4715629" y="2487029"/>
                  </a:cubicBezTo>
                  <a:cubicBezTo>
                    <a:pt x="4715629" y="2604552"/>
                    <a:pt x="4810900" y="2699823"/>
                    <a:pt x="4928423" y="2699823"/>
                  </a:cubicBezTo>
                  <a:cubicBezTo>
                    <a:pt x="5045946" y="2699823"/>
                    <a:pt x="5141217" y="2604552"/>
                    <a:pt x="5141217" y="2487029"/>
                  </a:cubicBezTo>
                  <a:cubicBezTo>
                    <a:pt x="5141217" y="2369506"/>
                    <a:pt x="5045946" y="2274235"/>
                    <a:pt x="4928423" y="2274235"/>
                  </a:cubicBezTo>
                  <a:close/>
                  <a:moveTo>
                    <a:pt x="813623" y="2274235"/>
                  </a:moveTo>
                  <a:cubicBezTo>
                    <a:pt x="696100" y="2274235"/>
                    <a:pt x="600829" y="2369506"/>
                    <a:pt x="600829" y="2487029"/>
                  </a:cubicBezTo>
                  <a:cubicBezTo>
                    <a:pt x="600829" y="2604552"/>
                    <a:pt x="696100" y="2699823"/>
                    <a:pt x="813623" y="2699823"/>
                  </a:cubicBezTo>
                  <a:cubicBezTo>
                    <a:pt x="931146" y="2699823"/>
                    <a:pt x="1026417" y="2604552"/>
                    <a:pt x="1026417" y="2487029"/>
                  </a:cubicBezTo>
                  <a:cubicBezTo>
                    <a:pt x="1026417" y="2369506"/>
                    <a:pt x="931146" y="2274235"/>
                    <a:pt x="813623" y="2274235"/>
                  </a:cubicBezTo>
                  <a:close/>
                  <a:moveTo>
                    <a:pt x="4928422" y="2061442"/>
                  </a:moveTo>
                  <a:cubicBezTo>
                    <a:pt x="5163467" y="2061442"/>
                    <a:pt x="5354009" y="2251984"/>
                    <a:pt x="5354009" y="2487029"/>
                  </a:cubicBezTo>
                  <a:cubicBezTo>
                    <a:pt x="5354009" y="2722074"/>
                    <a:pt x="5163467" y="2912616"/>
                    <a:pt x="4928422" y="2912616"/>
                  </a:cubicBezTo>
                  <a:cubicBezTo>
                    <a:pt x="4693377" y="2912616"/>
                    <a:pt x="4502835" y="2722074"/>
                    <a:pt x="4502835" y="2487029"/>
                  </a:cubicBezTo>
                  <a:cubicBezTo>
                    <a:pt x="4502835" y="2251984"/>
                    <a:pt x="4693377" y="2061442"/>
                    <a:pt x="4928422" y="2061442"/>
                  </a:cubicBezTo>
                  <a:close/>
                  <a:moveTo>
                    <a:pt x="813622" y="2061442"/>
                  </a:moveTo>
                  <a:cubicBezTo>
                    <a:pt x="1048667" y="2061442"/>
                    <a:pt x="1239209" y="2251984"/>
                    <a:pt x="1239209" y="2487029"/>
                  </a:cubicBezTo>
                  <a:cubicBezTo>
                    <a:pt x="1239209" y="2722074"/>
                    <a:pt x="1048667" y="2912616"/>
                    <a:pt x="813622" y="2912616"/>
                  </a:cubicBezTo>
                  <a:cubicBezTo>
                    <a:pt x="578577" y="2912616"/>
                    <a:pt x="388035" y="2722074"/>
                    <a:pt x="388035" y="2487029"/>
                  </a:cubicBezTo>
                  <a:cubicBezTo>
                    <a:pt x="388035" y="2251984"/>
                    <a:pt x="578577" y="2061442"/>
                    <a:pt x="813622" y="2061442"/>
                  </a:cubicBezTo>
                  <a:close/>
                  <a:moveTo>
                    <a:pt x="2036754" y="1611385"/>
                  </a:moveTo>
                  <a:cubicBezTo>
                    <a:pt x="2013445" y="1611385"/>
                    <a:pt x="1994550" y="1630280"/>
                    <a:pt x="1994550" y="1653589"/>
                  </a:cubicBezTo>
                  <a:lnTo>
                    <a:pt x="1994550" y="1854931"/>
                  </a:lnTo>
                  <a:cubicBezTo>
                    <a:pt x="1994550" y="1878240"/>
                    <a:pt x="2013445" y="1897135"/>
                    <a:pt x="2036754" y="1897135"/>
                  </a:cubicBezTo>
                  <a:lnTo>
                    <a:pt x="2066645" y="1897135"/>
                  </a:lnTo>
                  <a:cubicBezTo>
                    <a:pt x="2089954" y="1897135"/>
                    <a:pt x="2108849" y="1878240"/>
                    <a:pt x="2108849" y="1854931"/>
                  </a:cubicBezTo>
                  <a:lnTo>
                    <a:pt x="2108849" y="1653589"/>
                  </a:lnTo>
                  <a:cubicBezTo>
                    <a:pt x="2108849" y="1630280"/>
                    <a:pt x="2089954" y="1611385"/>
                    <a:pt x="2066645" y="1611385"/>
                  </a:cubicBezTo>
                  <a:close/>
                  <a:moveTo>
                    <a:pt x="1475440" y="727942"/>
                  </a:moveTo>
                  <a:cubicBezTo>
                    <a:pt x="1454397" y="727942"/>
                    <a:pt x="1437338" y="745001"/>
                    <a:pt x="1437338" y="766044"/>
                  </a:cubicBezTo>
                  <a:lnTo>
                    <a:pt x="1437338" y="1383960"/>
                  </a:lnTo>
                  <a:cubicBezTo>
                    <a:pt x="1437338" y="1405003"/>
                    <a:pt x="1454397" y="1422062"/>
                    <a:pt x="1475440" y="1422062"/>
                  </a:cubicBezTo>
                  <a:lnTo>
                    <a:pt x="2070748" y="1422062"/>
                  </a:lnTo>
                  <a:cubicBezTo>
                    <a:pt x="2091791" y="1422062"/>
                    <a:pt x="2108850" y="1405003"/>
                    <a:pt x="2108850" y="1383960"/>
                  </a:cubicBezTo>
                  <a:lnTo>
                    <a:pt x="2108850" y="766044"/>
                  </a:lnTo>
                  <a:cubicBezTo>
                    <a:pt x="2108850" y="745001"/>
                    <a:pt x="2091791" y="727942"/>
                    <a:pt x="2070748" y="727942"/>
                  </a:cubicBezTo>
                  <a:close/>
                  <a:moveTo>
                    <a:pt x="1119593" y="646850"/>
                  </a:moveTo>
                  <a:lnTo>
                    <a:pt x="732731" y="1335162"/>
                  </a:lnTo>
                  <a:lnTo>
                    <a:pt x="848287" y="1415549"/>
                  </a:lnTo>
                  <a:lnTo>
                    <a:pt x="1124617" y="1400476"/>
                  </a:lnTo>
                  <a:cubicBezTo>
                    <a:pt x="1122942" y="1150942"/>
                    <a:pt x="1121269" y="876287"/>
                    <a:pt x="1119593" y="646850"/>
                  </a:cubicBezTo>
                  <a:close/>
                  <a:moveTo>
                    <a:pt x="1397179" y="570778"/>
                  </a:moveTo>
                  <a:lnTo>
                    <a:pt x="2125675" y="570778"/>
                  </a:lnTo>
                  <a:cubicBezTo>
                    <a:pt x="2202933" y="570778"/>
                    <a:pt x="2252218" y="637545"/>
                    <a:pt x="2252218" y="717081"/>
                  </a:cubicBezTo>
                  <a:cubicBezTo>
                    <a:pt x="2253123" y="910308"/>
                    <a:pt x="2249578" y="2044608"/>
                    <a:pt x="2248259" y="2269890"/>
                  </a:cubicBezTo>
                  <a:cubicBezTo>
                    <a:pt x="2250483" y="2331108"/>
                    <a:pt x="2252033" y="2459994"/>
                    <a:pt x="2105231" y="2459767"/>
                  </a:cubicBezTo>
                  <a:lnTo>
                    <a:pt x="1635886" y="2456926"/>
                  </a:lnTo>
                  <a:cubicBezTo>
                    <a:pt x="1549301" y="2441989"/>
                    <a:pt x="1520317" y="2406126"/>
                    <a:pt x="1487860" y="2315192"/>
                  </a:cubicBezTo>
                  <a:cubicBezTo>
                    <a:pt x="1453241" y="2211444"/>
                    <a:pt x="1369113" y="2004793"/>
                    <a:pt x="1281013" y="1739585"/>
                  </a:cubicBezTo>
                  <a:cubicBezTo>
                    <a:pt x="1281013" y="1190396"/>
                    <a:pt x="1277309" y="1261690"/>
                    <a:pt x="1277309" y="712501"/>
                  </a:cubicBezTo>
                  <a:cubicBezTo>
                    <a:pt x="1277309" y="632964"/>
                    <a:pt x="1319921" y="570778"/>
                    <a:pt x="1397179" y="570778"/>
                  </a:cubicBezTo>
                  <a:close/>
                  <a:moveTo>
                    <a:pt x="1378516" y="531296"/>
                  </a:moveTo>
                  <a:cubicBezTo>
                    <a:pt x="1295800" y="531296"/>
                    <a:pt x="1250178" y="595968"/>
                    <a:pt x="1250178" y="678684"/>
                  </a:cubicBezTo>
                  <a:cubicBezTo>
                    <a:pt x="1250178" y="1249827"/>
                    <a:pt x="1254144" y="1175683"/>
                    <a:pt x="1254144" y="1746826"/>
                  </a:cubicBezTo>
                  <a:cubicBezTo>
                    <a:pt x="1348468" y="2022635"/>
                    <a:pt x="1438538" y="2237547"/>
                    <a:pt x="1475603" y="2345442"/>
                  </a:cubicBezTo>
                  <a:cubicBezTo>
                    <a:pt x="1510353" y="2440012"/>
                    <a:pt x="1541385" y="2477308"/>
                    <a:pt x="1634086" y="2492842"/>
                  </a:cubicBezTo>
                  <a:lnTo>
                    <a:pt x="2136588" y="2495797"/>
                  </a:lnTo>
                  <a:cubicBezTo>
                    <a:pt x="2293761" y="2496033"/>
                    <a:pt x="2292101" y="2361995"/>
                    <a:pt x="2289720" y="2298329"/>
                  </a:cubicBezTo>
                  <a:cubicBezTo>
                    <a:pt x="2291132" y="2064042"/>
                    <a:pt x="2294928" y="884398"/>
                    <a:pt x="2293959" y="683448"/>
                  </a:cubicBezTo>
                  <a:cubicBezTo>
                    <a:pt x="2293959" y="600732"/>
                    <a:pt x="2241192" y="531296"/>
                    <a:pt x="2158476" y="531296"/>
                  </a:cubicBezTo>
                  <a:close/>
                  <a:moveTo>
                    <a:pt x="1423549" y="416"/>
                  </a:moveTo>
                  <a:cubicBezTo>
                    <a:pt x="1438368" y="-304"/>
                    <a:pt x="1455791" y="-118"/>
                    <a:pt x="1476421" y="1183"/>
                  </a:cubicBezTo>
                  <a:lnTo>
                    <a:pt x="6481089" y="10105"/>
                  </a:lnTo>
                  <a:cubicBezTo>
                    <a:pt x="6632014" y="13345"/>
                    <a:pt x="6655620" y="51095"/>
                    <a:pt x="6655050" y="184063"/>
                  </a:cubicBezTo>
                  <a:lnTo>
                    <a:pt x="6646128" y="2374162"/>
                  </a:lnTo>
                  <a:lnTo>
                    <a:pt x="6863866" y="2378147"/>
                  </a:lnTo>
                  <a:cubicBezTo>
                    <a:pt x="6877434" y="2384454"/>
                    <a:pt x="6910051" y="2397906"/>
                    <a:pt x="6906950" y="2418501"/>
                  </a:cubicBezTo>
                  <a:cubicBezTo>
                    <a:pt x="6907670" y="2461406"/>
                    <a:pt x="6908389" y="2504311"/>
                    <a:pt x="6909109" y="2547216"/>
                  </a:cubicBezTo>
                  <a:cubicBezTo>
                    <a:pt x="6920218" y="2597501"/>
                    <a:pt x="6893227" y="2619210"/>
                    <a:pt x="6842424" y="2621870"/>
                  </a:cubicBezTo>
                  <a:lnTo>
                    <a:pt x="5499782" y="2628410"/>
                  </a:lnTo>
                  <a:cubicBezTo>
                    <a:pt x="5461124" y="2372676"/>
                    <a:pt x="5294599" y="2012863"/>
                    <a:pt x="4928839" y="2021784"/>
                  </a:cubicBezTo>
                  <a:cubicBezTo>
                    <a:pt x="4563079" y="2030705"/>
                    <a:pt x="4451567" y="2316177"/>
                    <a:pt x="4380199" y="2623950"/>
                  </a:cubicBezTo>
                  <a:lnTo>
                    <a:pt x="1413975" y="2606108"/>
                  </a:lnTo>
                  <a:cubicBezTo>
                    <a:pt x="1330713" y="2347400"/>
                    <a:pt x="1185005" y="2039627"/>
                    <a:pt x="816270" y="2030705"/>
                  </a:cubicBezTo>
                  <a:cubicBezTo>
                    <a:pt x="447535" y="2021783"/>
                    <a:pt x="361300" y="2329558"/>
                    <a:pt x="294392" y="2458912"/>
                  </a:cubicBezTo>
                  <a:cubicBezTo>
                    <a:pt x="271687" y="2479538"/>
                    <a:pt x="308514" y="2502545"/>
                    <a:pt x="226278" y="2520790"/>
                  </a:cubicBezTo>
                  <a:lnTo>
                    <a:pt x="55873" y="2516259"/>
                  </a:lnTo>
                  <a:cubicBezTo>
                    <a:pt x="16901" y="2506858"/>
                    <a:pt x="4125" y="2495077"/>
                    <a:pt x="3253" y="2459482"/>
                  </a:cubicBezTo>
                  <a:cubicBezTo>
                    <a:pt x="1084" y="2355022"/>
                    <a:pt x="5613" y="2226184"/>
                    <a:pt x="0" y="2146678"/>
                  </a:cubicBezTo>
                  <a:cubicBezTo>
                    <a:pt x="66060" y="2122888"/>
                    <a:pt x="36869" y="2094337"/>
                    <a:pt x="55304" y="2068166"/>
                  </a:cubicBezTo>
                  <a:lnTo>
                    <a:pt x="51749" y="1667628"/>
                  </a:lnTo>
                  <a:cubicBezTo>
                    <a:pt x="59172" y="1613788"/>
                    <a:pt x="45162" y="1555186"/>
                    <a:pt x="102591" y="1548972"/>
                  </a:cubicBezTo>
                  <a:lnTo>
                    <a:pt x="611087" y="1308106"/>
                  </a:lnTo>
                  <a:lnTo>
                    <a:pt x="1289081" y="77011"/>
                  </a:lnTo>
                  <a:cubicBezTo>
                    <a:pt x="1343722" y="54894"/>
                    <a:pt x="1319816" y="5457"/>
                    <a:pt x="1423549" y="416"/>
                  </a:cubicBez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67213" tIns="33606" rIns="33606" bIns="67213" numCol="1" spcCol="0" rtlCol="0" fromWordArt="0" anchor="b" anchorCtr="0" forceAA="0" compatLnSpc="1">
              <a:prstTxWarp prst="textNoShape">
                <a:avLst/>
              </a:prstTxWarp>
              <a:noAutofit/>
            </a:bodyPr>
            <a:lstStyle/>
            <a:p>
              <a:pPr algn="ctr" defTabSz="671483" fontAlgn="base">
                <a:spcBef>
                  <a:spcPct val="0"/>
                </a:spcBef>
                <a:spcAft>
                  <a:spcPct val="0"/>
                </a:spcAft>
                <a:defRPr/>
              </a:pPr>
              <a:endParaRPr lang="en-US" sz="1324" kern="0" spc="-37" dirty="0" err="1">
                <a:solidFill>
                  <a:srgbClr val="000000"/>
                </a:solidFill>
                <a:ea typeface="Segoe UI" pitchFamily="34" charset="0"/>
                <a:cs typeface="Segoe UI" pitchFamily="34" charset="0"/>
              </a:endParaRPr>
            </a:p>
          </p:txBody>
        </p:sp>
        <p:sp>
          <p:nvSpPr>
            <p:cNvPr id="74" name="Frame 5"/>
            <p:cNvSpPr>
              <a:spLocks noChangeAspect="1"/>
            </p:cNvSpPr>
            <p:nvPr/>
          </p:nvSpPr>
          <p:spPr bwMode="auto">
            <a:xfrm>
              <a:off x="2427352" y="-279971"/>
              <a:ext cx="320126" cy="320040"/>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0655" tIns="40328" rIns="40328" bIns="80655" numCol="1" spcCol="0" rtlCol="0" fromWordArt="0" anchor="b" anchorCtr="0" forceAA="0" compatLnSpc="1">
              <a:prstTxWarp prst="textNoShape">
                <a:avLst/>
              </a:prstTxWarp>
              <a:noAutofit/>
            </a:bodyPr>
            <a:lstStyle/>
            <a:p>
              <a:pPr algn="ctr" defTabSz="805781" fontAlgn="base">
                <a:spcBef>
                  <a:spcPct val="0"/>
                </a:spcBef>
                <a:spcAft>
                  <a:spcPct val="0"/>
                </a:spcAft>
                <a:defRPr/>
              </a:pPr>
              <a:endParaRPr lang="en-US" sz="1765" kern="0" spc="-44" dirty="0" err="1">
                <a:solidFill>
                  <a:srgbClr val="000000"/>
                </a:solidFill>
                <a:ea typeface="Segoe UI" pitchFamily="34" charset="0"/>
                <a:cs typeface="Segoe UI" pitchFamily="34" charset="0"/>
              </a:endParaRPr>
            </a:p>
          </p:txBody>
        </p:sp>
      </p:grpSp>
      <p:pic>
        <p:nvPicPr>
          <p:cNvPr id="75" name="Picture 7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53097" y="3634671"/>
            <a:ext cx="470623" cy="470623"/>
          </a:xfrm>
          <a:prstGeom prst="rect">
            <a:avLst/>
          </a:prstGeom>
        </p:spPr>
      </p:pic>
      <p:pic>
        <p:nvPicPr>
          <p:cNvPr id="79" name="Picture 78"/>
          <p:cNvPicPr>
            <a:picLocks noChangeAspect="1"/>
          </p:cNvPicPr>
          <p:nvPr/>
        </p:nvPicPr>
        <p:blipFill>
          <a:blip r:embed="rId8"/>
          <a:stretch>
            <a:fillRect/>
          </a:stretch>
        </p:blipFill>
        <p:spPr>
          <a:xfrm>
            <a:off x="2467442" y="2037840"/>
            <a:ext cx="338419" cy="390234"/>
          </a:xfrm>
          <a:prstGeom prst="rect">
            <a:avLst/>
          </a:prstGeom>
        </p:spPr>
      </p:pic>
      <p:pic>
        <p:nvPicPr>
          <p:cNvPr id="82" name="Picture 2" descr="C:\Users\mitchellg\AppData\Local\Microsoft\Windows\Temporary Internet Files\Content.Outlook\DRES7FCJ\Storage_white (2).png"/>
          <p:cNvPicPr>
            <a:picLocks noChangeAspect="1" noChangeArrowheads="1"/>
          </p:cNvPicPr>
          <p:nvPr/>
        </p:nvPicPr>
        <p:blipFill>
          <a:blip r:embed="rId9" cstate="print">
            <a:lum bright="100000"/>
          </a:blip>
          <a:srcRect/>
          <a:stretch>
            <a:fillRect/>
          </a:stretch>
        </p:blipFill>
        <p:spPr bwMode="auto">
          <a:xfrm>
            <a:off x="2359232" y="3689875"/>
            <a:ext cx="463211" cy="463211"/>
          </a:xfrm>
          <a:prstGeom prst="rect">
            <a:avLst/>
          </a:prstGeom>
          <a:noFill/>
        </p:spPr>
      </p:pic>
      <p:pic>
        <p:nvPicPr>
          <p:cNvPr id="83" name="Picture 3"/>
          <p:cNvPicPr>
            <a:picLocks noChangeAspect="1"/>
          </p:cNvPicPr>
          <p:nvPr/>
        </p:nvPicPr>
        <p:blipFill>
          <a:blip r:embed="rId10">
            <a:biLevel thresh="25000"/>
            <a:extLst>
              <a:ext uri="{28A0092B-C50C-407E-A947-70E740481C1C}">
                <a14:useLocalDpi xmlns:a14="http://schemas.microsoft.com/office/drawing/2010/main" val="0"/>
              </a:ext>
            </a:extLst>
          </a:blip>
          <a:srcRect/>
          <a:stretch>
            <a:fillRect/>
          </a:stretch>
        </p:blipFill>
        <p:spPr bwMode="auto">
          <a:xfrm>
            <a:off x="4675076" y="2013913"/>
            <a:ext cx="415468" cy="438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7" name="Picture 6"/>
          <p:cNvPicPr>
            <a:picLocks noChangeAspect="1"/>
          </p:cNvPicPr>
          <p:nvPr/>
        </p:nvPicPr>
        <p:blipFill>
          <a:blip r:embed="rId11">
            <a:biLevel thresh="25000"/>
            <a:extLst>
              <a:ext uri="{28A0092B-C50C-407E-A947-70E740481C1C}">
                <a14:useLocalDpi xmlns:a14="http://schemas.microsoft.com/office/drawing/2010/main" val="0"/>
              </a:ext>
            </a:extLst>
          </a:blip>
          <a:srcRect/>
          <a:stretch>
            <a:fillRect/>
          </a:stretch>
        </p:blipFill>
        <p:spPr bwMode="auto">
          <a:xfrm>
            <a:off x="4661387" y="2905149"/>
            <a:ext cx="442849" cy="3845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8" name="Picture 87"/>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4494380" y="3519184"/>
            <a:ext cx="776860" cy="776860"/>
          </a:xfrm>
          <a:prstGeom prst="rect">
            <a:avLst/>
          </a:prstGeom>
        </p:spPr>
      </p:pic>
      <p:sp>
        <p:nvSpPr>
          <p:cNvPr id="89" name="TextBox 88"/>
          <p:cNvSpPr txBox="1"/>
          <p:nvPr/>
        </p:nvSpPr>
        <p:spPr>
          <a:xfrm>
            <a:off x="4715473" y="3850800"/>
            <a:ext cx="357727" cy="230832"/>
          </a:xfrm>
          <a:prstGeom prst="rect">
            <a:avLst/>
          </a:prstGeom>
          <a:noFill/>
          <a:ln>
            <a:noFill/>
            <a:headEnd type="none" w="med" len="med"/>
            <a:tailEnd type="none" w="med" len="med"/>
          </a:ln>
        </p:spPr>
        <p:txBody>
          <a:bodyPr wrap="square" lIns="0" tIns="0" rIns="0" bIns="0" rtlCol="0">
            <a:spAutoFit/>
          </a:bodyPr>
          <a:lstStyle/>
          <a:p>
            <a:pPr algn="ctr" defTabSz="685739"/>
            <a:r>
              <a:rPr lang="en-US" sz="1500" spc="-29" dirty="0">
                <a:solidFill>
                  <a:srgbClr val="4668C5"/>
                </a:solidFill>
                <a:ea typeface="Segoe UI" pitchFamily="34" charset="0"/>
                <a:cs typeface="Segoe UI" pitchFamily="34" charset="0"/>
              </a:rPr>
              <a:t>{  }</a:t>
            </a:r>
          </a:p>
        </p:txBody>
      </p:sp>
      <p:pic>
        <p:nvPicPr>
          <p:cNvPr id="90" name="Picture 2" descr="C:\Users\mitchellg\AppData\Local\Microsoft\Windows\Temporary Internet Files\Content.Outlook\DRES7FCJ\Storage_white (2).png"/>
          <p:cNvPicPr>
            <a:picLocks noChangeAspect="1" noChangeArrowheads="1"/>
          </p:cNvPicPr>
          <p:nvPr/>
        </p:nvPicPr>
        <p:blipFill>
          <a:blip r:embed="rId9" cstate="print">
            <a:lum bright="100000"/>
          </a:blip>
          <a:srcRect/>
          <a:stretch>
            <a:fillRect/>
          </a:stretch>
        </p:blipFill>
        <p:spPr bwMode="auto">
          <a:xfrm>
            <a:off x="4651207" y="4591906"/>
            <a:ext cx="463211" cy="463211"/>
          </a:xfrm>
          <a:prstGeom prst="rect">
            <a:avLst/>
          </a:prstGeom>
          <a:noFill/>
        </p:spPr>
      </p:pic>
      <p:pic>
        <p:nvPicPr>
          <p:cNvPr id="91" name="Picture 90"/>
          <p:cNvPicPr>
            <a:picLocks noChangeAspect="1"/>
          </p:cNvPicPr>
          <p:nvPr/>
        </p:nvPicPr>
        <p:blipFill>
          <a:blip r:embed="rId13" cstate="screen">
            <a:extLst>
              <a:ext uri="{28A0092B-C50C-407E-A947-70E740481C1C}">
                <a14:useLocalDpi xmlns:a14="http://schemas.microsoft.com/office/drawing/2010/main" val="0"/>
              </a:ext>
            </a:extLst>
          </a:blip>
          <a:stretch>
            <a:fillRect/>
          </a:stretch>
        </p:blipFill>
        <p:spPr>
          <a:xfrm>
            <a:off x="6842948" y="1863389"/>
            <a:ext cx="739136" cy="739136"/>
          </a:xfrm>
          <a:prstGeom prst="rect">
            <a:avLst/>
          </a:prstGeom>
        </p:spPr>
      </p:pic>
      <p:pic>
        <p:nvPicPr>
          <p:cNvPr id="92" name="Picture 2" descr="image00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6950052" y="3735471"/>
            <a:ext cx="547976" cy="40691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93" name="Picture 92"/>
          <p:cNvPicPr>
            <a:picLocks noChangeAspect="1"/>
          </p:cNvPicPr>
          <p:nvPr/>
        </p:nvPicPr>
        <p:blipFill>
          <a:blip r:embed="rId15" cstate="screen">
            <a:extLst>
              <a:ext uri="{28A0092B-C50C-407E-A947-70E740481C1C}">
                <a14:useLocalDpi xmlns:a14="http://schemas.microsoft.com/office/drawing/2010/main" val="0"/>
              </a:ext>
            </a:extLst>
          </a:blip>
          <a:stretch>
            <a:fillRect/>
          </a:stretch>
        </p:blipFill>
        <p:spPr>
          <a:xfrm>
            <a:off x="6915160" y="2843409"/>
            <a:ext cx="558341" cy="453418"/>
          </a:xfrm>
          <a:prstGeom prst="rect">
            <a:avLst/>
          </a:prstGeom>
        </p:spPr>
      </p:pic>
      <p:pic>
        <p:nvPicPr>
          <p:cNvPr id="95" name="Picture 11"/>
          <p:cNvPicPr>
            <a:picLocks noChangeAspect="1"/>
          </p:cNvPicPr>
          <p:nvPr/>
        </p:nvPicPr>
        <p:blipFill>
          <a:blip r:embed="rId16">
            <a:biLevel thresh="25000"/>
            <a:extLst>
              <a:ext uri="{28A0092B-C50C-407E-A947-70E740481C1C}">
                <a14:useLocalDpi xmlns:a14="http://schemas.microsoft.com/office/drawing/2010/main" val="0"/>
              </a:ext>
            </a:extLst>
          </a:blip>
          <a:srcRect/>
          <a:stretch>
            <a:fillRect/>
          </a:stretch>
        </p:blipFill>
        <p:spPr bwMode="auto">
          <a:xfrm>
            <a:off x="9362681" y="2024032"/>
            <a:ext cx="421421" cy="4178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6" name="Picture 73"/>
          <p:cNvPicPr>
            <a:picLocks noChangeAspect="1"/>
          </p:cNvPicPr>
          <p:nvPr/>
        </p:nvPicPr>
        <p:blipFill>
          <a:blip r:embed="rId17">
            <a:biLevel thresh="25000"/>
            <a:extLst>
              <a:ext uri="{28A0092B-C50C-407E-A947-70E740481C1C}">
                <a14:useLocalDpi xmlns:a14="http://schemas.microsoft.com/office/drawing/2010/main" val="0"/>
              </a:ext>
            </a:extLst>
          </a:blip>
          <a:srcRect/>
          <a:stretch>
            <a:fillRect/>
          </a:stretch>
        </p:blipFill>
        <p:spPr bwMode="auto">
          <a:xfrm>
            <a:off x="9437083" y="4603312"/>
            <a:ext cx="272614" cy="44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7" name="Picture 96"/>
          <p:cNvPicPr>
            <a:picLocks noChangeAspect="1"/>
          </p:cNvPicPr>
          <p:nvPr/>
        </p:nvPicPr>
        <p:blipFill>
          <a:blip r:embed="rId18" cstate="print">
            <a:biLevel thresh="25000"/>
            <a:extLst>
              <a:ext uri="{28A0092B-C50C-407E-A947-70E740481C1C}">
                <a14:useLocalDpi xmlns:a14="http://schemas.microsoft.com/office/drawing/2010/main" val="0"/>
              </a:ext>
            </a:extLst>
          </a:blip>
          <a:stretch>
            <a:fillRect/>
          </a:stretch>
        </p:blipFill>
        <p:spPr>
          <a:xfrm>
            <a:off x="9401626" y="3771591"/>
            <a:ext cx="366578" cy="366578"/>
          </a:xfrm>
          <a:prstGeom prst="rect">
            <a:avLst/>
          </a:prstGeom>
        </p:spPr>
      </p:pic>
      <p:pic>
        <p:nvPicPr>
          <p:cNvPr id="98" name="Picture 97"/>
          <p:cNvPicPr>
            <a:picLocks noChangeAspect="1"/>
          </p:cNvPicPr>
          <p:nvPr/>
        </p:nvPicPr>
        <p:blipFill rotWithShape="1">
          <a:blip r:embed="rId19" cstate="screen">
            <a:extLst>
              <a:ext uri="{28A0092B-C50C-407E-A947-70E740481C1C}">
                <a14:useLocalDpi xmlns:a14="http://schemas.microsoft.com/office/drawing/2010/main" val="0"/>
              </a:ext>
            </a:extLst>
          </a:blip>
          <a:srcRect t="-1" r="-9452" b="-4026"/>
          <a:stretch/>
        </p:blipFill>
        <p:spPr>
          <a:xfrm>
            <a:off x="9383024" y="2899174"/>
            <a:ext cx="385181" cy="373799"/>
          </a:xfrm>
          <a:prstGeom prst="rect">
            <a:avLst/>
          </a:prstGeom>
        </p:spPr>
      </p:pic>
      <p:pic>
        <p:nvPicPr>
          <p:cNvPr id="3" name="Picture 2"/>
          <p:cNvPicPr>
            <a:picLocks noChangeAspect="1"/>
          </p:cNvPicPr>
          <p:nvPr/>
        </p:nvPicPr>
        <p:blipFill>
          <a:blip r:embed="rId20" cstate="print">
            <a:biLevel thresh="25000"/>
            <a:extLst>
              <a:ext uri="{28A0092B-C50C-407E-A947-70E740481C1C}">
                <a14:useLocalDpi xmlns:a14="http://schemas.microsoft.com/office/drawing/2010/main" val="0"/>
              </a:ext>
            </a:extLst>
          </a:blip>
          <a:stretch>
            <a:fillRect/>
          </a:stretch>
        </p:blipFill>
        <p:spPr>
          <a:xfrm>
            <a:off x="7016345" y="4557666"/>
            <a:ext cx="470161" cy="470161"/>
          </a:xfrm>
          <a:prstGeom prst="rect">
            <a:avLst/>
          </a:prstGeom>
        </p:spPr>
      </p:pic>
      <p:pic>
        <p:nvPicPr>
          <p:cNvPr id="4" name="Picture 3"/>
          <p:cNvPicPr>
            <a:picLocks noChangeAspect="1"/>
          </p:cNvPicPr>
          <p:nvPr/>
        </p:nvPicPr>
        <p:blipFill>
          <a:blip r:embed="rId21" cstate="print">
            <a:biLevel thresh="25000"/>
            <a:extLst>
              <a:ext uri="{28A0092B-C50C-407E-A947-70E740481C1C}">
                <a14:useLocalDpi xmlns:a14="http://schemas.microsoft.com/office/drawing/2010/main" val="0"/>
              </a:ext>
            </a:extLst>
          </a:blip>
          <a:stretch>
            <a:fillRect/>
          </a:stretch>
        </p:blipFill>
        <p:spPr>
          <a:xfrm>
            <a:off x="2454784" y="2897989"/>
            <a:ext cx="398838" cy="398838"/>
          </a:xfrm>
          <a:prstGeom prst="rect">
            <a:avLst/>
          </a:prstGeom>
        </p:spPr>
      </p:pic>
      <p:pic>
        <p:nvPicPr>
          <p:cNvPr id="5" name="Picture 4"/>
          <p:cNvPicPr>
            <a:picLocks noChangeAspect="1"/>
          </p:cNvPicPr>
          <p:nvPr/>
        </p:nvPicPr>
        <p:blipFill>
          <a:blip r:embed="rId22" cstate="print">
            <a:biLevel thresh="25000"/>
            <a:extLst>
              <a:ext uri="{28A0092B-C50C-407E-A947-70E740481C1C}">
                <a14:useLocalDpi xmlns:a14="http://schemas.microsoft.com/office/drawing/2010/main" val="0"/>
              </a:ext>
            </a:extLst>
          </a:blip>
          <a:stretch>
            <a:fillRect/>
          </a:stretch>
        </p:blipFill>
        <p:spPr>
          <a:xfrm>
            <a:off x="9362680" y="5446357"/>
            <a:ext cx="478512" cy="478512"/>
          </a:xfrm>
          <a:prstGeom prst="rect">
            <a:avLst/>
          </a:prstGeom>
        </p:spPr>
      </p:pic>
      <p:sp>
        <p:nvSpPr>
          <p:cNvPr id="2" name="Rectangle 1"/>
          <p:cNvSpPr/>
          <p:nvPr/>
        </p:nvSpPr>
        <p:spPr>
          <a:xfrm>
            <a:off x="6935987" y="-429141"/>
            <a:ext cx="1153714" cy="369332"/>
          </a:xfrm>
          <a:prstGeom prst="rect">
            <a:avLst/>
          </a:prstGeom>
        </p:spPr>
        <p:txBody>
          <a:bodyPr wrap="none">
            <a:spAutoFit/>
          </a:bodyPr>
          <a:lstStyle/>
          <a:p>
            <a:pPr lvl="0"/>
            <a:r>
              <a:rPr lang="en-GB" b="1" dirty="0">
                <a:solidFill>
                  <a:srgbClr val="FFFFFF"/>
                </a:solidFill>
                <a:latin typeface="Segoe UI Light"/>
              </a:rPr>
              <a:t>Producers</a:t>
            </a:r>
            <a:endParaRPr lang="en-US" b="1" dirty="0">
              <a:solidFill>
                <a:prstClr val="white"/>
              </a:solidFill>
              <a:latin typeface="Segoe UI Light"/>
            </a:endParaRPr>
          </a:p>
        </p:txBody>
      </p:sp>
    </p:spTree>
    <p:extLst>
      <p:ext uri="{BB962C8B-B14F-4D97-AF65-F5344CB8AC3E}">
        <p14:creationId xmlns:p14="http://schemas.microsoft.com/office/powerpoint/2010/main" val="40978023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 calcmode="lin" valueType="num">
                                      <p:cBhvr additive="base">
                                        <p:cTn id="7" dur="500" fill="hold"/>
                                        <p:tgtEl>
                                          <p:spTgt spid="32"/>
                                        </p:tgtEl>
                                        <p:attrNameLst>
                                          <p:attrName>ppt_x</p:attrName>
                                        </p:attrNameLst>
                                      </p:cBhvr>
                                      <p:tavLst>
                                        <p:tav tm="0">
                                          <p:val>
                                            <p:strVal val="1+#ppt_w/2"/>
                                          </p:val>
                                        </p:tav>
                                        <p:tav tm="100000">
                                          <p:val>
                                            <p:strVal val="#ppt_x"/>
                                          </p:val>
                                        </p:tav>
                                      </p:tavLst>
                                    </p:anim>
                                    <p:anim calcmode="lin" valueType="num">
                                      <p:cBhvr additive="base">
                                        <p:cTn id="8" dur="500" fill="hold"/>
                                        <p:tgtEl>
                                          <p:spTgt spid="32"/>
                                        </p:tgtEl>
                                        <p:attrNameLst>
                                          <p:attrName>ppt_y</p:attrName>
                                        </p:attrNameLst>
                                      </p:cBhvr>
                                      <p:tavLst>
                                        <p:tav tm="0">
                                          <p:val>
                                            <p:strVal val="#ppt_y"/>
                                          </p:val>
                                        </p:tav>
                                        <p:tav tm="100000">
                                          <p:val>
                                            <p:strVal val="#ppt_y"/>
                                          </p:val>
                                        </p:tav>
                                      </p:tavLst>
                                    </p:anim>
                                  </p:childTnLst>
                                </p:cTn>
                              </p:par>
                              <p:par>
                                <p:cTn id="9" presetID="2" presetClass="entr" presetSubtype="2" fill="hold" nodeType="withEffect">
                                  <p:stCondLst>
                                    <p:cond delay="0"/>
                                  </p:stCondLst>
                                  <p:childTnLst>
                                    <p:set>
                                      <p:cBhvr>
                                        <p:cTn id="10" dur="1" fill="hold">
                                          <p:stCondLst>
                                            <p:cond delay="0"/>
                                          </p:stCondLst>
                                        </p:cTn>
                                        <p:tgtEl>
                                          <p:spTgt spid="75"/>
                                        </p:tgtEl>
                                        <p:attrNameLst>
                                          <p:attrName>style.visibility</p:attrName>
                                        </p:attrNameLst>
                                      </p:cBhvr>
                                      <p:to>
                                        <p:strVal val="visible"/>
                                      </p:to>
                                    </p:set>
                                    <p:anim calcmode="lin" valueType="num">
                                      <p:cBhvr additive="base">
                                        <p:cTn id="11" dur="500" fill="hold"/>
                                        <p:tgtEl>
                                          <p:spTgt spid="75"/>
                                        </p:tgtEl>
                                        <p:attrNameLst>
                                          <p:attrName>ppt_x</p:attrName>
                                        </p:attrNameLst>
                                      </p:cBhvr>
                                      <p:tavLst>
                                        <p:tav tm="0">
                                          <p:val>
                                            <p:strVal val="1+#ppt_w/2"/>
                                          </p:val>
                                        </p:tav>
                                        <p:tav tm="100000">
                                          <p:val>
                                            <p:strVal val="#ppt_x"/>
                                          </p:val>
                                        </p:tav>
                                      </p:tavLst>
                                    </p:anim>
                                    <p:anim calcmode="lin" valueType="num">
                                      <p:cBhvr additive="base">
                                        <p:cTn id="12" dur="500" fill="hold"/>
                                        <p:tgtEl>
                                          <p:spTgt spid="75"/>
                                        </p:tgtEl>
                                        <p:attrNameLst>
                                          <p:attrName>ppt_y</p:attrName>
                                        </p:attrNameLst>
                                      </p:cBhvr>
                                      <p:tavLst>
                                        <p:tav tm="0">
                                          <p:val>
                                            <p:strVal val="#ppt_y"/>
                                          </p:val>
                                        </p:tav>
                                        <p:tav tm="100000">
                                          <p:val>
                                            <p:strVal val="#ppt_y"/>
                                          </p:val>
                                        </p:tav>
                                      </p:tavLst>
                                    </p:anim>
                                  </p:childTnLst>
                                </p:cTn>
                              </p:par>
                              <p:par>
                                <p:cTn id="13" presetID="2" presetClass="entr" presetSubtype="2" fill="hold" nodeType="withEffect">
                                  <p:stCondLst>
                                    <p:cond delay="0"/>
                                  </p:stCondLst>
                                  <p:childTnLst>
                                    <p:set>
                                      <p:cBhvr>
                                        <p:cTn id="14" dur="1" fill="hold">
                                          <p:stCondLst>
                                            <p:cond delay="0"/>
                                          </p:stCondLst>
                                        </p:cTn>
                                        <p:tgtEl>
                                          <p:spTgt spid="79"/>
                                        </p:tgtEl>
                                        <p:attrNameLst>
                                          <p:attrName>style.visibility</p:attrName>
                                        </p:attrNameLst>
                                      </p:cBhvr>
                                      <p:to>
                                        <p:strVal val="visible"/>
                                      </p:to>
                                    </p:set>
                                    <p:anim calcmode="lin" valueType="num">
                                      <p:cBhvr additive="base">
                                        <p:cTn id="15" dur="500" fill="hold"/>
                                        <p:tgtEl>
                                          <p:spTgt spid="79"/>
                                        </p:tgtEl>
                                        <p:attrNameLst>
                                          <p:attrName>ppt_x</p:attrName>
                                        </p:attrNameLst>
                                      </p:cBhvr>
                                      <p:tavLst>
                                        <p:tav tm="0">
                                          <p:val>
                                            <p:strVal val="1+#ppt_w/2"/>
                                          </p:val>
                                        </p:tav>
                                        <p:tav tm="100000">
                                          <p:val>
                                            <p:strVal val="#ppt_x"/>
                                          </p:val>
                                        </p:tav>
                                      </p:tavLst>
                                    </p:anim>
                                    <p:anim calcmode="lin" valueType="num">
                                      <p:cBhvr additive="base">
                                        <p:cTn id="16" dur="500" fill="hold"/>
                                        <p:tgtEl>
                                          <p:spTgt spid="79"/>
                                        </p:tgtEl>
                                        <p:attrNameLst>
                                          <p:attrName>ppt_y</p:attrName>
                                        </p:attrNameLst>
                                      </p:cBhvr>
                                      <p:tavLst>
                                        <p:tav tm="0">
                                          <p:val>
                                            <p:strVal val="#ppt_y"/>
                                          </p:val>
                                        </p:tav>
                                        <p:tav tm="100000">
                                          <p:val>
                                            <p:strVal val="#ppt_y"/>
                                          </p:val>
                                        </p:tav>
                                      </p:tavLst>
                                    </p:anim>
                                  </p:childTnLst>
                                </p:cTn>
                              </p:par>
                              <p:par>
                                <p:cTn id="17" presetID="2" presetClass="entr" presetSubtype="2" fill="hold" nodeType="withEffect">
                                  <p:stCondLst>
                                    <p:cond delay="0"/>
                                  </p:stCondLst>
                                  <p:childTnLst>
                                    <p:set>
                                      <p:cBhvr>
                                        <p:cTn id="18" dur="1" fill="hold">
                                          <p:stCondLst>
                                            <p:cond delay="0"/>
                                          </p:stCondLst>
                                        </p:cTn>
                                        <p:tgtEl>
                                          <p:spTgt spid="82"/>
                                        </p:tgtEl>
                                        <p:attrNameLst>
                                          <p:attrName>style.visibility</p:attrName>
                                        </p:attrNameLst>
                                      </p:cBhvr>
                                      <p:to>
                                        <p:strVal val="visible"/>
                                      </p:to>
                                    </p:set>
                                    <p:anim calcmode="lin" valueType="num">
                                      <p:cBhvr additive="base">
                                        <p:cTn id="19" dur="500" fill="hold"/>
                                        <p:tgtEl>
                                          <p:spTgt spid="82"/>
                                        </p:tgtEl>
                                        <p:attrNameLst>
                                          <p:attrName>ppt_x</p:attrName>
                                        </p:attrNameLst>
                                      </p:cBhvr>
                                      <p:tavLst>
                                        <p:tav tm="0">
                                          <p:val>
                                            <p:strVal val="1+#ppt_w/2"/>
                                          </p:val>
                                        </p:tav>
                                        <p:tav tm="100000">
                                          <p:val>
                                            <p:strVal val="#ppt_x"/>
                                          </p:val>
                                        </p:tav>
                                      </p:tavLst>
                                    </p:anim>
                                    <p:anim calcmode="lin" valueType="num">
                                      <p:cBhvr additive="base">
                                        <p:cTn id="20" dur="500" fill="hold"/>
                                        <p:tgtEl>
                                          <p:spTgt spid="82"/>
                                        </p:tgtEl>
                                        <p:attrNameLst>
                                          <p:attrName>ppt_y</p:attrName>
                                        </p:attrNameLst>
                                      </p:cBhvr>
                                      <p:tavLst>
                                        <p:tav tm="0">
                                          <p:val>
                                            <p:strVal val="#ppt_y"/>
                                          </p:val>
                                        </p:tav>
                                        <p:tav tm="100000">
                                          <p:val>
                                            <p:strVal val="#ppt_y"/>
                                          </p:val>
                                        </p:tav>
                                      </p:tavLst>
                                    </p:anim>
                                  </p:childTnLst>
                                </p:cTn>
                              </p:par>
                              <p:par>
                                <p:cTn id="21" presetID="2" presetClass="entr" presetSubtype="2" fill="hold" nodeType="withEffect">
                                  <p:stCondLst>
                                    <p:cond delay="0"/>
                                  </p:stCondLst>
                                  <p:childTnLst>
                                    <p:set>
                                      <p:cBhvr>
                                        <p:cTn id="22" dur="1" fill="hold">
                                          <p:stCondLst>
                                            <p:cond delay="0"/>
                                          </p:stCondLst>
                                        </p:cTn>
                                        <p:tgtEl>
                                          <p:spTgt spid="83"/>
                                        </p:tgtEl>
                                        <p:attrNameLst>
                                          <p:attrName>style.visibility</p:attrName>
                                        </p:attrNameLst>
                                      </p:cBhvr>
                                      <p:to>
                                        <p:strVal val="visible"/>
                                      </p:to>
                                    </p:set>
                                    <p:anim calcmode="lin" valueType="num">
                                      <p:cBhvr additive="base">
                                        <p:cTn id="23" dur="500" fill="hold"/>
                                        <p:tgtEl>
                                          <p:spTgt spid="83"/>
                                        </p:tgtEl>
                                        <p:attrNameLst>
                                          <p:attrName>ppt_x</p:attrName>
                                        </p:attrNameLst>
                                      </p:cBhvr>
                                      <p:tavLst>
                                        <p:tav tm="0">
                                          <p:val>
                                            <p:strVal val="1+#ppt_w/2"/>
                                          </p:val>
                                        </p:tav>
                                        <p:tav tm="100000">
                                          <p:val>
                                            <p:strVal val="#ppt_x"/>
                                          </p:val>
                                        </p:tav>
                                      </p:tavLst>
                                    </p:anim>
                                    <p:anim calcmode="lin" valueType="num">
                                      <p:cBhvr additive="base">
                                        <p:cTn id="24" dur="500" fill="hold"/>
                                        <p:tgtEl>
                                          <p:spTgt spid="83"/>
                                        </p:tgtEl>
                                        <p:attrNameLst>
                                          <p:attrName>ppt_y</p:attrName>
                                        </p:attrNameLst>
                                      </p:cBhvr>
                                      <p:tavLst>
                                        <p:tav tm="0">
                                          <p:val>
                                            <p:strVal val="#ppt_y"/>
                                          </p:val>
                                        </p:tav>
                                        <p:tav tm="100000">
                                          <p:val>
                                            <p:strVal val="#ppt_y"/>
                                          </p:val>
                                        </p:tav>
                                      </p:tavLst>
                                    </p:anim>
                                  </p:childTnLst>
                                </p:cTn>
                              </p:par>
                              <p:par>
                                <p:cTn id="25" presetID="2" presetClass="entr" presetSubtype="2" fill="hold" nodeType="withEffect">
                                  <p:stCondLst>
                                    <p:cond delay="0"/>
                                  </p:stCondLst>
                                  <p:childTnLst>
                                    <p:set>
                                      <p:cBhvr>
                                        <p:cTn id="26" dur="1" fill="hold">
                                          <p:stCondLst>
                                            <p:cond delay="0"/>
                                          </p:stCondLst>
                                        </p:cTn>
                                        <p:tgtEl>
                                          <p:spTgt spid="87"/>
                                        </p:tgtEl>
                                        <p:attrNameLst>
                                          <p:attrName>style.visibility</p:attrName>
                                        </p:attrNameLst>
                                      </p:cBhvr>
                                      <p:to>
                                        <p:strVal val="visible"/>
                                      </p:to>
                                    </p:set>
                                    <p:anim calcmode="lin" valueType="num">
                                      <p:cBhvr additive="base">
                                        <p:cTn id="27" dur="500" fill="hold"/>
                                        <p:tgtEl>
                                          <p:spTgt spid="87"/>
                                        </p:tgtEl>
                                        <p:attrNameLst>
                                          <p:attrName>ppt_x</p:attrName>
                                        </p:attrNameLst>
                                      </p:cBhvr>
                                      <p:tavLst>
                                        <p:tav tm="0">
                                          <p:val>
                                            <p:strVal val="1+#ppt_w/2"/>
                                          </p:val>
                                        </p:tav>
                                        <p:tav tm="100000">
                                          <p:val>
                                            <p:strVal val="#ppt_x"/>
                                          </p:val>
                                        </p:tav>
                                      </p:tavLst>
                                    </p:anim>
                                    <p:anim calcmode="lin" valueType="num">
                                      <p:cBhvr additive="base">
                                        <p:cTn id="28" dur="500" fill="hold"/>
                                        <p:tgtEl>
                                          <p:spTgt spid="87"/>
                                        </p:tgtEl>
                                        <p:attrNameLst>
                                          <p:attrName>ppt_y</p:attrName>
                                        </p:attrNameLst>
                                      </p:cBhvr>
                                      <p:tavLst>
                                        <p:tav tm="0">
                                          <p:val>
                                            <p:strVal val="#ppt_y"/>
                                          </p:val>
                                        </p:tav>
                                        <p:tav tm="100000">
                                          <p:val>
                                            <p:strVal val="#ppt_y"/>
                                          </p:val>
                                        </p:tav>
                                      </p:tavLst>
                                    </p:anim>
                                  </p:childTnLst>
                                </p:cTn>
                              </p:par>
                              <p:par>
                                <p:cTn id="29" presetID="2" presetClass="entr" presetSubtype="2" fill="hold" grpId="0" nodeType="withEffect">
                                  <p:stCondLst>
                                    <p:cond delay="0"/>
                                  </p:stCondLst>
                                  <p:childTnLst>
                                    <p:set>
                                      <p:cBhvr>
                                        <p:cTn id="30" dur="1" fill="hold">
                                          <p:stCondLst>
                                            <p:cond delay="0"/>
                                          </p:stCondLst>
                                        </p:cTn>
                                        <p:tgtEl>
                                          <p:spTgt spid="89"/>
                                        </p:tgtEl>
                                        <p:attrNameLst>
                                          <p:attrName>style.visibility</p:attrName>
                                        </p:attrNameLst>
                                      </p:cBhvr>
                                      <p:to>
                                        <p:strVal val="visible"/>
                                      </p:to>
                                    </p:set>
                                    <p:anim calcmode="lin" valueType="num">
                                      <p:cBhvr additive="base">
                                        <p:cTn id="31" dur="500" fill="hold"/>
                                        <p:tgtEl>
                                          <p:spTgt spid="89"/>
                                        </p:tgtEl>
                                        <p:attrNameLst>
                                          <p:attrName>ppt_x</p:attrName>
                                        </p:attrNameLst>
                                      </p:cBhvr>
                                      <p:tavLst>
                                        <p:tav tm="0">
                                          <p:val>
                                            <p:strVal val="1+#ppt_w/2"/>
                                          </p:val>
                                        </p:tav>
                                        <p:tav tm="100000">
                                          <p:val>
                                            <p:strVal val="#ppt_x"/>
                                          </p:val>
                                        </p:tav>
                                      </p:tavLst>
                                    </p:anim>
                                    <p:anim calcmode="lin" valueType="num">
                                      <p:cBhvr additive="base">
                                        <p:cTn id="32" dur="500" fill="hold"/>
                                        <p:tgtEl>
                                          <p:spTgt spid="89"/>
                                        </p:tgtEl>
                                        <p:attrNameLst>
                                          <p:attrName>ppt_y</p:attrName>
                                        </p:attrNameLst>
                                      </p:cBhvr>
                                      <p:tavLst>
                                        <p:tav tm="0">
                                          <p:val>
                                            <p:strVal val="#ppt_y"/>
                                          </p:val>
                                        </p:tav>
                                        <p:tav tm="100000">
                                          <p:val>
                                            <p:strVal val="#ppt_y"/>
                                          </p:val>
                                        </p:tav>
                                      </p:tavLst>
                                    </p:anim>
                                  </p:childTnLst>
                                </p:cTn>
                              </p:par>
                              <p:par>
                                <p:cTn id="33" presetID="2" presetClass="entr" presetSubtype="2" fill="hold" nodeType="withEffect">
                                  <p:stCondLst>
                                    <p:cond delay="0"/>
                                  </p:stCondLst>
                                  <p:childTnLst>
                                    <p:set>
                                      <p:cBhvr>
                                        <p:cTn id="34" dur="1" fill="hold">
                                          <p:stCondLst>
                                            <p:cond delay="0"/>
                                          </p:stCondLst>
                                        </p:cTn>
                                        <p:tgtEl>
                                          <p:spTgt spid="91"/>
                                        </p:tgtEl>
                                        <p:attrNameLst>
                                          <p:attrName>style.visibility</p:attrName>
                                        </p:attrNameLst>
                                      </p:cBhvr>
                                      <p:to>
                                        <p:strVal val="visible"/>
                                      </p:to>
                                    </p:set>
                                    <p:anim calcmode="lin" valueType="num">
                                      <p:cBhvr additive="base">
                                        <p:cTn id="35" dur="500" fill="hold"/>
                                        <p:tgtEl>
                                          <p:spTgt spid="91"/>
                                        </p:tgtEl>
                                        <p:attrNameLst>
                                          <p:attrName>ppt_x</p:attrName>
                                        </p:attrNameLst>
                                      </p:cBhvr>
                                      <p:tavLst>
                                        <p:tav tm="0">
                                          <p:val>
                                            <p:strVal val="1+#ppt_w/2"/>
                                          </p:val>
                                        </p:tav>
                                        <p:tav tm="100000">
                                          <p:val>
                                            <p:strVal val="#ppt_x"/>
                                          </p:val>
                                        </p:tav>
                                      </p:tavLst>
                                    </p:anim>
                                    <p:anim calcmode="lin" valueType="num">
                                      <p:cBhvr additive="base">
                                        <p:cTn id="36" dur="500" fill="hold"/>
                                        <p:tgtEl>
                                          <p:spTgt spid="91"/>
                                        </p:tgtEl>
                                        <p:attrNameLst>
                                          <p:attrName>ppt_y</p:attrName>
                                        </p:attrNameLst>
                                      </p:cBhvr>
                                      <p:tavLst>
                                        <p:tav tm="0">
                                          <p:val>
                                            <p:strVal val="#ppt_y"/>
                                          </p:val>
                                        </p:tav>
                                        <p:tav tm="100000">
                                          <p:val>
                                            <p:strVal val="#ppt_y"/>
                                          </p:val>
                                        </p:tav>
                                      </p:tavLst>
                                    </p:anim>
                                  </p:childTnLst>
                                </p:cTn>
                              </p:par>
                              <p:par>
                                <p:cTn id="37" presetID="2" presetClass="entr" presetSubtype="2" fill="hold" nodeType="withEffect">
                                  <p:stCondLst>
                                    <p:cond delay="0"/>
                                  </p:stCondLst>
                                  <p:childTnLst>
                                    <p:set>
                                      <p:cBhvr>
                                        <p:cTn id="38" dur="1" fill="hold">
                                          <p:stCondLst>
                                            <p:cond delay="0"/>
                                          </p:stCondLst>
                                        </p:cTn>
                                        <p:tgtEl>
                                          <p:spTgt spid="92"/>
                                        </p:tgtEl>
                                        <p:attrNameLst>
                                          <p:attrName>style.visibility</p:attrName>
                                        </p:attrNameLst>
                                      </p:cBhvr>
                                      <p:to>
                                        <p:strVal val="visible"/>
                                      </p:to>
                                    </p:set>
                                    <p:anim calcmode="lin" valueType="num">
                                      <p:cBhvr additive="base">
                                        <p:cTn id="39" dur="500" fill="hold"/>
                                        <p:tgtEl>
                                          <p:spTgt spid="92"/>
                                        </p:tgtEl>
                                        <p:attrNameLst>
                                          <p:attrName>ppt_x</p:attrName>
                                        </p:attrNameLst>
                                      </p:cBhvr>
                                      <p:tavLst>
                                        <p:tav tm="0">
                                          <p:val>
                                            <p:strVal val="1+#ppt_w/2"/>
                                          </p:val>
                                        </p:tav>
                                        <p:tav tm="100000">
                                          <p:val>
                                            <p:strVal val="#ppt_x"/>
                                          </p:val>
                                        </p:tav>
                                      </p:tavLst>
                                    </p:anim>
                                    <p:anim calcmode="lin" valueType="num">
                                      <p:cBhvr additive="base">
                                        <p:cTn id="40" dur="500" fill="hold"/>
                                        <p:tgtEl>
                                          <p:spTgt spid="92"/>
                                        </p:tgtEl>
                                        <p:attrNameLst>
                                          <p:attrName>ppt_y</p:attrName>
                                        </p:attrNameLst>
                                      </p:cBhvr>
                                      <p:tavLst>
                                        <p:tav tm="0">
                                          <p:val>
                                            <p:strVal val="#ppt_y"/>
                                          </p:val>
                                        </p:tav>
                                        <p:tav tm="100000">
                                          <p:val>
                                            <p:strVal val="#ppt_y"/>
                                          </p:val>
                                        </p:tav>
                                      </p:tavLst>
                                    </p:anim>
                                  </p:childTnLst>
                                </p:cTn>
                              </p:par>
                              <p:par>
                                <p:cTn id="41" presetID="2" presetClass="entr" presetSubtype="2" fill="hold" nodeType="withEffect">
                                  <p:stCondLst>
                                    <p:cond delay="0"/>
                                  </p:stCondLst>
                                  <p:childTnLst>
                                    <p:set>
                                      <p:cBhvr>
                                        <p:cTn id="42" dur="1" fill="hold">
                                          <p:stCondLst>
                                            <p:cond delay="0"/>
                                          </p:stCondLst>
                                        </p:cTn>
                                        <p:tgtEl>
                                          <p:spTgt spid="93"/>
                                        </p:tgtEl>
                                        <p:attrNameLst>
                                          <p:attrName>style.visibility</p:attrName>
                                        </p:attrNameLst>
                                      </p:cBhvr>
                                      <p:to>
                                        <p:strVal val="visible"/>
                                      </p:to>
                                    </p:set>
                                    <p:anim calcmode="lin" valueType="num">
                                      <p:cBhvr additive="base">
                                        <p:cTn id="43" dur="500" fill="hold"/>
                                        <p:tgtEl>
                                          <p:spTgt spid="93"/>
                                        </p:tgtEl>
                                        <p:attrNameLst>
                                          <p:attrName>ppt_x</p:attrName>
                                        </p:attrNameLst>
                                      </p:cBhvr>
                                      <p:tavLst>
                                        <p:tav tm="0">
                                          <p:val>
                                            <p:strVal val="1+#ppt_w/2"/>
                                          </p:val>
                                        </p:tav>
                                        <p:tav tm="100000">
                                          <p:val>
                                            <p:strVal val="#ppt_x"/>
                                          </p:val>
                                        </p:tav>
                                      </p:tavLst>
                                    </p:anim>
                                    <p:anim calcmode="lin" valueType="num">
                                      <p:cBhvr additive="base">
                                        <p:cTn id="44" dur="500" fill="hold"/>
                                        <p:tgtEl>
                                          <p:spTgt spid="93"/>
                                        </p:tgtEl>
                                        <p:attrNameLst>
                                          <p:attrName>ppt_y</p:attrName>
                                        </p:attrNameLst>
                                      </p:cBhvr>
                                      <p:tavLst>
                                        <p:tav tm="0">
                                          <p:val>
                                            <p:strVal val="#ppt_y"/>
                                          </p:val>
                                        </p:tav>
                                        <p:tav tm="100000">
                                          <p:val>
                                            <p:strVal val="#ppt_y"/>
                                          </p:val>
                                        </p:tav>
                                      </p:tavLst>
                                    </p:anim>
                                  </p:childTnLst>
                                </p:cTn>
                              </p:par>
                              <p:par>
                                <p:cTn id="45" presetID="2" presetClass="entr" presetSubtype="2" fill="hold" nodeType="withEffect">
                                  <p:stCondLst>
                                    <p:cond delay="0"/>
                                  </p:stCondLst>
                                  <p:childTnLst>
                                    <p:set>
                                      <p:cBhvr>
                                        <p:cTn id="46" dur="1" fill="hold">
                                          <p:stCondLst>
                                            <p:cond delay="0"/>
                                          </p:stCondLst>
                                        </p:cTn>
                                        <p:tgtEl>
                                          <p:spTgt spid="95"/>
                                        </p:tgtEl>
                                        <p:attrNameLst>
                                          <p:attrName>style.visibility</p:attrName>
                                        </p:attrNameLst>
                                      </p:cBhvr>
                                      <p:to>
                                        <p:strVal val="visible"/>
                                      </p:to>
                                    </p:set>
                                    <p:anim calcmode="lin" valueType="num">
                                      <p:cBhvr additive="base">
                                        <p:cTn id="47" dur="500" fill="hold"/>
                                        <p:tgtEl>
                                          <p:spTgt spid="95"/>
                                        </p:tgtEl>
                                        <p:attrNameLst>
                                          <p:attrName>ppt_x</p:attrName>
                                        </p:attrNameLst>
                                      </p:cBhvr>
                                      <p:tavLst>
                                        <p:tav tm="0">
                                          <p:val>
                                            <p:strVal val="1+#ppt_w/2"/>
                                          </p:val>
                                        </p:tav>
                                        <p:tav tm="100000">
                                          <p:val>
                                            <p:strVal val="#ppt_x"/>
                                          </p:val>
                                        </p:tav>
                                      </p:tavLst>
                                    </p:anim>
                                    <p:anim calcmode="lin" valueType="num">
                                      <p:cBhvr additive="base">
                                        <p:cTn id="48" dur="500" fill="hold"/>
                                        <p:tgtEl>
                                          <p:spTgt spid="95"/>
                                        </p:tgtEl>
                                        <p:attrNameLst>
                                          <p:attrName>ppt_y</p:attrName>
                                        </p:attrNameLst>
                                      </p:cBhvr>
                                      <p:tavLst>
                                        <p:tav tm="0">
                                          <p:val>
                                            <p:strVal val="#ppt_y"/>
                                          </p:val>
                                        </p:tav>
                                        <p:tav tm="100000">
                                          <p:val>
                                            <p:strVal val="#ppt_y"/>
                                          </p:val>
                                        </p:tav>
                                      </p:tavLst>
                                    </p:anim>
                                  </p:childTnLst>
                                </p:cTn>
                              </p:par>
                              <p:par>
                                <p:cTn id="49" presetID="2" presetClass="entr" presetSubtype="2" fill="hold" nodeType="withEffect">
                                  <p:stCondLst>
                                    <p:cond delay="0"/>
                                  </p:stCondLst>
                                  <p:childTnLst>
                                    <p:set>
                                      <p:cBhvr>
                                        <p:cTn id="50" dur="1" fill="hold">
                                          <p:stCondLst>
                                            <p:cond delay="0"/>
                                          </p:stCondLst>
                                        </p:cTn>
                                        <p:tgtEl>
                                          <p:spTgt spid="96"/>
                                        </p:tgtEl>
                                        <p:attrNameLst>
                                          <p:attrName>style.visibility</p:attrName>
                                        </p:attrNameLst>
                                      </p:cBhvr>
                                      <p:to>
                                        <p:strVal val="visible"/>
                                      </p:to>
                                    </p:set>
                                    <p:anim calcmode="lin" valueType="num">
                                      <p:cBhvr additive="base">
                                        <p:cTn id="51" dur="500" fill="hold"/>
                                        <p:tgtEl>
                                          <p:spTgt spid="96"/>
                                        </p:tgtEl>
                                        <p:attrNameLst>
                                          <p:attrName>ppt_x</p:attrName>
                                        </p:attrNameLst>
                                      </p:cBhvr>
                                      <p:tavLst>
                                        <p:tav tm="0">
                                          <p:val>
                                            <p:strVal val="1+#ppt_w/2"/>
                                          </p:val>
                                        </p:tav>
                                        <p:tav tm="100000">
                                          <p:val>
                                            <p:strVal val="#ppt_x"/>
                                          </p:val>
                                        </p:tav>
                                      </p:tavLst>
                                    </p:anim>
                                    <p:anim calcmode="lin" valueType="num">
                                      <p:cBhvr additive="base">
                                        <p:cTn id="52" dur="500" fill="hold"/>
                                        <p:tgtEl>
                                          <p:spTgt spid="96"/>
                                        </p:tgtEl>
                                        <p:attrNameLst>
                                          <p:attrName>ppt_y</p:attrName>
                                        </p:attrNameLst>
                                      </p:cBhvr>
                                      <p:tavLst>
                                        <p:tav tm="0">
                                          <p:val>
                                            <p:strVal val="#ppt_y"/>
                                          </p:val>
                                        </p:tav>
                                        <p:tav tm="100000">
                                          <p:val>
                                            <p:strVal val="#ppt_y"/>
                                          </p:val>
                                        </p:tav>
                                      </p:tavLst>
                                    </p:anim>
                                  </p:childTnLst>
                                </p:cTn>
                              </p:par>
                              <p:par>
                                <p:cTn id="53" presetID="2" presetClass="entr" presetSubtype="2" fill="hold" nodeType="withEffect">
                                  <p:stCondLst>
                                    <p:cond delay="0"/>
                                  </p:stCondLst>
                                  <p:childTnLst>
                                    <p:set>
                                      <p:cBhvr>
                                        <p:cTn id="54" dur="1" fill="hold">
                                          <p:stCondLst>
                                            <p:cond delay="0"/>
                                          </p:stCondLst>
                                        </p:cTn>
                                        <p:tgtEl>
                                          <p:spTgt spid="97"/>
                                        </p:tgtEl>
                                        <p:attrNameLst>
                                          <p:attrName>style.visibility</p:attrName>
                                        </p:attrNameLst>
                                      </p:cBhvr>
                                      <p:to>
                                        <p:strVal val="visible"/>
                                      </p:to>
                                    </p:set>
                                    <p:anim calcmode="lin" valueType="num">
                                      <p:cBhvr additive="base">
                                        <p:cTn id="55" dur="500" fill="hold"/>
                                        <p:tgtEl>
                                          <p:spTgt spid="97"/>
                                        </p:tgtEl>
                                        <p:attrNameLst>
                                          <p:attrName>ppt_x</p:attrName>
                                        </p:attrNameLst>
                                      </p:cBhvr>
                                      <p:tavLst>
                                        <p:tav tm="0">
                                          <p:val>
                                            <p:strVal val="1+#ppt_w/2"/>
                                          </p:val>
                                        </p:tav>
                                        <p:tav tm="100000">
                                          <p:val>
                                            <p:strVal val="#ppt_x"/>
                                          </p:val>
                                        </p:tav>
                                      </p:tavLst>
                                    </p:anim>
                                    <p:anim calcmode="lin" valueType="num">
                                      <p:cBhvr additive="base">
                                        <p:cTn id="56" dur="500" fill="hold"/>
                                        <p:tgtEl>
                                          <p:spTgt spid="97"/>
                                        </p:tgtEl>
                                        <p:attrNameLst>
                                          <p:attrName>ppt_y</p:attrName>
                                        </p:attrNameLst>
                                      </p:cBhvr>
                                      <p:tavLst>
                                        <p:tav tm="0">
                                          <p:val>
                                            <p:strVal val="#ppt_y"/>
                                          </p:val>
                                        </p:tav>
                                        <p:tav tm="100000">
                                          <p:val>
                                            <p:strVal val="#ppt_y"/>
                                          </p:val>
                                        </p:tav>
                                      </p:tavLst>
                                    </p:anim>
                                  </p:childTnLst>
                                </p:cTn>
                              </p:par>
                              <p:par>
                                <p:cTn id="57" presetID="2" presetClass="entr" presetSubtype="2" fill="hold" nodeType="withEffect">
                                  <p:stCondLst>
                                    <p:cond delay="0"/>
                                  </p:stCondLst>
                                  <p:childTnLst>
                                    <p:set>
                                      <p:cBhvr>
                                        <p:cTn id="58" dur="1" fill="hold">
                                          <p:stCondLst>
                                            <p:cond delay="0"/>
                                          </p:stCondLst>
                                        </p:cTn>
                                        <p:tgtEl>
                                          <p:spTgt spid="98"/>
                                        </p:tgtEl>
                                        <p:attrNameLst>
                                          <p:attrName>style.visibility</p:attrName>
                                        </p:attrNameLst>
                                      </p:cBhvr>
                                      <p:to>
                                        <p:strVal val="visible"/>
                                      </p:to>
                                    </p:set>
                                    <p:anim calcmode="lin" valueType="num">
                                      <p:cBhvr additive="base">
                                        <p:cTn id="59" dur="500" fill="hold"/>
                                        <p:tgtEl>
                                          <p:spTgt spid="98"/>
                                        </p:tgtEl>
                                        <p:attrNameLst>
                                          <p:attrName>ppt_x</p:attrName>
                                        </p:attrNameLst>
                                      </p:cBhvr>
                                      <p:tavLst>
                                        <p:tav tm="0">
                                          <p:val>
                                            <p:strVal val="1+#ppt_w/2"/>
                                          </p:val>
                                        </p:tav>
                                        <p:tav tm="100000">
                                          <p:val>
                                            <p:strVal val="#ppt_x"/>
                                          </p:val>
                                        </p:tav>
                                      </p:tavLst>
                                    </p:anim>
                                    <p:anim calcmode="lin" valueType="num">
                                      <p:cBhvr additive="base">
                                        <p:cTn id="60" dur="500" fill="hold"/>
                                        <p:tgtEl>
                                          <p:spTgt spid="98"/>
                                        </p:tgtEl>
                                        <p:attrNameLst>
                                          <p:attrName>ppt_y</p:attrName>
                                        </p:attrNameLst>
                                      </p:cBhvr>
                                      <p:tavLst>
                                        <p:tav tm="0">
                                          <p:val>
                                            <p:strVal val="#ppt_y"/>
                                          </p:val>
                                        </p:tav>
                                        <p:tav tm="100000">
                                          <p:val>
                                            <p:strVal val="#ppt_y"/>
                                          </p:val>
                                        </p:tav>
                                      </p:tavLst>
                                    </p:anim>
                                  </p:childTnLst>
                                </p:cTn>
                              </p:par>
                              <p:par>
                                <p:cTn id="61" presetID="2" presetClass="entr" presetSubtype="2" fill="hold" nodeType="withEffect">
                                  <p:stCondLst>
                                    <p:cond delay="0"/>
                                  </p:stCondLst>
                                  <p:childTnLst>
                                    <p:set>
                                      <p:cBhvr>
                                        <p:cTn id="62" dur="1" fill="hold">
                                          <p:stCondLst>
                                            <p:cond delay="0"/>
                                          </p:stCondLst>
                                        </p:cTn>
                                        <p:tgtEl>
                                          <p:spTgt spid="67"/>
                                        </p:tgtEl>
                                        <p:attrNameLst>
                                          <p:attrName>style.visibility</p:attrName>
                                        </p:attrNameLst>
                                      </p:cBhvr>
                                      <p:to>
                                        <p:strVal val="visible"/>
                                      </p:to>
                                    </p:set>
                                    <p:anim calcmode="lin" valueType="num">
                                      <p:cBhvr additive="base">
                                        <p:cTn id="63" dur="500" fill="hold"/>
                                        <p:tgtEl>
                                          <p:spTgt spid="67"/>
                                        </p:tgtEl>
                                        <p:attrNameLst>
                                          <p:attrName>ppt_x</p:attrName>
                                        </p:attrNameLst>
                                      </p:cBhvr>
                                      <p:tavLst>
                                        <p:tav tm="0">
                                          <p:val>
                                            <p:strVal val="1+#ppt_w/2"/>
                                          </p:val>
                                        </p:tav>
                                        <p:tav tm="100000">
                                          <p:val>
                                            <p:strVal val="#ppt_x"/>
                                          </p:val>
                                        </p:tav>
                                      </p:tavLst>
                                    </p:anim>
                                    <p:anim calcmode="lin" valueType="num">
                                      <p:cBhvr additive="base">
                                        <p:cTn id="64" dur="500" fill="hold"/>
                                        <p:tgtEl>
                                          <p:spTgt spid="67"/>
                                        </p:tgtEl>
                                        <p:attrNameLst>
                                          <p:attrName>ppt_y</p:attrName>
                                        </p:attrNameLst>
                                      </p:cBhvr>
                                      <p:tavLst>
                                        <p:tav tm="0">
                                          <p:val>
                                            <p:strVal val="#ppt_y"/>
                                          </p:val>
                                        </p:tav>
                                        <p:tav tm="100000">
                                          <p:val>
                                            <p:strVal val="#ppt_y"/>
                                          </p:val>
                                        </p:tav>
                                      </p:tavLst>
                                    </p:anim>
                                  </p:childTnLst>
                                </p:cTn>
                              </p:par>
                              <p:par>
                                <p:cTn id="65" presetID="2" presetClass="entr" presetSubtype="2" fill="hold" nodeType="withEffect">
                                  <p:stCondLst>
                                    <p:cond delay="0"/>
                                  </p:stCondLst>
                                  <p:childTnLst>
                                    <p:set>
                                      <p:cBhvr>
                                        <p:cTn id="66" dur="1" fill="hold">
                                          <p:stCondLst>
                                            <p:cond delay="0"/>
                                          </p:stCondLst>
                                        </p:cTn>
                                        <p:tgtEl>
                                          <p:spTgt spid="43"/>
                                        </p:tgtEl>
                                        <p:attrNameLst>
                                          <p:attrName>style.visibility</p:attrName>
                                        </p:attrNameLst>
                                      </p:cBhvr>
                                      <p:to>
                                        <p:strVal val="visible"/>
                                      </p:to>
                                    </p:set>
                                    <p:anim calcmode="lin" valueType="num">
                                      <p:cBhvr additive="base">
                                        <p:cTn id="67" dur="500" fill="hold"/>
                                        <p:tgtEl>
                                          <p:spTgt spid="43"/>
                                        </p:tgtEl>
                                        <p:attrNameLst>
                                          <p:attrName>ppt_x</p:attrName>
                                        </p:attrNameLst>
                                      </p:cBhvr>
                                      <p:tavLst>
                                        <p:tav tm="0">
                                          <p:val>
                                            <p:strVal val="1+#ppt_w/2"/>
                                          </p:val>
                                        </p:tav>
                                        <p:tav tm="100000">
                                          <p:val>
                                            <p:strVal val="#ppt_x"/>
                                          </p:val>
                                        </p:tav>
                                      </p:tavLst>
                                    </p:anim>
                                    <p:anim calcmode="lin" valueType="num">
                                      <p:cBhvr additive="base">
                                        <p:cTn id="68" dur="500" fill="hold"/>
                                        <p:tgtEl>
                                          <p:spTgt spid="43"/>
                                        </p:tgtEl>
                                        <p:attrNameLst>
                                          <p:attrName>ppt_y</p:attrName>
                                        </p:attrNameLst>
                                      </p:cBhvr>
                                      <p:tavLst>
                                        <p:tav tm="0">
                                          <p:val>
                                            <p:strVal val="#ppt_y"/>
                                          </p:val>
                                        </p:tav>
                                        <p:tav tm="100000">
                                          <p:val>
                                            <p:strVal val="#ppt_y"/>
                                          </p:val>
                                        </p:tav>
                                      </p:tavLst>
                                    </p:anim>
                                  </p:childTnLst>
                                </p:cTn>
                              </p:par>
                              <p:par>
                                <p:cTn id="69" presetID="2" presetClass="entr" presetSubtype="2" fill="hold" nodeType="withEffect">
                                  <p:stCondLst>
                                    <p:cond delay="0"/>
                                  </p:stCondLst>
                                  <p:childTnLst>
                                    <p:set>
                                      <p:cBhvr>
                                        <p:cTn id="70" dur="1" fill="hold">
                                          <p:stCondLst>
                                            <p:cond delay="0"/>
                                          </p:stCondLst>
                                        </p:cTn>
                                        <p:tgtEl>
                                          <p:spTgt spid="33"/>
                                        </p:tgtEl>
                                        <p:attrNameLst>
                                          <p:attrName>style.visibility</p:attrName>
                                        </p:attrNameLst>
                                      </p:cBhvr>
                                      <p:to>
                                        <p:strVal val="visible"/>
                                      </p:to>
                                    </p:set>
                                    <p:anim calcmode="lin" valueType="num">
                                      <p:cBhvr additive="base">
                                        <p:cTn id="71" dur="500" fill="hold"/>
                                        <p:tgtEl>
                                          <p:spTgt spid="33"/>
                                        </p:tgtEl>
                                        <p:attrNameLst>
                                          <p:attrName>ppt_x</p:attrName>
                                        </p:attrNameLst>
                                      </p:cBhvr>
                                      <p:tavLst>
                                        <p:tav tm="0">
                                          <p:val>
                                            <p:strVal val="1+#ppt_w/2"/>
                                          </p:val>
                                        </p:tav>
                                        <p:tav tm="100000">
                                          <p:val>
                                            <p:strVal val="#ppt_x"/>
                                          </p:val>
                                        </p:tav>
                                      </p:tavLst>
                                    </p:anim>
                                    <p:anim calcmode="lin" valueType="num">
                                      <p:cBhvr additive="base">
                                        <p:cTn id="72" dur="500" fill="hold"/>
                                        <p:tgtEl>
                                          <p:spTgt spid="33"/>
                                        </p:tgtEl>
                                        <p:attrNameLst>
                                          <p:attrName>ppt_y</p:attrName>
                                        </p:attrNameLst>
                                      </p:cBhvr>
                                      <p:tavLst>
                                        <p:tav tm="0">
                                          <p:val>
                                            <p:strVal val="#ppt_y"/>
                                          </p:val>
                                        </p:tav>
                                        <p:tav tm="100000">
                                          <p:val>
                                            <p:strVal val="#ppt_y"/>
                                          </p:val>
                                        </p:tav>
                                      </p:tavLst>
                                    </p:anim>
                                  </p:childTnLst>
                                </p:cTn>
                              </p:par>
                              <p:par>
                                <p:cTn id="73" presetID="2" presetClass="entr" presetSubtype="2" fill="hold" nodeType="withEffect">
                                  <p:stCondLst>
                                    <p:cond delay="0"/>
                                  </p:stCondLst>
                                  <p:childTnLst>
                                    <p:set>
                                      <p:cBhvr>
                                        <p:cTn id="74" dur="1" fill="hold">
                                          <p:stCondLst>
                                            <p:cond delay="0"/>
                                          </p:stCondLst>
                                        </p:cTn>
                                        <p:tgtEl>
                                          <p:spTgt spid="90"/>
                                        </p:tgtEl>
                                        <p:attrNameLst>
                                          <p:attrName>style.visibility</p:attrName>
                                        </p:attrNameLst>
                                      </p:cBhvr>
                                      <p:to>
                                        <p:strVal val="visible"/>
                                      </p:to>
                                    </p:set>
                                    <p:anim calcmode="lin" valueType="num">
                                      <p:cBhvr additive="base">
                                        <p:cTn id="75" dur="500" fill="hold"/>
                                        <p:tgtEl>
                                          <p:spTgt spid="90"/>
                                        </p:tgtEl>
                                        <p:attrNameLst>
                                          <p:attrName>ppt_x</p:attrName>
                                        </p:attrNameLst>
                                      </p:cBhvr>
                                      <p:tavLst>
                                        <p:tav tm="0">
                                          <p:val>
                                            <p:strVal val="1+#ppt_w/2"/>
                                          </p:val>
                                        </p:tav>
                                        <p:tav tm="100000">
                                          <p:val>
                                            <p:strVal val="#ppt_x"/>
                                          </p:val>
                                        </p:tav>
                                      </p:tavLst>
                                    </p:anim>
                                    <p:anim calcmode="lin" valueType="num">
                                      <p:cBhvr additive="base">
                                        <p:cTn id="76" dur="500" fill="hold"/>
                                        <p:tgtEl>
                                          <p:spTgt spid="90"/>
                                        </p:tgtEl>
                                        <p:attrNameLst>
                                          <p:attrName>ppt_y</p:attrName>
                                        </p:attrNameLst>
                                      </p:cBhvr>
                                      <p:tavLst>
                                        <p:tav tm="0">
                                          <p:val>
                                            <p:strVal val="#ppt_y"/>
                                          </p:val>
                                        </p:tav>
                                        <p:tav tm="100000">
                                          <p:val>
                                            <p:strVal val="#ppt_y"/>
                                          </p:val>
                                        </p:tav>
                                      </p:tavLst>
                                    </p:anim>
                                  </p:childTnLst>
                                </p:cTn>
                              </p:par>
                              <p:par>
                                <p:cTn id="77" presetID="2" presetClass="entr" presetSubtype="2" fill="hold" nodeType="withEffect">
                                  <p:stCondLst>
                                    <p:cond delay="0"/>
                                  </p:stCondLst>
                                  <p:childTnLst>
                                    <p:set>
                                      <p:cBhvr>
                                        <p:cTn id="78" dur="1" fill="hold">
                                          <p:stCondLst>
                                            <p:cond delay="0"/>
                                          </p:stCondLst>
                                        </p:cTn>
                                        <p:tgtEl>
                                          <p:spTgt spid="88"/>
                                        </p:tgtEl>
                                        <p:attrNameLst>
                                          <p:attrName>style.visibility</p:attrName>
                                        </p:attrNameLst>
                                      </p:cBhvr>
                                      <p:to>
                                        <p:strVal val="visible"/>
                                      </p:to>
                                    </p:set>
                                    <p:anim calcmode="lin" valueType="num">
                                      <p:cBhvr additive="base">
                                        <p:cTn id="79" dur="500" fill="hold"/>
                                        <p:tgtEl>
                                          <p:spTgt spid="88"/>
                                        </p:tgtEl>
                                        <p:attrNameLst>
                                          <p:attrName>ppt_x</p:attrName>
                                        </p:attrNameLst>
                                      </p:cBhvr>
                                      <p:tavLst>
                                        <p:tav tm="0">
                                          <p:val>
                                            <p:strVal val="1+#ppt_w/2"/>
                                          </p:val>
                                        </p:tav>
                                        <p:tav tm="100000">
                                          <p:val>
                                            <p:strVal val="#ppt_x"/>
                                          </p:val>
                                        </p:tav>
                                      </p:tavLst>
                                    </p:anim>
                                    <p:anim calcmode="lin" valueType="num">
                                      <p:cBhvr additive="base">
                                        <p:cTn id="80" dur="500" fill="hold"/>
                                        <p:tgtEl>
                                          <p:spTgt spid="88"/>
                                        </p:tgtEl>
                                        <p:attrNameLst>
                                          <p:attrName>ppt_y</p:attrName>
                                        </p:attrNameLst>
                                      </p:cBhvr>
                                      <p:tavLst>
                                        <p:tav tm="0">
                                          <p:val>
                                            <p:strVal val="#ppt_y"/>
                                          </p:val>
                                        </p:tav>
                                        <p:tav tm="100000">
                                          <p:val>
                                            <p:strVal val="#ppt_y"/>
                                          </p:val>
                                        </p:tav>
                                      </p:tavLst>
                                    </p:anim>
                                  </p:childTnLst>
                                </p:cTn>
                              </p:par>
                              <p:par>
                                <p:cTn id="81" presetID="2" presetClass="entr" presetSubtype="2" fill="hold" nodeType="withEffect">
                                  <p:stCondLst>
                                    <p:cond delay="0"/>
                                  </p:stCondLst>
                                  <p:childTnLst>
                                    <p:set>
                                      <p:cBhvr>
                                        <p:cTn id="82" dur="1" fill="hold">
                                          <p:stCondLst>
                                            <p:cond delay="0"/>
                                          </p:stCondLst>
                                        </p:cTn>
                                        <p:tgtEl>
                                          <p:spTgt spid="3"/>
                                        </p:tgtEl>
                                        <p:attrNameLst>
                                          <p:attrName>style.visibility</p:attrName>
                                        </p:attrNameLst>
                                      </p:cBhvr>
                                      <p:to>
                                        <p:strVal val="visible"/>
                                      </p:to>
                                    </p:set>
                                    <p:anim calcmode="lin" valueType="num">
                                      <p:cBhvr additive="base">
                                        <p:cTn id="83" dur="500" fill="hold"/>
                                        <p:tgtEl>
                                          <p:spTgt spid="3"/>
                                        </p:tgtEl>
                                        <p:attrNameLst>
                                          <p:attrName>ppt_x</p:attrName>
                                        </p:attrNameLst>
                                      </p:cBhvr>
                                      <p:tavLst>
                                        <p:tav tm="0">
                                          <p:val>
                                            <p:strVal val="1+#ppt_w/2"/>
                                          </p:val>
                                        </p:tav>
                                        <p:tav tm="100000">
                                          <p:val>
                                            <p:strVal val="#ppt_x"/>
                                          </p:val>
                                        </p:tav>
                                      </p:tavLst>
                                    </p:anim>
                                    <p:anim calcmode="lin" valueType="num">
                                      <p:cBhvr additive="base">
                                        <p:cTn id="84" dur="500" fill="hold"/>
                                        <p:tgtEl>
                                          <p:spTgt spid="3"/>
                                        </p:tgtEl>
                                        <p:attrNameLst>
                                          <p:attrName>ppt_y</p:attrName>
                                        </p:attrNameLst>
                                      </p:cBhvr>
                                      <p:tavLst>
                                        <p:tav tm="0">
                                          <p:val>
                                            <p:strVal val="#ppt_y"/>
                                          </p:val>
                                        </p:tav>
                                        <p:tav tm="100000">
                                          <p:val>
                                            <p:strVal val="#ppt_y"/>
                                          </p:val>
                                        </p:tav>
                                      </p:tavLst>
                                    </p:anim>
                                  </p:childTnLst>
                                </p:cTn>
                              </p:par>
                              <p:par>
                                <p:cTn id="85" presetID="2" presetClass="entr" presetSubtype="2" fill="hold" nodeType="withEffect">
                                  <p:stCondLst>
                                    <p:cond delay="0"/>
                                  </p:stCondLst>
                                  <p:childTnLst>
                                    <p:set>
                                      <p:cBhvr>
                                        <p:cTn id="86" dur="1" fill="hold">
                                          <p:stCondLst>
                                            <p:cond delay="0"/>
                                          </p:stCondLst>
                                        </p:cTn>
                                        <p:tgtEl>
                                          <p:spTgt spid="4"/>
                                        </p:tgtEl>
                                        <p:attrNameLst>
                                          <p:attrName>style.visibility</p:attrName>
                                        </p:attrNameLst>
                                      </p:cBhvr>
                                      <p:to>
                                        <p:strVal val="visible"/>
                                      </p:to>
                                    </p:set>
                                    <p:anim calcmode="lin" valueType="num">
                                      <p:cBhvr additive="base">
                                        <p:cTn id="87" dur="500" fill="hold"/>
                                        <p:tgtEl>
                                          <p:spTgt spid="4"/>
                                        </p:tgtEl>
                                        <p:attrNameLst>
                                          <p:attrName>ppt_x</p:attrName>
                                        </p:attrNameLst>
                                      </p:cBhvr>
                                      <p:tavLst>
                                        <p:tav tm="0">
                                          <p:val>
                                            <p:strVal val="1+#ppt_w/2"/>
                                          </p:val>
                                        </p:tav>
                                        <p:tav tm="100000">
                                          <p:val>
                                            <p:strVal val="#ppt_x"/>
                                          </p:val>
                                        </p:tav>
                                      </p:tavLst>
                                    </p:anim>
                                    <p:anim calcmode="lin" valueType="num">
                                      <p:cBhvr additive="base">
                                        <p:cTn id="88" dur="500" fill="hold"/>
                                        <p:tgtEl>
                                          <p:spTgt spid="4"/>
                                        </p:tgtEl>
                                        <p:attrNameLst>
                                          <p:attrName>ppt_y</p:attrName>
                                        </p:attrNameLst>
                                      </p:cBhvr>
                                      <p:tavLst>
                                        <p:tav tm="0">
                                          <p:val>
                                            <p:strVal val="#ppt_y"/>
                                          </p:val>
                                        </p:tav>
                                        <p:tav tm="100000">
                                          <p:val>
                                            <p:strVal val="#ppt_y"/>
                                          </p:val>
                                        </p:tav>
                                      </p:tavLst>
                                    </p:anim>
                                  </p:childTnLst>
                                </p:cTn>
                              </p:par>
                              <p:par>
                                <p:cTn id="89" presetID="2" presetClass="entr" presetSubtype="2" fill="hold" nodeType="withEffect">
                                  <p:stCondLst>
                                    <p:cond delay="0"/>
                                  </p:stCondLst>
                                  <p:childTnLst>
                                    <p:set>
                                      <p:cBhvr>
                                        <p:cTn id="90" dur="1" fill="hold">
                                          <p:stCondLst>
                                            <p:cond delay="0"/>
                                          </p:stCondLst>
                                        </p:cTn>
                                        <p:tgtEl>
                                          <p:spTgt spid="5"/>
                                        </p:tgtEl>
                                        <p:attrNameLst>
                                          <p:attrName>style.visibility</p:attrName>
                                        </p:attrNameLst>
                                      </p:cBhvr>
                                      <p:to>
                                        <p:strVal val="visible"/>
                                      </p:to>
                                    </p:set>
                                    <p:anim calcmode="lin" valueType="num">
                                      <p:cBhvr additive="base">
                                        <p:cTn id="91" dur="500" fill="hold"/>
                                        <p:tgtEl>
                                          <p:spTgt spid="5"/>
                                        </p:tgtEl>
                                        <p:attrNameLst>
                                          <p:attrName>ppt_x</p:attrName>
                                        </p:attrNameLst>
                                      </p:cBhvr>
                                      <p:tavLst>
                                        <p:tav tm="0">
                                          <p:val>
                                            <p:strVal val="1+#ppt_w/2"/>
                                          </p:val>
                                        </p:tav>
                                        <p:tav tm="100000">
                                          <p:val>
                                            <p:strVal val="#ppt_x"/>
                                          </p:val>
                                        </p:tav>
                                      </p:tavLst>
                                    </p:anim>
                                    <p:anim calcmode="lin" valueType="num">
                                      <p:cBhvr additive="base">
                                        <p:cTn id="9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9"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81000" y="2103013"/>
            <a:ext cx="10473690" cy="997196"/>
          </a:xfrm>
        </p:spPr>
        <p:txBody>
          <a:bodyPr>
            <a:noAutofit/>
          </a:bodyPr>
          <a:lstStyle/>
          <a:p>
            <a:r>
              <a:rPr lang="en-US" dirty="0" smtClean="0">
                <a:solidFill>
                  <a:schemeClr val="bg1">
                    <a:lumMod val="75000"/>
                  </a:schemeClr>
                </a:solidFill>
                <a:latin typeface="Segoe UI Light" panose="020B0502040204020203" pitchFamily="34" charset="0"/>
                <a:cs typeface="Segoe UI Light" panose="020B0502040204020203" pitchFamily="34" charset="0"/>
              </a:rPr>
              <a:t>Announcing…</a:t>
            </a:r>
            <a:endParaRPr lang="en-US" dirty="0">
              <a:solidFill>
                <a:schemeClr val="bg1">
                  <a:lumMod val="75000"/>
                </a:schemeClr>
              </a:solidFill>
              <a:latin typeface="Segoe UI Light" panose="020B0502040204020203" pitchFamily="34" charset="0"/>
              <a:cs typeface="Segoe UI Light" panose="020B0502040204020203" pitchFamily="34" charset="0"/>
            </a:endParaRPr>
          </a:p>
        </p:txBody>
      </p:sp>
      <p:sp>
        <p:nvSpPr>
          <p:cNvPr id="5" name="Text Placeholder 1"/>
          <p:cNvSpPr txBox="1">
            <a:spLocks/>
          </p:cNvSpPr>
          <p:nvPr/>
        </p:nvSpPr>
        <p:spPr>
          <a:xfrm>
            <a:off x="3148395" y="3775223"/>
            <a:ext cx="8827515" cy="891794"/>
          </a:xfrm>
          <a:prstGeom prst="rect">
            <a:avLst/>
          </a:prstGeom>
        </p:spPr>
        <p:txBody>
          <a:bodyPr/>
          <a:lstStyle>
            <a:lvl1pPr marL="0" indent="0" algn="l" defTabSz="686047" rtl="0" eaLnBrk="1" latinLnBrk="0" hangingPunct="1">
              <a:lnSpc>
                <a:spcPct val="90000"/>
              </a:lnSpc>
              <a:spcBef>
                <a:spcPts val="1800"/>
              </a:spcBef>
              <a:buSzPct val="90000"/>
              <a:buFont typeface="Wingdings" pitchFamily="2" charset="2"/>
              <a:buNone/>
              <a:defRPr sz="3200" kern="4000" spc="-100" baseline="0">
                <a:solidFill>
                  <a:schemeClr val="accent1"/>
                </a:solidFill>
                <a:latin typeface="+mj-lt"/>
                <a:ea typeface="+mn-ea"/>
                <a:cs typeface="+mn-cs"/>
              </a:defRPr>
            </a:lvl1pPr>
            <a:lvl2pPr marL="0" indent="0" algn="l" defTabSz="686047" rtl="0" eaLnBrk="1" latinLnBrk="0" hangingPunct="1">
              <a:lnSpc>
                <a:spcPct val="90000"/>
              </a:lnSpc>
              <a:spcBef>
                <a:spcPts val="100"/>
              </a:spcBef>
              <a:spcAft>
                <a:spcPts val="600"/>
              </a:spcAft>
              <a:buSzPct val="90000"/>
              <a:buFont typeface="Arial" pitchFamily="34" charset="0"/>
              <a:buNone/>
              <a:tabLst>
                <a:tab pos="472868" algn="l"/>
              </a:tabLst>
              <a:defRPr sz="20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2pPr>
            <a:lvl3pPr marL="0" indent="0" algn="l" defTabSz="686047" rtl="0" eaLnBrk="1" latinLnBrk="0" hangingPunct="1">
              <a:lnSpc>
                <a:spcPct val="90000"/>
              </a:lnSpc>
              <a:spcBef>
                <a:spcPts val="0"/>
              </a:spcBef>
              <a:spcAft>
                <a:spcPts val="600"/>
              </a:spcAft>
              <a:buSzPct val="90000"/>
              <a:buFont typeface="Arial" pitchFamily="34" charset="0"/>
              <a:buNone/>
              <a:defRPr sz="18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3pPr>
            <a:lvl4pPr marL="0" indent="0" algn="l" defTabSz="686047" rtl="0" eaLnBrk="1" latinLnBrk="0" hangingPunct="1">
              <a:lnSpc>
                <a:spcPct val="90000"/>
              </a:lnSpc>
              <a:spcBef>
                <a:spcPts val="0"/>
              </a:spcBef>
              <a:spcAft>
                <a:spcPts val="600"/>
              </a:spcAft>
              <a:buSzPct val="90000"/>
              <a:buFont typeface="Arial" pitchFamily="34" charset="0"/>
              <a:buNone/>
              <a:tabLst>
                <a:tab pos="686074" algn="l"/>
              </a:tabLst>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4pPr>
            <a:lvl5pPr marL="0" indent="0" algn="l" defTabSz="686047" rtl="0" eaLnBrk="1" latinLnBrk="0" hangingPunct="1">
              <a:lnSpc>
                <a:spcPct val="90000"/>
              </a:lnSpc>
              <a:spcBef>
                <a:spcPts val="0"/>
              </a:spcBef>
              <a:spcAft>
                <a:spcPts val="600"/>
              </a:spcAft>
              <a:buSzPct val="90000"/>
              <a:buFont typeface="Arial" pitchFamily="34" charset="0"/>
              <a:buNone/>
              <a:defRPr sz="1400" kern="4000" spc="0" baseline="0">
                <a:gradFill flip="none" rotWithShape="1">
                  <a:gsLst>
                    <a:gs pos="0">
                      <a:schemeClr val="tx1">
                        <a:lumMod val="65000"/>
                        <a:lumOff val="35000"/>
                      </a:schemeClr>
                    </a:gs>
                    <a:gs pos="86000">
                      <a:schemeClr val="tx1">
                        <a:lumMod val="75000"/>
                        <a:lumOff val="25000"/>
                      </a:schemeClr>
                    </a:gs>
                  </a:gsLst>
                  <a:path path="circle">
                    <a:fillToRect r="100000" b="100000"/>
                  </a:path>
                  <a:tileRect l="-100000" t="-100000"/>
                </a:gradFill>
                <a:latin typeface="+mn-lt"/>
                <a:ea typeface="+mn-ea"/>
                <a:cs typeface="+mn-cs"/>
              </a:defRPr>
            </a:lvl5pPr>
            <a:lvl6pPr marL="1886629"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9652"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2676"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5700" indent="-171512" algn="l" defTabSz="686047"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r>
              <a:rPr lang="en-US" sz="6600" b="1" dirty="0" smtClean="0">
                <a:solidFill>
                  <a:schemeClr val="bg1"/>
                </a:solidFill>
                <a:latin typeface="Segoe UI Light" panose="020B0502040204020203" pitchFamily="34" charset="0"/>
                <a:cs typeface="Segoe UI Light" panose="020B0502040204020203" pitchFamily="34" charset="0"/>
              </a:rPr>
              <a:t>Microsoft</a:t>
            </a:r>
            <a:r>
              <a:rPr lang="en-US" sz="6600" b="1" dirty="0" smtClean="0">
                <a:solidFill>
                  <a:schemeClr val="bg1"/>
                </a:solidFill>
              </a:rPr>
              <a:t> Azure IoT Suite</a:t>
            </a:r>
            <a:endParaRPr lang="en-US" sz="6600" b="1" dirty="0">
              <a:solidFill>
                <a:schemeClr val="bg1"/>
              </a:solidFill>
            </a:endParaRPr>
          </a:p>
        </p:txBody>
      </p:sp>
    </p:spTree>
    <p:extLst>
      <p:ext uri="{BB962C8B-B14F-4D97-AF65-F5344CB8AC3E}">
        <p14:creationId xmlns:p14="http://schemas.microsoft.com/office/powerpoint/2010/main" val="1848387687"/>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a:xfrm>
            <a:off x="533400" y="1600200"/>
            <a:ext cx="2709530" cy="5004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r>
              <a:rPr lang="en-US" sz="1400" b="1" dirty="0">
                <a:latin typeface="Segoe UI Semibold" panose="020B0702040204020203" pitchFamily="34" charset="0"/>
                <a:cs typeface="Segoe UI Light" panose="020B0502040204020203" pitchFamily="34" charset="0"/>
              </a:rPr>
              <a:t>IoT Applications </a:t>
            </a:r>
            <a:r>
              <a:rPr lang="en-US" sz="1400" b="1" dirty="0" smtClean="0">
                <a:latin typeface="Segoe UI Semibold" panose="020B0702040204020203" pitchFamily="34" charset="0"/>
                <a:cs typeface="Segoe UI Light" panose="020B0502040204020203" pitchFamily="34" charset="0"/>
              </a:rPr>
              <a:t>…</a:t>
            </a:r>
            <a:endParaRPr lang="en-US" sz="1400" b="1" dirty="0">
              <a:latin typeface="Segoe UI Semibold" panose="020B0702040204020203" pitchFamily="34" charset="0"/>
              <a:cs typeface="Segoe UI Light" panose="020B0502040204020203" pitchFamily="34" charset="0"/>
            </a:endParaRPr>
          </a:p>
        </p:txBody>
      </p:sp>
      <p:sp>
        <p:nvSpPr>
          <p:cNvPr id="2" name="Title 1"/>
          <p:cNvSpPr>
            <a:spLocks noGrp="1"/>
          </p:cNvSpPr>
          <p:nvPr>
            <p:ph type="title"/>
          </p:nvPr>
        </p:nvSpPr>
        <p:spPr>
          <a:xfrm>
            <a:off x="0" y="0"/>
            <a:ext cx="11656706" cy="628788"/>
          </a:xfrm>
        </p:spPr>
        <p:txBody>
          <a:bodyPr>
            <a:noAutofit/>
          </a:bodyPr>
          <a:lstStyle/>
          <a:p>
            <a:r>
              <a:rPr lang="en-US" sz="4400" dirty="0" smtClean="0"/>
              <a:t>Azure IoT Suite</a:t>
            </a:r>
            <a:endParaRPr lang="en-US" sz="4400" dirty="0"/>
          </a:p>
        </p:txBody>
      </p:sp>
      <p:grpSp>
        <p:nvGrpSpPr>
          <p:cNvPr id="24" name="Group 23"/>
          <p:cNvGrpSpPr/>
          <p:nvPr/>
        </p:nvGrpSpPr>
        <p:grpSpPr>
          <a:xfrm>
            <a:off x="834941" y="4283959"/>
            <a:ext cx="2298318" cy="1005840"/>
            <a:chOff x="834941" y="2145937"/>
            <a:chExt cx="2298318" cy="1005840"/>
          </a:xfrm>
          <a:noFill/>
        </p:grpSpPr>
        <p:sp>
          <p:nvSpPr>
            <p:cNvPr id="3" name="Rectangle 2"/>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Predictive Maintenance</a:t>
              </a:r>
              <a:endParaRPr lang="en-US" sz="2000" dirty="0">
                <a:latin typeface="+mj-lt"/>
                <a:cs typeface="Segoe UI Light" panose="020B0502040204020203" pitchFamily="34" charset="0"/>
              </a:endParaRPr>
            </a:p>
          </p:txBody>
        </p:sp>
        <p:grpSp>
          <p:nvGrpSpPr>
            <p:cNvPr id="10" name="Group 9"/>
            <p:cNvGrpSpPr/>
            <p:nvPr/>
          </p:nvGrpSpPr>
          <p:grpSpPr>
            <a:xfrm>
              <a:off x="2438255" y="2261365"/>
              <a:ext cx="625795" cy="518026"/>
              <a:chOff x="16659225" y="-4403725"/>
              <a:chExt cx="3724275" cy="3082925"/>
            </a:xfrm>
            <a:grpFill/>
          </p:grpSpPr>
          <p:sp>
            <p:nvSpPr>
              <p:cNvPr id="13"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sp>
            <p:nvSpPr>
              <p:cNvPr id="14"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grpSp>
      </p:grpSp>
      <p:grpSp>
        <p:nvGrpSpPr>
          <p:cNvPr id="25" name="Group 24"/>
          <p:cNvGrpSpPr/>
          <p:nvPr/>
        </p:nvGrpSpPr>
        <p:grpSpPr>
          <a:xfrm>
            <a:off x="834941" y="3212127"/>
            <a:ext cx="2298318" cy="1005840"/>
            <a:chOff x="834941" y="3212127"/>
            <a:chExt cx="2298318" cy="1005840"/>
          </a:xfrm>
          <a:noFill/>
        </p:grpSpPr>
        <p:sp>
          <p:nvSpPr>
            <p:cNvPr id="4" name="Rectangle 3"/>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Asset </a:t>
              </a:r>
            </a:p>
            <a:p>
              <a:pPr>
                <a:lnSpc>
                  <a:spcPct val="90000"/>
                </a:lnSpc>
              </a:pPr>
              <a:r>
                <a:rPr lang="en-US" sz="2000" dirty="0" smtClean="0">
                  <a:latin typeface="+mj-lt"/>
                  <a:cs typeface="Segoe UI Light" panose="020B0502040204020203" pitchFamily="34" charset="0"/>
                </a:rPr>
                <a:t>Management</a:t>
              </a:r>
              <a:endParaRPr lang="en-US" sz="2000" dirty="0">
                <a:latin typeface="+mj-lt"/>
                <a:cs typeface="Segoe UI Light" panose="020B0502040204020203" pitchFamily="34" charset="0"/>
              </a:endParaRPr>
            </a:p>
          </p:txBody>
        </p:sp>
        <p:sp>
          <p:nvSpPr>
            <p:cNvPr id="15" name="Freeform 14"/>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26" name="Group 25"/>
          <p:cNvGrpSpPr/>
          <p:nvPr/>
        </p:nvGrpSpPr>
        <p:grpSpPr>
          <a:xfrm>
            <a:off x="834941" y="2151579"/>
            <a:ext cx="2298318" cy="1005840"/>
            <a:chOff x="834941" y="4278317"/>
            <a:chExt cx="2298318" cy="1005840"/>
          </a:xfrm>
          <a:noFill/>
        </p:grpSpPr>
        <p:sp>
          <p:nvSpPr>
            <p:cNvPr id="5" name="Rectangle 4"/>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Remote </a:t>
              </a:r>
            </a:p>
            <a:p>
              <a:pPr>
                <a:lnSpc>
                  <a:spcPct val="90000"/>
                </a:lnSpc>
              </a:pPr>
              <a:r>
                <a:rPr lang="en-US" sz="2000" dirty="0" smtClean="0">
                  <a:latin typeface="+mj-lt"/>
                  <a:cs typeface="Segoe UI Light" panose="020B0502040204020203" pitchFamily="34" charset="0"/>
                </a:rPr>
                <a:t>Monitoring</a:t>
              </a:r>
              <a:endParaRPr lang="en-US" sz="2000" dirty="0">
                <a:latin typeface="+mj-lt"/>
                <a:cs typeface="Segoe UI Light" panose="020B0502040204020203" pitchFamily="34" charset="0"/>
              </a:endParaRPr>
            </a:p>
          </p:txBody>
        </p:sp>
        <p:sp>
          <p:nvSpPr>
            <p:cNvPr id="16"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27" name="Group 26"/>
          <p:cNvGrpSpPr/>
          <p:nvPr/>
        </p:nvGrpSpPr>
        <p:grpSpPr>
          <a:xfrm>
            <a:off x="834941" y="5344507"/>
            <a:ext cx="2298318" cy="1005840"/>
            <a:chOff x="834941" y="5344507"/>
            <a:chExt cx="2298318" cy="1005840"/>
          </a:xfrm>
          <a:noFill/>
        </p:grpSpPr>
        <p:sp>
          <p:nvSpPr>
            <p:cNvPr id="11" name="Rectangle 10"/>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future applications</a:t>
              </a:r>
              <a:endParaRPr lang="en-US" sz="2000" dirty="0">
                <a:latin typeface="+mj-lt"/>
                <a:cs typeface="Segoe UI Light" panose="020B0502040204020203" pitchFamily="34" charset="0"/>
              </a:endParaRPr>
            </a:p>
          </p:txBody>
        </p:sp>
        <p:grpSp>
          <p:nvGrpSpPr>
            <p:cNvPr id="23" name="Group 22"/>
            <p:cNvGrpSpPr>
              <a:grpSpLocks noChangeAspect="1"/>
            </p:cNvGrpSpPr>
            <p:nvPr/>
          </p:nvGrpSpPr>
          <p:grpSpPr>
            <a:xfrm>
              <a:off x="2445769" y="5457513"/>
              <a:ext cx="641175" cy="640080"/>
              <a:chOff x="5630862" y="2964656"/>
              <a:chExt cx="930275" cy="928688"/>
            </a:xfrm>
            <a:grpFill/>
          </p:grpSpPr>
          <p:sp>
            <p:nvSpPr>
              <p:cNvPr id="17" name="Freeform 16"/>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8" name="Freeform 17"/>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9" name="Freeform 18"/>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20" name="Freeform 19"/>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21" name="Freeform 20"/>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22" name="Rectangle 21"/>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grpSp>
      </p:grpSp>
    </p:spTree>
    <p:extLst>
      <p:ext uri="{BB962C8B-B14F-4D97-AF65-F5344CB8AC3E}">
        <p14:creationId xmlns:p14="http://schemas.microsoft.com/office/powerpoint/2010/main" val="242286693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1000"/>
                                        <p:tgtEl>
                                          <p:spTgt spid="12"/>
                                        </p:tgtEl>
                                      </p:cBhvr>
                                    </p:animEffect>
                                    <p:anim calcmode="lin" valueType="num">
                                      <p:cBhvr>
                                        <p:cTn id="8" dur="1000" fill="hold"/>
                                        <p:tgtEl>
                                          <p:spTgt spid="12"/>
                                        </p:tgtEl>
                                        <p:attrNameLst>
                                          <p:attrName>ppt_x</p:attrName>
                                        </p:attrNameLst>
                                      </p:cBhvr>
                                      <p:tavLst>
                                        <p:tav tm="0">
                                          <p:val>
                                            <p:strVal val="#ppt_x"/>
                                          </p:val>
                                        </p:tav>
                                        <p:tav tm="100000">
                                          <p:val>
                                            <p:strVal val="#ppt_x"/>
                                          </p:val>
                                        </p:tav>
                                      </p:tavLst>
                                    </p:anim>
                                    <p:anim calcmode="lin" valueType="num">
                                      <p:cBhvr>
                                        <p:cTn id="9" dur="1000" fill="hold"/>
                                        <p:tgtEl>
                                          <p:spTgt spid="12"/>
                                        </p:tgtEl>
                                        <p:attrNameLst>
                                          <p:attrName>ppt_y</p:attrName>
                                        </p:attrNameLst>
                                      </p:cBhvr>
                                      <p:tavLst>
                                        <p:tav tm="0">
                                          <p:val>
                                            <p:strVal val="#ppt_y-.1"/>
                                          </p:val>
                                        </p:tav>
                                        <p:tav tm="100000">
                                          <p:val>
                                            <p:strVal val="#ppt_y"/>
                                          </p:val>
                                        </p:tav>
                                      </p:tavLst>
                                    </p:anim>
                                  </p:childTnLst>
                                </p:cTn>
                              </p:par>
                            </p:childTnLst>
                          </p:cTn>
                        </p:par>
                        <p:par>
                          <p:cTn id="10" fill="hold">
                            <p:stCondLst>
                              <p:cond delay="1000"/>
                            </p:stCondLst>
                            <p:childTnLst>
                              <p:par>
                                <p:cTn id="11" presetID="2" presetClass="entr" presetSubtype="2" decel="100000" fill="hold" nodeType="afterEffect">
                                  <p:stCondLst>
                                    <p:cond delay="0"/>
                                  </p:stCondLst>
                                  <p:childTnLst>
                                    <p:set>
                                      <p:cBhvr>
                                        <p:cTn id="12" dur="1" fill="hold">
                                          <p:stCondLst>
                                            <p:cond delay="0"/>
                                          </p:stCondLst>
                                        </p:cTn>
                                        <p:tgtEl>
                                          <p:spTgt spid="26"/>
                                        </p:tgtEl>
                                        <p:attrNameLst>
                                          <p:attrName>style.visibility</p:attrName>
                                        </p:attrNameLst>
                                      </p:cBhvr>
                                      <p:to>
                                        <p:strVal val="visible"/>
                                      </p:to>
                                    </p:set>
                                    <p:anim calcmode="lin" valueType="num">
                                      <p:cBhvr additive="base">
                                        <p:cTn id="13" dur="500" fill="hold"/>
                                        <p:tgtEl>
                                          <p:spTgt spid="26"/>
                                        </p:tgtEl>
                                        <p:attrNameLst>
                                          <p:attrName>ppt_x</p:attrName>
                                        </p:attrNameLst>
                                      </p:cBhvr>
                                      <p:tavLst>
                                        <p:tav tm="0">
                                          <p:val>
                                            <p:strVal val="1+#ppt_w/2"/>
                                          </p:val>
                                        </p:tav>
                                        <p:tav tm="100000">
                                          <p:val>
                                            <p:strVal val="#ppt_x"/>
                                          </p:val>
                                        </p:tav>
                                      </p:tavLst>
                                    </p:anim>
                                    <p:anim calcmode="lin" valueType="num">
                                      <p:cBhvr additive="base">
                                        <p:cTn id="14" dur="500" fill="hold"/>
                                        <p:tgtEl>
                                          <p:spTgt spid="26"/>
                                        </p:tgtEl>
                                        <p:attrNameLst>
                                          <p:attrName>ppt_y</p:attrName>
                                        </p:attrNameLst>
                                      </p:cBhvr>
                                      <p:tavLst>
                                        <p:tav tm="0">
                                          <p:val>
                                            <p:strVal val="#ppt_y"/>
                                          </p:val>
                                        </p:tav>
                                        <p:tav tm="100000">
                                          <p:val>
                                            <p:strVal val="#ppt_y"/>
                                          </p:val>
                                        </p:tav>
                                      </p:tavLst>
                                    </p:anim>
                                  </p:childTnLst>
                                </p:cTn>
                              </p:par>
                            </p:childTnLst>
                          </p:cTn>
                        </p:par>
                        <p:par>
                          <p:cTn id="15" fill="hold">
                            <p:stCondLst>
                              <p:cond delay="1500"/>
                            </p:stCondLst>
                            <p:childTnLst>
                              <p:par>
                                <p:cTn id="16" presetID="2" presetClass="entr" presetSubtype="2" decel="100000" fill="hold" nodeType="afterEffect">
                                  <p:stCondLst>
                                    <p:cond delay="0"/>
                                  </p:stCondLst>
                                  <p:childTnLst>
                                    <p:set>
                                      <p:cBhvr>
                                        <p:cTn id="17" dur="1" fill="hold">
                                          <p:stCondLst>
                                            <p:cond delay="0"/>
                                          </p:stCondLst>
                                        </p:cTn>
                                        <p:tgtEl>
                                          <p:spTgt spid="25"/>
                                        </p:tgtEl>
                                        <p:attrNameLst>
                                          <p:attrName>style.visibility</p:attrName>
                                        </p:attrNameLst>
                                      </p:cBhvr>
                                      <p:to>
                                        <p:strVal val="visible"/>
                                      </p:to>
                                    </p:set>
                                    <p:anim calcmode="lin" valueType="num">
                                      <p:cBhvr additive="base">
                                        <p:cTn id="18" dur="500" fill="hold"/>
                                        <p:tgtEl>
                                          <p:spTgt spid="25"/>
                                        </p:tgtEl>
                                        <p:attrNameLst>
                                          <p:attrName>ppt_x</p:attrName>
                                        </p:attrNameLst>
                                      </p:cBhvr>
                                      <p:tavLst>
                                        <p:tav tm="0">
                                          <p:val>
                                            <p:strVal val="1+#ppt_w/2"/>
                                          </p:val>
                                        </p:tav>
                                        <p:tav tm="100000">
                                          <p:val>
                                            <p:strVal val="#ppt_x"/>
                                          </p:val>
                                        </p:tav>
                                      </p:tavLst>
                                    </p:anim>
                                    <p:anim calcmode="lin" valueType="num">
                                      <p:cBhvr additive="base">
                                        <p:cTn id="19" dur="500" fill="hold"/>
                                        <p:tgtEl>
                                          <p:spTgt spid="25"/>
                                        </p:tgtEl>
                                        <p:attrNameLst>
                                          <p:attrName>ppt_y</p:attrName>
                                        </p:attrNameLst>
                                      </p:cBhvr>
                                      <p:tavLst>
                                        <p:tav tm="0">
                                          <p:val>
                                            <p:strVal val="#ppt_y"/>
                                          </p:val>
                                        </p:tav>
                                        <p:tav tm="100000">
                                          <p:val>
                                            <p:strVal val="#ppt_y"/>
                                          </p:val>
                                        </p:tav>
                                      </p:tavLst>
                                    </p:anim>
                                  </p:childTnLst>
                                </p:cTn>
                              </p:par>
                            </p:childTnLst>
                          </p:cTn>
                        </p:par>
                        <p:par>
                          <p:cTn id="20" fill="hold">
                            <p:stCondLst>
                              <p:cond delay="2000"/>
                            </p:stCondLst>
                            <p:childTnLst>
                              <p:par>
                                <p:cTn id="21" presetID="2" presetClass="entr" presetSubtype="2" decel="100000" fill="hold" nodeType="afterEffect">
                                  <p:stCondLst>
                                    <p:cond delay="0"/>
                                  </p:stCondLst>
                                  <p:childTnLst>
                                    <p:set>
                                      <p:cBhvr>
                                        <p:cTn id="22" dur="1" fill="hold">
                                          <p:stCondLst>
                                            <p:cond delay="0"/>
                                          </p:stCondLst>
                                        </p:cTn>
                                        <p:tgtEl>
                                          <p:spTgt spid="24"/>
                                        </p:tgtEl>
                                        <p:attrNameLst>
                                          <p:attrName>style.visibility</p:attrName>
                                        </p:attrNameLst>
                                      </p:cBhvr>
                                      <p:to>
                                        <p:strVal val="visible"/>
                                      </p:to>
                                    </p:set>
                                    <p:anim calcmode="lin" valueType="num">
                                      <p:cBhvr additive="base">
                                        <p:cTn id="23" dur="500" fill="hold"/>
                                        <p:tgtEl>
                                          <p:spTgt spid="24"/>
                                        </p:tgtEl>
                                        <p:attrNameLst>
                                          <p:attrName>ppt_x</p:attrName>
                                        </p:attrNameLst>
                                      </p:cBhvr>
                                      <p:tavLst>
                                        <p:tav tm="0">
                                          <p:val>
                                            <p:strVal val="1+#ppt_w/2"/>
                                          </p:val>
                                        </p:tav>
                                        <p:tav tm="100000">
                                          <p:val>
                                            <p:strVal val="#ppt_x"/>
                                          </p:val>
                                        </p:tav>
                                      </p:tavLst>
                                    </p:anim>
                                    <p:anim calcmode="lin" valueType="num">
                                      <p:cBhvr additive="base">
                                        <p:cTn id="24" dur="500" fill="hold"/>
                                        <p:tgtEl>
                                          <p:spTgt spid="24"/>
                                        </p:tgtEl>
                                        <p:attrNameLst>
                                          <p:attrName>ppt_y</p:attrName>
                                        </p:attrNameLst>
                                      </p:cBhvr>
                                      <p:tavLst>
                                        <p:tav tm="0">
                                          <p:val>
                                            <p:strVal val="#ppt_y"/>
                                          </p:val>
                                        </p:tav>
                                        <p:tav tm="100000">
                                          <p:val>
                                            <p:strVal val="#ppt_y"/>
                                          </p:val>
                                        </p:tav>
                                      </p:tavLst>
                                    </p:anim>
                                  </p:childTnLst>
                                </p:cTn>
                              </p:par>
                            </p:childTnLst>
                          </p:cTn>
                        </p:par>
                        <p:par>
                          <p:cTn id="25" fill="hold">
                            <p:stCondLst>
                              <p:cond delay="2500"/>
                            </p:stCondLst>
                            <p:childTnLst>
                              <p:par>
                                <p:cTn id="26" presetID="2" presetClass="entr" presetSubtype="2" decel="100000" fill="hold" nodeType="afterEffect">
                                  <p:stCondLst>
                                    <p:cond delay="0"/>
                                  </p:stCondLst>
                                  <p:childTnLst>
                                    <p:set>
                                      <p:cBhvr>
                                        <p:cTn id="27" dur="1" fill="hold">
                                          <p:stCondLst>
                                            <p:cond delay="0"/>
                                          </p:stCondLst>
                                        </p:cTn>
                                        <p:tgtEl>
                                          <p:spTgt spid="27"/>
                                        </p:tgtEl>
                                        <p:attrNameLst>
                                          <p:attrName>style.visibility</p:attrName>
                                        </p:attrNameLst>
                                      </p:cBhvr>
                                      <p:to>
                                        <p:strVal val="visible"/>
                                      </p:to>
                                    </p:set>
                                    <p:anim calcmode="lin" valueType="num">
                                      <p:cBhvr additive="base">
                                        <p:cTn id="28" dur="500" fill="hold"/>
                                        <p:tgtEl>
                                          <p:spTgt spid="27"/>
                                        </p:tgtEl>
                                        <p:attrNameLst>
                                          <p:attrName>ppt_x</p:attrName>
                                        </p:attrNameLst>
                                      </p:cBhvr>
                                      <p:tavLst>
                                        <p:tav tm="0">
                                          <p:val>
                                            <p:strVal val="1+#ppt_w/2"/>
                                          </p:val>
                                        </p:tav>
                                        <p:tav tm="100000">
                                          <p:val>
                                            <p:strVal val="#ppt_x"/>
                                          </p:val>
                                        </p:tav>
                                      </p:tavLst>
                                    </p:anim>
                                    <p:anim calcmode="lin" valueType="num">
                                      <p:cBhvr additive="base">
                                        <p:cTn id="29" dur="500" fill="hold"/>
                                        <p:tgtEl>
                                          <p:spTgt spid="27"/>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 name="Rectangle 42"/>
          <p:cNvSpPr/>
          <p:nvPr/>
        </p:nvSpPr>
        <p:spPr>
          <a:xfrm>
            <a:off x="533398" y="1600200"/>
            <a:ext cx="5818305" cy="5004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r>
              <a:rPr lang="en-US" sz="1400" b="1" dirty="0">
                <a:latin typeface="Segoe UI Semibold" panose="020B0702040204020203" pitchFamily="34" charset="0"/>
                <a:cs typeface="Segoe UI Light" panose="020B0502040204020203" pitchFamily="34" charset="0"/>
              </a:rPr>
              <a:t>IoT Applications … </a:t>
            </a:r>
            <a:r>
              <a:rPr lang="en-US" sz="1400" b="1" dirty="0">
                <a:latin typeface="Segoe UI" panose="020B0502040204020203" pitchFamily="34" charset="0"/>
                <a:ea typeface="Segoe UI" panose="020B0502040204020203" pitchFamily="34" charset="0"/>
                <a:cs typeface="Segoe UI" panose="020B0502040204020203" pitchFamily="34" charset="0"/>
              </a:rPr>
              <a:t>to build a Proof of Concept</a:t>
            </a:r>
            <a:r>
              <a:rPr lang="en-US" sz="1400" b="1" dirty="0" smtClean="0">
                <a:latin typeface="Segoe UI" panose="020B0502040204020203" pitchFamily="34" charset="0"/>
                <a:ea typeface="Segoe UI" panose="020B0502040204020203" pitchFamily="34" charset="0"/>
                <a:cs typeface="Segoe UI" panose="020B0502040204020203" pitchFamily="34" charset="0"/>
              </a:rPr>
              <a:t>…</a:t>
            </a:r>
            <a:endParaRPr lang="en-US" sz="1400" b="1" dirty="0">
              <a:latin typeface="Segoe UI" panose="020B0502040204020203" pitchFamily="34" charset="0"/>
              <a:ea typeface="Segoe UI" panose="020B0502040204020203" pitchFamily="34" charset="0"/>
              <a:cs typeface="Segoe UI" panose="020B0502040204020203" pitchFamily="34" charset="0"/>
            </a:endParaRPr>
          </a:p>
        </p:txBody>
      </p:sp>
      <p:grpSp>
        <p:nvGrpSpPr>
          <p:cNvPr id="6" name="Group 5"/>
          <p:cNvGrpSpPr>
            <a:grpSpLocks noChangeAspect="1"/>
          </p:cNvGrpSpPr>
          <p:nvPr/>
        </p:nvGrpSpPr>
        <p:grpSpPr>
          <a:xfrm>
            <a:off x="3422079" y="2879793"/>
            <a:ext cx="2538565" cy="2676348"/>
            <a:chOff x="3707238" y="487890"/>
            <a:chExt cx="5717080" cy="6027381"/>
          </a:xfrm>
        </p:grpSpPr>
        <p:sp>
          <p:nvSpPr>
            <p:cNvPr id="7" name="Freeform 6"/>
            <p:cNvSpPr/>
            <p:nvPr/>
          </p:nvSpPr>
          <p:spPr>
            <a:xfrm>
              <a:off x="5825066" y="3158066"/>
              <a:ext cx="2980266" cy="2980266"/>
            </a:xfrm>
            <a:custGeom>
              <a:avLst/>
              <a:gdLst>
                <a:gd name="connsiteX0" fmla="*/ 2115406 w 2980266"/>
                <a:gd name="connsiteY0" fmla="*/ 475169 h 2980266"/>
                <a:gd name="connsiteX1" fmla="*/ 2347223 w 2980266"/>
                <a:gd name="connsiteY1" fmla="*/ 280641 h 2980266"/>
                <a:gd name="connsiteX2" fmla="*/ 2532418 w 2980266"/>
                <a:gd name="connsiteY2" fmla="*/ 436038 h 2980266"/>
                <a:gd name="connsiteX3" fmla="*/ 2381100 w 2980266"/>
                <a:gd name="connsiteY3" fmla="*/ 698113 h 2980266"/>
                <a:gd name="connsiteX4" fmla="*/ 2621526 w 2980266"/>
                <a:gd name="connsiteY4" fmla="*/ 1114543 h 2980266"/>
                <a:gd name="connsiteX5" fmla="*/ 2924149 w 2980266"/>
                <a:gd name="connsiteY5" fmla="*/ 1114535 h 2980266"/>
                <a:gd name="connsiteX6" fmla="*/ 2966129 w 2980266"/>
                <a:gd name="connsiteY6" fmla="*/ 1352617 h 2980266"/>
                <a:gd name="connsiteX7" fmla="*/ 2681754 w 2980266"/>
                <a:gd name="connsiteY7" fmla="*/ 1456113 h 2980266"/>
                <a:gd name="connsiteX8" fmla="*/ 2598255 w 2980266"/>
                <a:gd name="connsiteY8" fmla="*/ 1929659 h 2980266"/>
                <a:gd name="connsiteX9" fmla="*/ 2830082 w 2980266"/>
                <a:gd name="connsiteY9" fmla="*/ 2124176 h 2980266"/>
                <a:gd name="connsiteX10" fmla="*/ 2709205 w 2980266"/>
                <a:gd name="connsiteY10" fmla="*/ 2333542 h 2980266"/>
                <a:gd name="connsiteX11" fmla="*/ 2424835 w 2980266"/>
                <a:gd name="connsiteY11" fmla="*/ 2230031 h 2980266"/>
                <a:gd name="connsiteX12" fmla="*/ 2056481 w 2980266"/>
                <a:gd name="connsiteY12" fmla="*/ 2539116 h 2980266"/>
                <a:gd name="connsiteX13" fmla="*/ 2109039 w 2980266"/>
                <a:gd name="connsiteY13" fmla="*/ 2837141 h 2980266"/>
                <a:gd name="connsiteX14" fmla="*/ 1881863 w 2980266"/>
                <a:gd name="connsiteY14" fmla="*/ 2919826 h 2980266"/>
                <a:gd name="connsiteX15" fmla="*/ 1730559 w 2980266"/>
                <a:gd name="connsiteY15" fmla="*/ 2657743 h 2980266"/>
                <a:gd name="connsiteX16" fmla="*/ 1249707 w 2980266"/>
                <a:gd name="connsiteY16" fmla="*/ 2657743 h 2980266"/>
                <a:gd name="connsiteX17" fmla="*/ 1098403 w 2980266"/>
                <a:gd name="connsiteY17" fmla="*/ 2919826 h 2980266"/>
                <a:gd name="connsiteX18" fmla="*/ 871227 w 2980266"/>
                <a:gd name="connsiteY18" fmla="*/ 2837141 h 2980266"/>
                <a:gd name="connsiteX19" fmla="*/ 923785 w 2980266"/>
                <a:gd name="connsiteY19" fmla="*/ 2539117 h 2980266"/>
                <a:gd name="connsiteX20" fmla="*/ 555431 w 2980266"/>
                <a:gd name="connsiteY20" fmla="*/ 2230032 h 2980266"/>
                <a:gd name="connsiteX21" fmla="*/ 271061 w 2980266"/>
                <a:gd name="connsiteY21" fmla="*/ 2333542 h 2980266"/>
                <a:gd name="connsiteX22" fmla="*/ 150184 w 2980266"/>
                <a:gd name="connsiteY22" fmla="*/ 2124176 h 2980266"/>
                <a:gd name="connsiteX23" fmla="*/ 382011 w 2980266"/>
                <a:gd name="connsiteY23" fmla="*/ 1929660 h 2980266"/>
                <a:gd name="connsiteX24" fmla="*/ 298512 w 2980266"/>
                <a:gd name="connsiteY24" fmla="*/ 1456114 h 2980266"/>
                <a:gd name="connsiteX25" fmla="*/ 14137 w 2980266"/>
                <a:gd name="connsiteY25" fmla="*/ 1352617 h 2980266"/>
                <a:gd name="connsiteX26" fmla="*/ 56117 w 2980266"/>
                <a:gd name="connsiteY26" fmla="*/ 1114535 h 2980266"/>
                <a:gd name="connsiteX27" fmla="*/ 358740 w 2980266"/>
                <a:gd name="connsiteY27" fmla="*/ 1114543 h 2980266"/>
                <a:gd name="connsiteX28" fmla="*/ 599166 w 2980266"/>
                <a:gd name="connsiteY28" fmla="*/ 698113 h 2980266"/>
                <a:gd name="connsiteX29" fmla="*/ 447848 w 2980266"/>
                <a:gd name="connsiteY29" fmla="*/ 436038 h 2980266"/>
                <a:gd name="connsiteX30" fmla="*/ 633043 w 2980266"/>
                <a:gd name="connsiteY30" fmla="*/ 280641 h 2980266"/>
                <a:gd name="connsiteX31" fmla="*/ 864860 w 2980266"/>
                <a:gd name="connsiteY31" fmla="*/ 475169 h 2980266"/>
                <a:gd name="connsiteX32" fmla="*/ 1316713 w 2980266"/>
                <a:gd name="connsiteY32" fmla="*/ 310708 h 2980266"/>
                <a:gd name="connsiteX33" fmla="*/ 1369255 w 2980266"/>
                <a:gd name="connsiteY33" fmla="*/ 12681 h 2980266"/>
                <a:gd name="connsiteX34" fmla="*/ 1611011 w 2980266"/>
                <a:gd name="connsiteY34" fmla="*/ 12681 h 2980266"/>
                <a:gd name="connsiteX35" fmla="*/ 1663553 w 2980266"/>
                <a:gd name="connsiteY35" fmla="*/ 310708 h 2980266"/>
                <a:gd name="connsiteX36" fmla="*/ 2115406 w 2980266"/>
                <a:gd name="connsiteY36" fmla="*/ 475169 h 29802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80266" h="2980266">
                  <a:moveTo>
                    <a:pt x="2115406" y="475169"/>
                  </a:moveTo>
                  <a:lnTo>
                    <a:pt x="2347223" y="280641"/>
                  </a:lnTo>
                  <a:lnTo>
                    <a:pt x="2532418" y="436038"/>
                  </a:lnTo>
                  <a:lnTo>
                    <a:pt x="2381100" y="698113"/>
                  </a:lnTo>
                  <a:cubicBezTo>
                    <a:pt x="2488696" y="819151"/>
                    <a:pt x="2570502" y="960843"/>
                    <a:pt x="2621526" y="1114543"/>
                  </a:cubicBezTo>
                  <a:lnTo>
                    <a:pt x="2924149" y="1114535"/>
                  </a:lnTo>
                  <a:lnTo>
                    <a:pt x="2966129" y="1352617"/>
                  </a:lnTo>
                  <a:lnTo>
                    <a:pt x="2681754" y="1456113"/>
                  </a:lnTo>
                  <a:cubicBezTo>
                    <a:pt x="2686376" y="1617995"/>
                    <a:pt x="2657965" y="1779121"/>
                    <a:pt x="2598255" y="1929659"/>
                  </a:cubicBezTo>
                  <a:lnTo>
                    <a:pt x="2830082" y="2124176"/>
                  </a:lnTo>
                  <a:lnTo>
                    <a:pt x="2709205" y="2333542"/>
                  </a:lnTo>
                  <a:lnTo>
                    <a:pt x="2424835" y="2230031"/>
                  </a:lnTo>
                  <a:cubicBezTo>
                    <a:pt x="2324320" y="2357010"/>
                    <a:pt x="2198986" y="2462178"/>
                    <a:pt x="2056481" y="2539116"/>
                  </a:cubicBezTo>
                  <a:lnTo>
                    <a:pt x="2109039" y="2837141"/>
                  </a:lnTo>
                  <a:lnTo>
                    <a:pt x="1881863" y="2919826"/>
                  </a:lnTo>
                  <a:lnTo>
                    <a:pt x="1730559" y="2657743"/>
                  </a:lnTo>
                  <a:cubicBezTo>
                    <a:pt x="1571939" y="2690405"/>
                    <a:pt x="1408327" y="2690405"/>
                    <a:pt x="1249707" y="2657743"/>
                  </a:cubicBezTo>
                  <a:lnTo>
                    <a:pt x="1098403" y="2919826"/>
                  </a:lnTo>
                  <a:lnTo>
                    <a:pt x="871227" y="2837141"/>
                  </a:lnTo>
                  <a:lnTo>
                    <a:pt x="923785" y="2539117"/>
                  </a:lnTo>
                  <a:cubicBezTo>
                    <a:pt x="781280" y="2462179"/>
                    <a:pt x="655947" y="2357011"/>
                    <a:pt x="555431" y="2230032"/>
                  </a:cubicBezTo>
                  <a:lnTo>
                    <a:pt x="271061" y="2333542"/>
                  </a:lnTo>
                  <a:lnTo>
                    <a:pt x="150184" y="2124176"/>
                  </a:lnTo>
                  <a:lnTo>
                    <a:pt x="382011" y="1929660"/>
                  </a:lnTo>
                  <a:cubicBezTo>
                    <a:pt x="322301" y="1779122"/>
                    <a:pt x="293890" y="1617995"/>
                    <a:pt x="298512" y="1456114"/>
                  </a:cubicBezTo>
                  <a:lnTo>
                    <a:pt x="14137" y="1352617"/>
                  </a:lnTo>
                  <a:lnTo>
                    <a:pt x="56117" y="1114535"/>
                  </a:lnTo>
                  <a:lnTo>
                    <a:pt x="358740" y="1114543"/>
                  </a:lnTo>
                  <a:cubicBezTo>
                    <a:pt x="409764" y="960843"/>
                    <a:pt x="491570" y="819151"/>
                    <a:pt x="599166" y="698113"/>
                  </a:cubicBezTo>
                  <a:lnTo>
                    <a:pt x="447848" y="436038"/>
                  </a:lnTo>
                  <a:lnTo>
                    <a:pt x="633043" y="280641"/>
                  </a:lnTo>
                  <a:lnTo>
                    <a:pt x="864860" y="475169"/>
                  </a:lnTo>
                  <a:cubicBezTo>
                    <a:pt x="1002743" y="390226"/>
                    <a:pt x="1156488" y="334267"/>
                    <a:pt x="1316713" y="310708"/>
                  </a:cubicBezTo>
                  <a:lnTo>
                    <a:pt x="1369255" y="12681"/>
                  </a:lnTo>
                  <a:lnTo>
                    <a:pt x="1611011" y="12681"/>
                  </a:lnTo>
                  <a:lnTo>
                    <a:pt x="1663553" y="310708"/>
                  </a:lnTo>
                  <a:cubicBezTo>
                    <a:pt x="1823778" y="334267"/>
                    <a:pt x="1977523" y="390226"/>
                    <a:pt x="2115406" y="475169"/>
                  </a:cubicBezTo>
                  <a:close/>
                </a:path>
              </a:pathLst>
            </a:custGeom>
            <a:solidFill>
              <a:schemeClr val="accent4"/>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669016" tIns="767963" rIns="669016" bIns="820085" numCol="1" spcCol="1270" anchor="ctr" anchorCtr="0">
              <a:noAutofit/>
            </a:bodyPr>
            <a:lstStyle/>
            <a:p>
              <a:pPr lvl="0" algn="ctr" defTabSz="2444750">
                <a:lnSpc>
                  <a:spcPct val="90000"/>
                </a:lnSpc>
                <a:spcBef>
                  <a:spcPct val="0"/>
                </a:spcBef>
                <a:spcAft>
                  <a:spcPct val="35000"/>
                </a:spcAft>
              </a:pPr>
              <a:r>
                <a:rPr lang="en-US" sz="2000" kern="1200" dirty="0" smtClean="0"/>
                <a:t>Proof</a:t>
              </a:r>
              <a:endParaRPr lang="en-US" sz="2000" kern="1200" dirty="0"/>
            </a:p>
          </p:txBody>
        </p:sp>
        <p:sp>
          <p:nvSpPr>
            <p:cNvPr id="8" name="Freeform 7"/>
            <p:cNvSpPr/>
            <p:nvPr/>
          </p:nvSpPr>
          <p:spPr>
            <a:xfrm>
              <a:off x="4091093" y="2453639"/>
              <a:ext cx="2167466" cy="2167466"/>
            </a:xfrm>
            <a:custGeom>
              <a:avLst/>
              <a:gdLst>
                <a:gd name="connsiteX0" fmla="*/ 1621800 w 2167466"/>
                <a:gd name="connsiteY0" fmla="*/ 548964 h 2167466"/>
                <a:gd name="connsiteX1" fmla="*/ 1941574 w 2167466"/>
                <a:gd name="connsiteY1" fmla="*/ 452590 h 2167466"/>
                <a:gd name="connsiteX2" fmla="*/ 2059240 w 2167466"/>
                <a:gd name="connsiteY2" fmla="*/ 656392 h 2167466"/>
                <a:gd name="connsiteX3" fmla="*/ 1815890 w 2167466"/>
                <a:gd name="connsiteY3" fmla="*/ 885138 h 2167466"/>
                <a:gd name="connsiteX4" fmla="*/ 1815890 w 2167466"/>
                <a:gd name="connsiteY4" fmla="*/ 1282328 h 2167466"/>
                <a:gd name="connsiteX5" fmla="*/ 2059240 w 2167466"/>
                <a:gd name="connsiteY5" fmla="*/ 1511074 h 2167466"/>
                <a:gd name="connsiteX6" fmla="*/ 1941574 w 2167466"/>
                <a:gd name="connsiteY6" fmla="*/ 1714876 h 2167466"/>
                <a:gd name="connsiteX7" fmla="*/ 1621800 w 2167466"/>
                <a:gd name="connsiteY7" fmla="*/ 1618502 h 2167466"/>
                <a:gd name="connsiteX8" fmla="*/ 1277823 w 2167466"/>
                <a:gd name="connsiteY8" fmla="*/ 1817097 h 2167466"/>
                <a:gd name="connsiteX9" fmla="*/ 1201398 w 2167466"/>
                <a:gd name="connsiteY9" fmla="*/ 2142217 h 2167466"/>
                <a:gd name="connsiteX10" fmla="*/ 966068 w 2167466"/>
                <a:gd name="connsiteY10" fmla="*/ 2142217 h 2167466"/>
                <a:gd name="connsiteX11" fmla="*/ 889643 w 2167466"/>
                <a:gd name="connsiteY11" fmla="*/ 1817097 h 2167466"/>
                <a:gd name="connsiteX12" fmla="*/ 545666 w 2167466"/>
                <a:gd name="connsiteY12" fmla="*/ 1618502 h 2167466"/>
                <a:gd name="connsiteX13" fmla="*/ 225892 w 2167466"/>
                <a:gd name="connsiteY13" fmla="*/ 1714876 h 2167466"/>
                <a:gd name="connsiteX14" fmla="*/ 108226 w 2167466"/>
                <a:gd name="connsiteY14" fmla="*/ 1511074 h 2167466"/>
                <a:gd name="connsiteX15" fmla="*/ 351576 w 2167466"/>
                <a:gd name="connsiteY15" fmla="*/ 1282328 h 2167466"/>
                <a:gd name="connsiteX16" fmla="*/ 351576 w 2167466"/>
                <a:gd name="connsiteY16" fmla="*/ 885138 h 2167466"/>
                <a:gd name="connsiteX17" fmla="*/ 108226 w 2167466"/>
                <a:gd name="connsiteY17" fmla="*/ 656392 h 2167466"/>
                <a:gd name="connsiteX18" fmla="*/ 225892 w 2167466"/>
                <a:gd name="connsiteY18" fmla="*/ 452590 h 2167466"/>
                <a:gd name="connsiteX19" fmla="*/ 545666 w 2167466"/>
                <a:gd name="connsiteY19" fmla="*/ 548964 h 2167466"/>
                <a:gd name="connsiteX20" fmla="*/ 889643 w 2167466"/>
                <a:gd name="connsiteY20" fmla="*/ 350369 h 2167466"/>
                <a:gd name="connsiteX21" fmla="*/ 966068 w 2167466"/>
                <a:gd name="connsiteY21" fmla="*/ 25249 h 2167466"/>
                <a:gd name="connsiteX22" fmla="*/ 1201398 w 2167466"/>
                <a:gd name="connsiteY22" fmla="*/ 25249 h 2167466"/>
                <a:gd name="connsiteX23" fmla="*/ 1277823 w 2167466"/>
                <a:gd name="connsiteY23" fmla="*/ 350369 h 2167466"/>
                <a:gd name="connsiteX24" fmla="*/ 1621800 w 2167466"/>
                <a:gd name="connsiteY24" fmla="*/ 548964 h 21674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67466" h="2167466">
                  <a:moveTo>
                    <a:pt x="1621800" y="548964"/>
                  </a:moveTo>
                  <a:lnTo>
                    <a:pt x="1941574" y="452590"/>
                  </a:lnTo>
                  <a:lnTo>
                    <a:pt x="2059240" y="656392"/>
                  </a:lnTo>
                  <a:lnTo>
                    <a:pt x="1815890" y="885138"/>
                  </a:lnTo>
                  <a:cubicBezTo>
                    <a:pt x="1851165" y="1015185"/>
                    <a:pt x="1851165" y="1152281"/>
                    <a:pt x="1815890" y="1282328"/>
                  </a:cubicBezTo>
                  <a:lnTo>
                    <a:pt x="2059240" y="1511074"/>
                  </a:lnTo>
                  <a:lnTo>
                    <a:pt x="1941574" y="1714876"/>
                  </a:lnTo>
                  <a:lnTo>
                    <a:pt x="1621800" y="1618502"/>
                  </a:lnTo>
                  <a:cubicBezTo>
                    <a:pt x="1526813" y="1714075"/>
                    <a:pt x="1408085" y="1782623"/>
                    <a:pt x="1277823" y="1817097"/>
                  </a:cubicBezTo>
                  <a:lnTo>
                    <a:pt x="1201398" y="2142217"/>
                  </a:lnTo>
                  <a:lnTo>
                    <a:pt x="966068" y="2142217"/>
                  </a:lnTo>
                  <a:lnTo>
                    <a:pt x="889643" y="1817097"/>
                  </a:lnTo>
                  <a:cubicBezTo>
                    <a:pt x="759381" y="1782622"/>
                    <a:pt x="640653" y="1714074"/>
                    <a:pt x="545666" y="1618502"/>
                  </a:cubicBezTo>
                  <a:lnTo>
                    <a:pt x="225892" y="1714876"/>
                  </a:lnTo>
                  <a:lnTo>
                    <a:pt x="108226" y="1511074"/>
                  </a:lnTo>
                  <a:lnTo>
                    <a:pt x="351576" y="1282328"/>
                  </a:lnTo>
                  <a:cubicBezTo>
                    <a:pt x="316301" y="1152281"/>
                    <a:pt x="316301" y="1015185"/>
                    <a:pt x="351576" y="885138"/>
                  </a:cubicBezTo>
                  <a:lnTo>
                    <a:pt x="108226" y="656392"/>
                  </a:lnTo>
                  <a:lnTo>
                    <a:pt x="225892" y="452590"/>
                  </a:lnTo>
                  <a:lnTo>
                    <a:pt x="545666" y="548964"/>
                  </a:lnTo>
                  <a:cubicBezTo>
                    <a:pt x="640653" y="453391"/>
                    <a:pt x="759381" y="384843"/>
                    <a:pt x="889643" y="350369"/>
                  </a:cubicBezTo>
                  <a:lnTo>
                    <a:pt x="966068" y="25249"/>
                  </a:lnTo>
                  <a:lnTo>
                    <a:pt x="1201398" y="25249"/>
                  </a:lnTo>
                  <a:lnTo>
                    <a:pt x="1277823" y="350369"/>
                  </a:lnTo>
                  <a:cubicBezTo>
                    <a:pt x="1408085" y="384844"/>
                    <a:pt x="1526813" y="453392"/>
                    <a:pt x="1621800" y="548964"/>
                  </a:cubicBezTo>
                  <a:close/>
                </a:path>
              </a:pathLst>
            </a:custGeom>
            <a:solidFill>
              <a:schemeClr val="accent5"/>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587576" tIns="590874" rIns="587576" bIns="590874" numCol="1" spcCol="1270" anchor="ctr" anchorCtr="0">
              <a:noAutofit/>
            </a:bodyPr>
            <a:lstStyle/>
            <a:p>
              <a:pPr lvl="0" algn="ctr" defTabSz="1466850">
                <a:lnSpc>
                  <a:spcPct val="90000"/>
                </a:lnSpc>
                <a:spcBef>
                  <a:spcPct val="0"/>
                </a:spcBef>
                <a:spcAft>
                  <a:spcPct val="35000"/>
                </a:spcAft>
              </a:pPr>
              <a:r>
                <a:rPr lang="en-US" sz="1600" kern="1200" dirty="0" smtClean="0"/>
                <a:t>Plan</a:t>
              </a:r>
              <a:endParaRPr lang="en-US" sz="1200" kern="1200" dirty="0"/>
            </a:p>
          </p:txBody>
        </p:sp>
        <p:sp>
          <p:nvSpPr>
            <p:cNvPr id="10" name="Freeform 9"/>
            <p:cNvSpPr/>
            <p:nvPr/>
          </p:nvSpPr>
          <p:spPr>
            <a:xfrm>
              <a:off x="5066452" y="719665"/>
              <a:ext cx="2600961" cy="2600961"/>
            </a:xfrm>
            <a:custGeom>
              <a:avLst/>
              <a:gdLst>
                <a:gd name="connsiteX0" fmla="*/ 1589033 w 2123675"/>
                <a:gd name="connsiteY0" fmla="*/ 537873 h 2123675"/>
                <a:gd name="connsiteX1" fmla="*/ 1902347 w 2123675"/>
                <a:gd name="connsiteY1" fmla="*/ 443446 h 2123675"/>
                <a:gd name="connsiteX2" fmla="*/ 2017635 w 2123675"/>
                <a:gd name="connsiteY2" fmla="*/ 643130 h 2123675"/>
                <a:gd name="connsiteX3" fmla="*/ 1779202 w 2123675"/>
                <a:gd name="connsiteY3" fmla="*/ 867255 h 2123675"/>
                <a:gd name="connsiteX4" fmla="*/ 1779202 w 2123675"/>
                <a:gd name="connsiteY4" fmla="*/ 1256420 h 2123675"/>
                <a:gd name="connsiteX5" fmla="*/ 2017635 w 2123675"/>
                <a:gd name="connsiteY5" fmla="*/ 1480545 h 2123675"/>
                <a:gd name="connsiteX6" fmla="*/ 1902347 w 2123675"/>
                <a:gd name="connsiteY6" fmla="*/ 1680229 h 2123675"/>
                <a:gd name="connsiteX7" fmla="*/ 1589033 w 2123675"/>
                <a:gd name="connsiteY7" fmla="*/ 1585802 h 2123675"/>
                <a:gd name="connsiteX8" fmla="*/ 1252006 w 2123675"/>
                <a:gd name="connsiteY8" fmla="*/ 1780385 h 2123675"/>
                <a:gd name="connsiteX9" fmla="*/ 1177125 w 2123675"/>
                <a:gd name="connsiteY9" fmla="*/ 2098936 h 2123675"/>
                <a:gd name="connsiteX10" fmla="*/ 946550 w 2123675"/>
                <a:gd name="connsiteY10" fmla="*/ 2098936 h 2123675"/>
                <a:gd name="connsiteX11" fmla="*/ 871669 w 2123675"/>
                <a:gd name="connsiteY11" fmla="*/ 1780385 h 2123675"/>
                <a:gd name="connsiteX12" fmla="*/ 534642 w 2123675"/>
                <a:gd name="connsiteY12" fmla="*/ 1585802 h 2123675"/>
                <a:gd name="connsiteX13" fmla="*/ 221328 w 2123675"/>
                <a:gd name="connsiteY13" fmla="*/ 1680229 h 2123675"/>
                <a:gd name="connsiteX14" fmla="*/ 106040 w 2123675"/>
                <a:gd name="connsiteY14" fmla="*/ 1480545 h 2123675"/>
                <a:gd name="connsiteX15" fmla="*/ 344473 w 2123675"/>
                <a:gd name="connsiteY15" fmla="*/ 1256420 h 2123675"/>
                <a:gd name="connsiteX16" fmla="*/ 344473 w 2123675"/>
                <a:gd name="connsiteY16" fmla="*/ 867255 h 2123675"/>
                <a:gd name="connsiteX17" fmla="*/ 106040 w 2123675"/>
                <a:gd name="connsiteY17" fmla="*/ 643130 h 2123675"/>
                <a:gd name="connsiteX18" fmla="*/ 221328 w 2123675"/>
                <a:gd name="connsiteY18" fmla="*/ 443446 h 2123675"/>
                <a:gd name="connsiteX19" fmla="*/ 534642 w 2123675"/>
                <a:gd name="connsiteY19" fmla="*/ 537873 h 2123675"/>
                <a:gd name="connsiteX20" fmla="*/ 871669 w 2123675"/>
                <a:gd name="connsiteY20" fmla="*/ 343290 h 2123675"/>
                <a:gd name="connsiteX21" fmla="*/ 946550 w 2123675"/>
                <a:gd name="connsiteY21" fmla="*/ 24739 h 2123675"/>
                <a:gd name="connsiteX22" fmla="*/ 1177125 w 2123675"/>
                <a:gd name="connsiteY22" fmla="*/ 24739 h 2123675"/>
                <a:gd name="connsiteX23" fmla="*/ 1252006 w 2123675"/>
                <a:gd name="connsiteY23" fmla="*/ 343290 h 2123675"/>
                <a:gd name="connsiteX24" fmla="*/ 1589033 w 2123675"/>
                <a:gd name="connsiteY24" fmla="*/ 537873 h 2123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123675" h="2123675">
                  <a:moveTo>
                    <a:pt x="1366897" y="537190"/>
                  </a:moveTo>
                  <a:lnTo>
                    <a:pt x="1594045" y="396507"/>
                  </a:lnTo>
                  <a:lnTo>
                    <a:pt x="1727168" y="529630"/>
                  </a:lnTo>
                  <a:lnTo>
                    <a:pt x="1586485" y="756778"/>
                  </a:lnTo>
                  <a:cubicBezTo>
                    <a:pt x="1640670" y="849967"/>
                    <a:pt x="1669056" y="955907"/>
                    <a:pt x="1668725" y="1063703"/>
                  </a:cubicBezTo>
                  <a:lnTo>
                    <a:pt x="1904134" y="1190078"/>
                  </a:lnTo>
                  <a:lnTo>
                    <a:pt x="1855408" y="1371927"/>
                  </a:lnTo>
                  <a:lnTo>
                    <a:pt x="1588350" y="1363666"/>
                  </a:lnTo>
                  <a:cubicBezTo>
                    <a:pt x="1534739" y="1457186"/>
                    <a:pt x="1457186" y="1534739"/>
                    <a:pt x="1363666" y="1588351"/>
                  </a:cubicBezTo>
                  <a:lnTo>
                    <a:pt x="1371926" y="1855408"/>
                  </a:lnTo>
                  <a:lnTo>
                    <a:pt x="1190078" y="1904134"/>
                  </a:lnTo>
                  <a:lnTo>
                    <a:pt x="1063703" y="1668725"/>
                  </a:lnTo>
                  <a:cubicBezTo>
                    <a:pt x="955907" y="1669057"/>
                    <a:pt x="849967" y="1640670"/>
                    <a:pt x="756778" y="1586485"/>
                  </a:cubicBezTo>
                  <a:lnTo>
                    <a:pt x="529630" y="1727168"/>
                  </a:lnTo>
                  <a:lnTo>
                    <a:pt x="396507" y="1594045"/>
                  </a:lnTo>
                  <a:lnTo>
                    <a:pt x="537190" y="1366897"/>
                  </a:lnTo>
                  <a:cubicBezTo>
                    <a:pt x="483005" y="1273708"/>
                    <a:pt x="454619" y="1167768"/>
                    <a:pt x="454950" y="1059972"/>
                  </a:cubicBezTo>
                  <a:lnTo>
                    <a:pt x="219541" y="933597"/>
                  </a:lnTo>
                  <a:lnTo>
                    <a:pt x="268267" y="751748"/>
                  </a:lnTo>
                  <a:lnTo>
                    <a:pt x="535325" y="760009"/>
                  </a:lnTo>
                  <a:cubicBezTo>
                    <a:pt x="588936" y="666489"/>
                    <a:pt x="666489" y="588936"/>
                    <a:pt x="760009" y="535324"/>
                  </a:cubicBezTo>
                  <a:lnTo>
                    <a:pt x="751749" y="268267"/>
                  </a:lnTo>
                  <a:lnTo>
                    <a:pt x="933597" y="219541"/>
                  </a:lnTo>
                  <a:lnTo>
                    <a:pt x="1059972" y="454950"/>
                  </a:lnTo>
                  <a:cubicBezTo>
                    <a:pt x="1167768" y="454618"/>
                    <a:pt x="1273708" y="483005"/>
                    <a:pt x="1366897" y="537190"/>
                  </a:cubicBezTo>
                  <a:close/>
                </a:path>
              </a:pathLst>
            </a:custGeom>
            <a:solidFill>
              <a:schemeClr val="accent2"/>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none" lIns="750147" tIns="750147" rIns="750148" bIns="750148" numCol="1" spcCol="1270" anchor="ctr" anchorCtr="0">
              <a:noAutofit/>
            </a:bodyPr>
            <a:lstStyle/>
            <a:p>
              <a:pPr lvl="0" algn="ctr" defTabSz="1600200">
                <a:lnSpc>
                  <a:spcPct val="90000"/>
                </a:lnSpc>
                <a:spcBef>
                  <a:spcPct val="0"/>
                </a:spcBef>
                <a:spcAft>
                  <a:spcPct val="35000"/>
                </a:spcAft>
              </a:pPr>
              <a:r>
                <a:rPr lang="en-US" sz="1600" kern="1200" dirty="0" smtClean="0"/>
                <a:t>Pilot</a:t>
              </a:r>
              <a:endParaRPr lang="en-US" sz="1200" kern="1200" dirty="0"/>
            </a:p>
          </p:txBody>
        </p:sp>
        <p:sp>
          <p:nvSpPr>
            <p:cNvPr id="27" name="Circular Arrow 26"/>
            <p:cNvSpPr/>
            <p:nvPr/>
          </p:nvSpPr>
          <p:spPr>
            <a:xfrm>
              <a:off x="5609577" y="2700530"/>
              <a:ext cx="3814741" cy="3814741"/>
            </a:xfrm>
            <a:prstGeom prst="circularArrow">
              <a:avLst>
                <a:gd name="adj1" fmla="val 4688"/>
                <a:gd name="adj2" fmla="val 299029"/>
                <a:gd name="adj3" fmla="val 2539295"/>
                <a:gd name="adj4" fmla="val 15812321"/>
                <a:gd name="adj5" fmla="val 5469"/>
              </a:avLst>
            </a:prstGeom>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8" name="Shape 27"/>
            <p:cNvSpPr/>
            <p:nvPr/>
          </p:nvSpPr>
          <p:spPr>
            <a:xfrm>
              <a:off x="3707238" y="1968806"/>
              <a:ext cx="2771648" cy="2771648"/>
            </a:xfrm>
            <a:prstGeom prst="leftCircularArrow">
              <a:avLst>
                <a:gd name="adj1" fmla="val 6452"/>
                <a:gd name="adj2" fmla="val 429999"/>
                <a:gd name="adj3" fmla="val 10489124"/>
                <a:gd name="adj4" fmla="val 14837806"/>
                <a:gd name="adj5" fmla="val 7527"/>
              </a:avLst>
            </a:prstGeom>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sp>
          <p:nvSpPr>
            <p:cNvPr id="29" name="Circular Arrow 28"/>
            <p:cNvSpPr/>
            <p:nvPr/>
          </p:nvSpPr>
          <p:spPr>
            <a:xfrm>
              <a:off x="4813867" y="487890"/>
              <a:ext cx="2988394" cy="2988394"/>
            </a:xfrm>
            <a:prstGeom prst="circularArrow">
              <a:avLst>
                <a:gd name="adj1" fmla="val 5984"/>
                <a:gd name="adj2" fmla="val 394124"/>
                <a:gd name="adj3" fmla="val 13313824"/>
                <a:gd name="adj4" fmla="val 10508221"/>
                <a:gd name="adj5" fmla="val 6981"/>
              </a:avLst>
            </a:prstGeom>
            <a:ln>
              <a:noFill/>
            </a:ln>
          </p:spPr>
          <p:style>
            <a:lnRef idx="0">
              <a:schemeClr val="accent1">
                <a:tint val="60000"/>
                <a:hueOff val="0"/>
                <a:satOff val="0"/>
                <a:lumOff val="0"/>
                <a:alphaOff val="0"/>
              </a:schemeClr>
            </a:lnRef>
            <a:fillRef idx="1">
              <a:schemeClr val="accent1">
                <a:tint val="60000"/>
                <a:hueOff val="0"/>
                <a:satOff val="0"/>
                <a:lumOff val="0"/>
                <a:alphaOff val="0"/>
              </a:schemeClr>
            </a:fillRef>
            <a:effectRef idx="0">
              <a:schemeClr val="accent1">
                <a:tint val="60000"/>
                <a:hueOff val="0"/>
                <a:satOff val="0"/>
                <a:lumOff val="0"/>
                <a:alphaOff val="0"/>
              </a:schemeClr>
            </a:effectRef>
            <a:fontRef idx="minor">
              <a:schemeClr val="lt1"/>
            </a:fontRef>
          </p:style>
        </p:sp>
      </p:grpSp>
      <p:sp>
        <p:nvSpPr>
          <p:cNvPr id="32" name="Title 1"/>
          <p:cNvSpPr>
            <a:spLocks noGrp="1"/>
          </p:cNvSpPr>
          <p:nvPr>
            <p:ph type="title"/>
          </p:nvPr>
        </p:nvSpPr>
        <p:spPr>
          <a:xfrm>
            <a:off x="0" y="0"/>
            <a:ext cx="11656706" cy="628788"/>
          </a:xfrm>
        </p:spPr>
        <p:txBody>
          <a:bodyPr>
            <a:noAutofit/>
          </a:bodyPr>
          <a:lstStyle/>
          <a:p>
            <a:r>
              <a:rPr lang="en-US" sz="4400" dirty="0" smtClean="0"/>
              <a:t>Azure IoT Suite</a:t>
            </a:r>
            <a:endParaRPr lang="en-US" sz="4400" dirty="0"/>
          </a:p>
        </p:txBody>
      </p:sp>
      <p:grpSp>
        <p:nvGrpSpPr>
          <p:cNvPr id="31" name="Group 30"/>
          <p:cNvGrpSpPr/>
          <p:nvPr/>
        </p:nvGrpSpPr>
        <p:grpSpPr>
          <a:xfrm>
            <a:off x="834941" y="4283959"/>
            <a:ext cx="2298318" cy="1005840"/>
            <a:chOff x="834941" y="2145937"/>
            <a:chExt cx="2298318" cy="1005840"/>
          </a:xfrm>
          <a:noFill/>
        </p:grpSpPr>
        <p:sp>
          <p:nvSpPr>
            <p:cNvPr id="33" name="Rectangle 32"/>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Predictive Maintenance</a:t>
              </a:r>
              <a:endParaRPr lang="en-US" sz="2000" dirty="0">
                <a:latin typeface="+mj-lt"/>
                <a:cs typeface="Segoe UI Light" panose="020B0502040204020203" pitchFamily="34" charset="0"/>
              </a:endParaRPr>
            </a:p>
          </p:txBody>
        </p:sp>
        <p:grpSp>
          <p:nvGrpSpPr>
            <p:cNvPr id="34" name="Group 33"/>
            <p:cNvGrpSpPr/>
            <p:nvPr/>
          </p:nvGrpSpPr>
          <p:grpSpPr>
            <a:xfrm>
              <a:off x="2438255" y="2261365"/>
              <a:ext cx="625795" cy="518026"/>
              <a:chOff x="16659225" y="-4403725"/>
              <a:chExt cx="3724275" cy="3082925"/>
            </a:xfrm>
            <a:grpFill/>
          </p:grpSpPr>
          <p:sp>
            <p:nvSpPr>
              <p:cNvPr id="35"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sp>
            <p:nvSpPr>
              <p:cNvPr id="36"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grpSp>
      </p:grpSp>
      <p:grpSp>
        <p:nvGrpSpPr>
          <p:cNvPr id="37" name="Group 36"/>
          <p:cNvGrpSpPr/>
          <p:nvPr/>
        </p:nvGrpSpPr>
        <p:grpSpPr>
          <a:xfrm>
            <a:off x="834941" y="3212127"/>
            <a:ext cx="2298318" cy="1005840"/>
            <a:chOff x="834941" y="3212127"/>
            <a:chExt cx="2298318" cy="1005840"/>
          </a:xfrm>
          <a:noFill/>
        </p:grpSpPr>
        <p:sp>
          <p:nvSpPr>
            <p:cNvPr id="38" name="Rectangle 37"/>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Asset </a:t>
              </a:r>
            </a:p>
            <a:p>
              <a:pPr>
                <a:lnSpc>
                  <a:spcPct val="90000"/>
                </a:lnSpc>
              </a:pPr>
              <a:r>
                <a:rPr lang="en-US" sz="2000" dirty="0" smtClean="0">
                  <a:latin typeface="+mj-lt"/>
                  <a:cs typeface="Segoe UI Light" panose="020B0502040204020203" pitchFamily="34" charset="0"/>
                </a:rPr>
                <a:t>Management</a:t>
              </a:r>
              <a:endParaRPr lang="en-US" sz="2000" dirty="0">
                <a:latin typeface="+mj-lt"/>
                <a:cs typeface="Segoe UI Light" panose="020B0502040204020203" pitchFamily="34" charset="0"/>
              </a:endParaRPr>
            </a:p>
          </p:txBody>
        </p:sp>
        <p:sp>
          <p:nvSpPr>
            <p:cNvPr id="39" name="Freeform 38"/>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40" name="Group 39"/>
          <p:cNvGrpSpPr/>
          <p:nvPr/>
        </p:nvGrpSpPr>
        <p:grpSpPr>
          <a:xfrm>
            <a:off x="834941" y="2151579"/>
            <a:ext cx="2298318" cy="1005840"/>
            <a:chOff x="834941" y="4278317"/>
            <a:chExt cx="2298318" cy="1005840"/>
          </a:xfrm>
          <a:noFill/>
        </p:grpSpPr>
        <p:sp>
          <p:nvSpPr>
            <p:cNvPr id="41" name="Rectangle 40"/>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Remote </a:t>
              </a:r>
            </a:p>
            <a:p>
              <a:pPr>
                <a:lnSpc>
                  <a:spcPct val="90000"/>
                </a:lnSpc>
              </a:pPr>
              <a:r>
                <a:rPr lang="en-US" sz="2000" dirty="0" smtClean="0">
                  <a:latin typeface="+mj-lt"/>
                  <a:cs typeface="Segoe UI Light" panose="020B0502040204020203" pitchFamily="34" charset="0"/>
                </a:rPr>
                <a:t>Monitoring</a:t>
              </a:r>
              <a:endParaRPr lang="en-US" sz="2000" dirty="0">
                <a:latin typeface="+mj-lt"/>
                <a:cs typeface="Segoe UI Light" panose="020B0502040204020203" pitchFamily="34" charset="0"/>
              </a:endParaRPr>
            </a:p>
          </p:txBody>
        </p:sp>
        <p:sp>
          <p:nvSpPr>
            <p:cNvPr id="42"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44" name="Group 43"/>
          <p:cNvGrpSpPr/>
          <p:nvPr/>
        </p:nvGrpSpPr>
        <p:grpSpPr>
          <a:xfrm>
            <a:off x="834941" y="5344507"/>
            <a:ext cx="2298318" cy="1005840"/>
            <a:chOff x="834941" y="5344507"/>
            <a:chExt cx="2298318" cy="1005840"/>
          </a:xfrm>
          <a:noFill/>
        </p:grpSpPr>
        <p:sp>
          <p:nvSpPr>
            <p:cNvPr id="45" name="Rectangle 44"/>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future applications</a:t>
              </a:r>
              <a:endParaRPr lang="en-US" sz="2000" dirty="0">
                <a:latin typeface="+mj-lt"/>
                <a:cs typeface="Segoe UI Light" panose="020B0502040204020203" pitchFamily="34" charset="0"/>
              </a:endParaRPr>
            </a:p>
          </p:txBody>
        </p:sp>
        <p:grpSp>
          <p:nvGrpSpPr>
            <p:cNvPr id="46" name="Group 45"/>
            <p:cNvGrpSpPr>
              <a:grpSpLocks noChangeAspect="1"/>
            </p:cNvGrpSpPr>
            <p:nvPr/>
          </p:nvGrpSpPr>
          <p:grpSpPr>
            <a:xfrm>
              <a:off x="2445769" y="5457513"/>
              <a:ext cx="641175" cy="640080"/>
              <a:chOff x="5630862" y="2964656"/>
              <a:chExt cx="930275" cy="928688"/>
            </a:xfrm>
            <a:grpFill/>
          </p:grpSpPr>
          <p:sp>
            <p:nvSpPr>
              <p:cNvPr id="47" name="Freeform 46"/>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48" name="Freeform 47"/>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49" name="Freeform 48"/>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50" name="Freeform 49"/>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51" name="Freeform 50"/>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52" name="Rectangle 51"/>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grpSp>
      </p:grpSp>
    </p:spTree>
    <p:extLst>
      <p:ext uri="{BB962C8B-B14F-4D97-AF65-F5344CB8AC3E}">
        <p14:creationId xmlns:p14="http://schemas.microsoft.com/office/powerpoint/2010/main" val="158341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p:cNvSpPr/>
          <p:nvPr/>
        </p:nvSpPr>
        <p:spPr>
          <a:xfrm>
            <a:off x="533398" y="1600200"/>
            <a:ext cx="10131057" cy="5004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r>
              <a:rPr lang="en-US" sz="1400" b="1" dirty="0">
                <a:latin typeface="Segoe UI Semibold" panose="020B0702040204020203" pitchFamily="34" charset="0"/>
                <a:cs typeface="Segoe UI Light" panose="020B0502040204020203" pitchFamily="34" charset="0"/>
              </a:rPr>
              <a:t>IoT Applications … to build a Proof of Concept</a:t>
            </a:r>
            <a:r>
              <a:rPr lang="en-US" sz="1400" b="1" dirty="0" smtClean="0">
                <a:latin typeface="Segoe UI Semibold" panose="020B0702040204020203" pitchFamily="34" charset="0"/>
                <a:cs typeface="Segoe UI Light" panose="020B0502040204020203" pitchFamily="34" charset="0"/>
              </a:rPr>
              <a:t>… </a:t>
            </a:r>
            <a:r>
              <a:rPr lang="en-US" sz="1400" b="1" dirty="0">
                <a:latin typeface="Segoe UI" panose="020B0502040204020203" pitchFamily="34" charset="0"/>
                <a:ea typeface="Segoe UI" panose="020B0502040204020203" pitchFamily="34" charset="0"/>
                <a:cs typeface="Segoe UI" panose="020B0502040204020203" pitchFamily="34" charset="0"/>
              </a:rPr>
              <a:t>that scale to full production …</a:t>
            </a:r>
          </a:p>
          <a:p>
            <a:endParaRPr lang="en-US" sz="1400" b="1" dirty="0">
              <a:latin typeface="Segoe UI Semibold" panose="020B0702040204020203" pitchFamily="34" charset="0"/>
              <a:cs typeface="Segoe UI Light" panose="020B0502040204020203" pitchFamily="34" charset="0"/>
            </a:endParaRPr>
          </a:p>
        </p:txBody>
      </p:sp>
      <p:grpSp>
        <p:nvGrpSpPr>
          <p:cNvPr id="4" name="Group 3"/>
          <p:cNvGrpSpPr/>
          <p:nvPr/>
        </p:nvGrpSpPr>
        <p:grpSpPr>
          <a:xfrm>
            <a:off x="3962464" y="3359402"/>
            <a:ext cx="5673567" cy="1528790"/>
            <a:chOff x="2520522" y="3153003"/>
            <a:chExt cx="5673567" cy="1528790"/>
          </a:xfrm>
          <a:solidFill>
            <a:schemeClr val="tx2">
              <a:lumMod val="50000"/>
              <a:lumOff val="50000"/>
            </a:schemeClr>
          </a:solidFill>
        </p:grpSpPr>
        <p:sp>
          <p:nvSpPr>
            <p:cNvPr id="29" name="Freeform 62"/>
            <p:cNvSpPr>
              <a:spLocks noChangeAspect="1" noEditPoints="1"/>
            </p:cNvSpPr>
            <p:nvPr/>
          </p:nvSpPr>
          <p:spPr bwMode="auto">
            <a:xfrm>
              <a:off x="4918443" y="3461386"/>
              <a:ext cx="944424" cy="95656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3" name="Oval 2"/>
            <p:cNvSpPr/>
            <p:nvPr/>
          </p:nvSpPr>
          <p:spPr bwMode="auto">
            <a:xfrm>
              <a:off x="2520522" y="3218292"/>
              <a:ext cx="468794" cy="4687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0" name="Oval 29"/>
            <p:cNvSpPr/>
            <p:nvPr/>
          </p:nvSpPr>
          <p:spPr bwMode="auto">
            <a:xfrm>
              <a:off x="2603091" y="3909887"/>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1" name="Oval 30"/>
            <p:cNvSpPr/>
            <p:nvPr/>
          </p:nvSpPr>
          <p:spPr bwMode="auto">
            <a:xfrm>
              <a:off x="3216476" y="3249824"/>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2" name="Oval 31"/>
            <p:cNvSpPr/>
            <p:nvPr/>
          </p:nvSpPr>
          <p:spPr bwMode="auto">
            <a:xfrm>
              <a:off x="4109901" y="3311679"/>
              <a:ext cx="351080" cy="3510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3" name="Oval 32"/>
            <p:cNvSpPr/>
            <p:nvPr/>
          </p:nvSpPr>
          <p:spPr bwMode="auto">
            <a:xfrm>
              <a:off x="3369964" y="4192488"/>
              <a:ext cx="489305" cy="48930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4" name="Oval 33"/>
            <p:cNvSpPr/>
            <p:nvPr/>
          </p:nvSpPr>
          <p:spPr bwMode="auto">
            <a:xfrm>
              <a:off x="4053125" y="4084060"/>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5" name="Oval 34"/>
            <p:cNvSpPr/>
            <p:nvPr/>
          </p:nvSpPr>
          <p:spPr bwMode="auto">
            <a:xfrm>
              <a:off x="4684892" y="3172942"/>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6" name="Oval 35"/>
            <p:cNvSpPr/>
            <p:nvPr/>
          </p:nvSpPr>
          <p:spPr bwMode="auto">
            <a:xfrm>
              <a:off x="4809116" y="4379129"/>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7" name="Oval 36"/>
            <p:cNvSpPr/>
            <p:nvPr/>
          </p:nvSpPr>
          <p:spPr bwMode="auto">
            <a:xfrm>
              <a:off x="5632520" y="316527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8" name="Oval 37"/>
            <p:cNvSpPr/>
            <p:nvPr/>
          </p:nvSpPr>
          <p:spPr bwMode="auto">
            <a:xfrm>
              <a:off x="6091445" y="408406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39" name="Oval 38"/>
            <p:cNvSpPr/>
            <p:nvPr/>
          </p:nvSpPr>
          <p:spPr bwMode="auto">
            <a:xfrm>
              <a:off x="6471916" y="4334863"/>
              <a:ext cx="355515" cy="34346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0" name="Oval 39"/>
            <p:cNvSpPr/>
            <p:nvPr/>
          </p:nvSpPr>
          <p:spPr bwMode="auto">
            <a:xfrm>
              <a:off x="6864207" y="4141917"/>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1" name="Oval 40"/>
            <p:cNvSpPr/>
            <p:nvPr/>
          </p:nvSpPr>
          <p:spPr bwMode="auto">
            <a:xfrm>
              <a:off x="7456685" y="3929575"/>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2" name="Oval 41"/>
            <p:cNvSpPr/>
            <p:nvPr/>
          </p:nvSpPr>
          <p:spPr bwMode="auto">
            <a:xfrm>
              <a:off x="7456685" y="3153003"/>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3" name="Oval 42"/>
            <p:cNvSpPr/>
            <p:nvPr/>
          </p:nvSpPr>
          <p:spPr bwMode="auto">
            <a:xfrm>
              <a:off x="6775471" y="3287986"/>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44" name="Oval 43"/>
            <p:cNvSpPr/>
            <p:nvPr/>
          </p:nvSpPr>
          <p:spPr bwMode="auto">
            <a:xfrm>
              <a:off x="6258478" y="3255953"/>
              <a:ext cx="464790" cy="4647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7" name="Group 16"/>
          <p:cNvGrpSpPr/>
          <p:nvPr/>
        </p:nvGrpSpPr>
        <p:grpSpPr>
          <a:xfrm>
            <a:off x="4361871" y="3429621"/>
            <a:ext cx="4679670" cy="1413064"/>
            <a:chOff x="2919929" y="3223222"/>
            <a:chExt cx="4679670" cy="1413064"/>
          </a:xfrm>
        </p:grpSpPr>
        <p:sp>
          <p:nvSpPr>
            <p:cNvPr id="5" name="Freeform 4"/>
            <p:cNvSpPr/>
            <p:nvPr/>
          </p:nvSpPr>
          <p:spPr bwMode="auto">
            <a:xfrm>
              <a:off x="2919929" y="3571746"/>
              <a:ext cx="2021996" cy="484723"/>
            </a:xfrm>
            <a:custGeom>
              <a:avLst/>
              <a:gdLst>
                <a:gd name="connsiteX0" fmla="*/ 0 w 6273209"/>
                <a:gd name="connsiteY0" fmla="*/ 0 h 1509823"/>
                <a:gd name="connsiteX1" fmla="*/ 1509823 w 6273209"/>
                <a:gd name="connsiteY1" fmla="*/ 1509823 h 1509823"/>
                <a:gd name="connsiteX2" fmla="*/ 2743200 w 6273209"/>
                <a:gd name="connsiteY2" fmla="*/ 1509823 h 1509823"/>
                <a:gd name="connsiteX3" fmla="*/ 3402419 w 6273209"/>
                <a:gd name="connsiteY3" fmla="*/ 850604 h 1509823"/>
                <a:gd name="connsiteX4" fmla="*/ 6273209 w 6273209"/>
                <a:gd name="connsiteY4" fmla="*/ 850604 h 1509823"/>
                <a:gd name="connsiteX0" fmla="*/ 0 w 6273209"/>
                <a:gd name="connsiteY0" fmla="*/ 0 h 1524238"/>
                <a:gd name="connsiteX1" fmla="*/ 1509823 w 6273209"/>
                <a:gd name="connsiteY1" fmla="*/ 1509823 h 1524238"/>
                <a:gd name="connsiteX2" fmla="*/ 2629442 w 6273209"/>
                <a:gd name="connsiteY2" fmla="*/ 1524238 h 1524238"/>
                <a:gd name="connsiteX3" fmla="*/ 3402419 w 6273209"/>
                <a:gd name="connsiteY3" fmla="*/ 850604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792953 h 1524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3209" h="1524238">
                  <a:moveTo>
                    <a:pt x="0" y="0"/>
                  </a:moveTo>
                  <a:lnTo>
                    <a:pt x="1509823" y="1509823"/>
                  </a:lnTo>
                  <a:lnTo>
                    <a:pt x="2629442" y="1524238"/>
                  </a:lnTo>
                  <a:lnTo>
                    <a:pt x="3388200" y="792953"/>
                  </a:lnTo>
                  <a:lnTo>
                    <a:pt x="6273209" y="792953"/>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6" name="Freeform 5"/>
            <p:cNvSpPr/>
            <p:nvPr/>
          </p:nvSpPr>
          <p:spPr bwMode="auto">
            <a:xfrm>
              <a:off x="3156618" y="3919459"/>
              <a:ext cx="1744732" cy="250213"/>
            </a:xfrm>
            <a:custGeom>
              <a:avLst/>
              <a:gdLst>
                <a:gd name="connsiteX0" fmla="*/ 0 w 5486400"/>
                <a:gd name="connsiteY0" fmla="*/ 786809 h 786809"/>
                <a:gd name="connsiteX1" fmla="*/ 1977656 w 5486400"/>
                <a:gd name="connsiteY1" fmla="*/ 786809 h 786809"/>
                <a:gd name="connsiteX2" fmla="*/ 2764465 w 5486400"/>
                <a:gd name="connsiteY2" fmla="*/ 0 h 786809"/>
                <a:gd name="connsiteX3" fmla="*/ 5486400 w 5486400"/>
                <a:gd name="connsiteY3" fmla="*/ 0 h 786809"/>
              </a:gdLst>
              <a:ahLst/>
              <a:cxnLst>
                <a:cxn ang="0">
                  <a:pos x="connsiteX0" y="connsiteY0"/>
                </a:cxn>
                <a:cxn ang="0">
                  <a:pos x="connsiteX1" y="connsiteY1"/>
                </a:cxn>
                <a:cxn ang="0">
                  <a:pos x="connsiteX2" y="connsiteY2"/>
                </a:cxn>
                <a:cxn ang="0">
                  <a:pos x="connsiteX3" y="connsiteY3"/>
                </a:cxn>
              </a:cxnLst>
              <a:rect l="l" t="t" r="r" b="b"/>
              <a:pathLst>
                <a:path w="5486400" h="786809">
                  <a:moveTo>
                    <a:pt x="0" y="786809"/>
                  </a:moveTo>
                  <a:lnTo>
                    <a:pt x="1977656" y="786809"/>
                  </a:lnTo>
                  <a:lnTo>
                    <a:pt x="2764465" y="0"/>
                  </a:lnTo>
                  <a:lnTo>
                    <a:pt x="5486400" y="0"/>
                  </a:lnTo>
                </a:path>
              </a:pathLst>
            </a:cu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7" name="Freeform 6"/>
            <p:cNvSpPr/>
            <p:nvPr/>
          </p:nvSpPr>
          <p:spPr bwMode="auto">
            <a:xfrm>
              <a:off x="3131069" y="3912696"/>
              <a:ext cx="1810855" cy="243451"/>
            </a:xfrm>
            <a:custGeom>
              <a:avLst/>
              <a:gdLst>
                <a:gd name="connsiteX0" fmla="*/ 0 w 5422605"/>
                <a:gd name="connsiteY0" fmla="*/ 765544 h 765544"/>
                <a:gd name="connsiteX1" fmla="*/ 1913861 w 5422605"/>
                <a:gd name="connsiteY1" fmla="*/ 765544 h 765544"/>
                <a:gd name="connsiteX2" fmla="*/ 2743200 w 5422605"/>
                <a:gd name="connsiteY2" fmla="*/ 0 h 765544"/>
                <a:gd name="connsiteX3" fmla="*/ 5422605 w 5422605"/>
                <a:gd name="connsiteY3" fmla="*/ 0 h 765544"/>
                <a:gd name="connsiteX0" fmla="*/ 0 w 5563422"/>
                <a:gd name="connsiteY0" fmla="*/ 765544 h 765544"/>
                <a:gd name="connsiteX1" fmla="*/ 2054678 w 5563422"/>
                <a:gd name="connsiteY1" fmla="*/ 765544 h 765544"/>
                <a:gd name="connsiteX2" fmla="*/ 2884017 w 5563422"/>
                <a:gd name="connsiteY2" fmla="*/ 0 h 765544"/>
                <a:gd name="connsiteX3" fmla="*/ 5563422 w 5563422"/>
                <a:gd name="connsiteY3" fmla="*/ 0 h 765544"/>
              </a:gdLst>
              <a:ahLst/>
              <a:cxnLst>
                <a:cxn ang="0">
                  <a:pos x="connsiteX0" y="connsiteY0"/>
                </a:cxn>
                <a:cxn ang="0">
                  <a:pos x="connsiteX1" y="connsiteY1"/>
                </a:cxn>
                <a:cxn ang="0">
                  <a:pos x="connsiteX2" y="connsiteY2"/>
                </a:cxn>
                <a:cxn ang="0">
                  <a:pos x="connsiteX3" y="connsiteY3"/>
                </a:cxn>
              </a:cxnLst>
              <a:rect l="l" t="t" r="r" b="b"/>
              <a:pathLst>
                <a:path w="5563422" h="765544">
                  <a:moveTo>
                    <a:pt x="0" y="765544"/>
                  </a:moveTo>
                  <a:lnTo>
                    <a:pt x="2054678" y="765544"/>
                  </a:lnTo>
                  <a:lnTo>
                    <a:pt x="2884017" y="0"/>
                  </a:lnTo>
                  <a:lnTo>
                    <a:pt x="5563422"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8" name="Freeform 7"/>
            <p:cNvSpPr/>
            <p:nvPr/>
          </p:nvSpPr>
          <p:spPr bwMode="auto">
            <a:xfrm>
              <a:off x="3826107" y="4020897"/>
              <a:ext cx="1115818" cy="304314"/>
            </a:xfrm>
            <a:custGeom>
              <a:avLst/>
              <a:gdLst>
                <a:gd name="connsiteX0" fmla="*/ 0 w 3381154"/>
                <a:gd name="connsiteY0" fmla="*/ 956930 h 956930"/>
                <a:gd name="connsiteX1" fmla="*/ 956931 w 3381154"/>
                <a:gd name="connsiteY1" fmla="*/ 0 h 956930"/>
                <a:gd name="connsiteX2" fmla="*/ 3381154 w 3381154"/>
                <a:gd name="connsiteY2" fmla="*/ 0 h 956930"/>
              </a:gdLst>
              <a:ahLst/>
              <a:cxnLst>
                <a:cxn ang="0">
                  <a:pos x="connsiteX0" y="connsiteY0"/>
                </a:cxn>
                <a:cxn ang="0">
                  <a:pos x="connsiteX1" y="connsiteY1"/>
                </a:cxn>
                <a:cxn ang="0">
                  <a:pos x="connsiteX2" y="connsiteY2"/>
                </a:cxn>
              </a:cxnLst>
              <a:rect l="l" t="t" r="r" b="b"/>
              <a:pathLst>
                <a:path w="3381154" h="956930">
                  <a:moveTo>
                    <a:pt x="0" y="956930"/>
                  </a:moveTo>
                  <a:lnTo>
                    <a:pt x="956931" y="0"/>
                  </a:lnTo>
                  <a:lnTo>
                    <a:pt x="3381154"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0" name="Freeform 9"/>
            <p:cNvSpPr/>
            <p:nvPr/>
          </p:nvSpPr>
          <p:spPr bwMode="auto">
            <a:xfrm>
              <a:off x="4612852" y="4130562"/>
              <a:ext cx="372531" cy="235224"/>
            </a:xfrm>
            <a:custGeom>
              <a:avLst/>
              <a:gdLst>
                <a:gd name="connsiteX0" fmla="*/ 0 w 956930"/>
                <a:gd name="connsiteY0" fmla="*/ 680484 h 680484"/>
                <a:gd name="connsiteX1" fmla="*/ 297711 w 956930"/>
                <a:gd name="connsiteY1" fmla="*/ 680484 h 680484"/>
                <a:gd name="connsiteX2" fmla="*/ 956930 w 956930"/>
                <a:gd name="connsiteY2" fmla="*/ 0 h 680484"/>
              </a:gdLst>
              <a:ahLst/>
              <a:cxnLst>
                <a:cxn ang="0">
                  <a:pos x="connsiteX0" y="connsiteY0"/>
                </a:cxn>
                <a:cxn ang="0">
                  <a:pos x="connsiteX1" y="connsiteY1"/>
                </a:cxn>
                <a:cxn ang="0">
                  <a:pos x="connsiteX2" y="connsiteY2"/>
                </a:cxn>
              </a:cxnLst>
              <a:rect l="l" t="t" r="r" b="b"/>
              <a:pathLst>
                <a:path w="956930" h="680484">
                  <a:moveTo>
                    <a:pt x="0" y="680484"/>
                  </a:moveTo>
                  <a:lnTo>
                    <a:pt x="297711" y="680484"/>
                  </a:lnTo>
                  <a:lnTo>
                    <a:pt x="95693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1" name="Freeform 10"/>
            <p:cNvSpPr/>
            <p:nvPr/>
          </p:nvSpPr>
          <p:spPr bwMode="auto">
            <a:xfrm>
              <a:off x="4441499" y="3486657"/>
              <a:ext cx="541678" cy="309572"/>
            </a:xfrm>
            <a:custGeom>
              <a:avLst/>
              <a:gdLst>
                <a:gd name="connsiteX0" fmla="*/ 0 w 1573619"/>
                <a:gd name="connsiteY0" fmla="*/ 0 h 829339"/>
                <a:gd name="connsiteX1" fmla="*/ 744279 w 1573619"/>
                <a:gd name="connsiteY1" fmla="*/ 0 h 829339"/>
                <a:gd name="connsiteX2" fmla="*/ 1573619 w 1573619"/>
                <a:gd name="connsiteY2" fmla="*/ 829339 h 829339"/>
                <a:gd name="connsiteX0" fmla="*/ 0 w 1703335"/>
                <a:gd name="connsiteY0" fmla="*/ 0 h 973467"/>
                <a:gd name="connsiteX1" fmla="*/ 744279 w 1703335"/>
                <a:gd name="connsiteY1" fmla="*/ 0 h 973467"/>
                <a:gd name="connsiteX2" fmla="*/ 1703335 w 1703335"/>
                <a:gd name="connsiteY2" fmla="*/ 973467 h 973467"/>
              </a:gdLst>
              <a:ahLst/>
              <a:cxnLst>
                <a:cxn ang="0">
                  <a:pos x="connsiteX0" y="connsiteY0"/>
                </a:cxn>
                <a:cxn ang="0">
                  <a:pos x="connsiteX1" y="connsiteY1"/>
                </a:cxn>
                <a:cxn ang="0">
                  <a:pos x="connsiteX2" y="connsiteY2"/>
                </a:cxn>
              </a:cxnLst>
              <a:rect l="l" t="t" r="r" b="b"/>
              <a:pathLst>
                <a:path w="1703335" h="973467">
                  <a:moveTo>
                    <a:pt x="0" y="0"/>
                  </a:moveTo>
                  <a:lnTo>
                    <a:pt x="744279" y="0"/>
                  </a:lnTo>
                  <a:cubicBezTo>
                    <a:pt x="1020726" y="276446"/>
                    <a:pt x="1426888" y="697021"/>
                    <a:pt x="1703335" y="973467"/>
                  </a:cubicBez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2" name="Freeform 11"/>
            <p:cNvSpPr/>
            <p:nvPr/>
          </p:nvSpPr>
          <p:spPr bwMode="auto">
            <a:xfrm>
              <a:off x="4914875" y="3358217"/>
              <a:ext cx="184025" cy="218219"/>
            </a:xfrm>
            <a:custGeom>
              <a:avLst/>
              <a:gdLst>
                <a:gd name="connsiteX0" fmla="*/ 0 w 382772"/>
                <a:gd name="connsiteY0" fmla="*/ 0 h 382772"/>
                <a:gd name="connsiteX1" fmla="*/ 382772 w 382772"/>
                <a:gd name="connsiteY1" fmla="*/ 382772 h 382772"/>
              </a:gdLst>
              <a:ahLst/>
              <a:cxnLst>
                <a:cxn ang="0">
                  <a:pos x="connsiteX0" y="connsiteY0"/>
                </a:cxn>
                <a:cxn ang="0">
                  <a:pos x="connsiteX1" y="connsiteY1"/>
                </a:cxn>
              </a:cxnLst>
              <a:rect l="l" t="t" r="r" b="b"/>
              <a:pathLst>
                <a:path w="382772" h="382772">
                  <a:moveTo>
                    <a:pt x="0" y="0"/>
                  </a:moveTo>
                  <a:lnTo>
                    <a:pt x="382772" y="38277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6" name="Straight Connector 15"/>
            <p:cNvCxnSpPr/>
            <p:nvPr/>
          </p:nvCxnSpPr>
          <p:spPr>
            <a:xfrm flipV="1">
              <a:off x="5018884" y="4325210"/>
              <a:ext cx="119263" cy="130981"/>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8" name="Straight Connector 17"/>
            <p:cNvCxnSpPr/>
            <p:nvPr/>
          </p:nvCxnSpPr>
          <p:spPr>
            <a:xfrm flipV="1">
              <a:off x="5665516" y="3452909"/>
              <a:ext cx="91073" cy="98255"/>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9" name="Freeform 18"/>
            <p:cNvSpPr/>
            <p:nvPr/>
          </p:nvSpPr>
          <p:spPr bwMode="auto">
            <a:xfrm>
              <a:off x="5791500" y="3223222"/>
              <a:ext cx="1808099" cy="500427"/>
            </a:xfrm>
            <a:custGeom>
              <a:avLst/>
              <a:gdLst>
                <a:gd name="connsiteX0" fmla="*/ 0 w 5103628"/>
                <a:gd name="connsiteY0" fmla="*/ 1573619 h 1573619"/>
                <a:gd name="connsiteX1" fmla="*/ 1573619 w 5103628"/>
                <a:gd name="connsiteY1" fmla="*/ 0 h 1573619"/>
                <a:gd name="connsiteX2" fmla="*/ 4933507 w 5103628"/>
                <a:gd name="connsiteY2" fmla="*/ 0 h 1573619"/>
                <a:gd name="connsiteX3" fmla="*/ 5103628 w 5103628"/>
                <a:gd name="connsiteY3" fmla="*/ 170121 h 1573619"/>
              </a:gdLst>
              <a:ahLst/>
              <a:cxnLst>
                <a:cxn ang="0">
                  <a:pos x="connsiteX0" y="connsiteY0"/>
                </a:cxn>
                <a:cxn ang="0">
                  <a:pos x="connsiteX1" y="connsiteY1"/>
                </a:cxn>
                <a:cxn ang="0">
                  <a:pos x="connsiteX2" y="connsiteY2"/>
                </a:cxn>
                <a:cxn ang="0">
                  <a:pos x="connsiteX3" y="connsiteY3"/>
                </a:cxn>
              </a:cxnLst>
              <a:rect l="l" t="t" r="r" b="b"/>
              <a:pathLst>
                <a:path w="5103628" h="1573619">
                  <a:moveTo>
                    <a:pt x="0" y="1573619"/>
                  </a:moveTo>
                  <a:lnTo>
                    <a:pt x="1573619" y="0"/>
                  </a:lnTo>
                  <a:lnTo>
                    <a:pt x="4933507" y="0"/>
                  </a:lnTo>
                  <a:lnTo>
                    <a:pt x="5103628"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0" name="Freeform 19"/>
            <p:cNvSpPr/>
            <p:nvPr/>
          </p:nvSpPr>
          <p:spPr bwMode="auto">
            <a:xfrm>
              <a:off x="5819043" y="3561044"/>
              <a:ext cx="590351" cy="202876"/>
            </a:xfrm>
            <a:custGeom>
              <a:avLst/>
              <a:gdLst>
                <a:gd name="connsiteX0" fmla="*/ 0 w 1828800"/>
                <a:gd name="connsiteY0" fmla="*/ 637954 h 637954"/>
                <a:gd name="connsiteX1" fmla="*/ 1190846 w 1828800"/>
                <a:gd name="connsiteY1" fmla="*/ 637954 h 637954"/>
                <a:gd name="connsiteX2" fmla="*/ 1828800 w 1828800"/>
                <a:gd name="connsiteY2" fmla="*/ 0 h 637954"/>
              </a:gdLst>
              <a:ahLst/>
              <a:cxnLst>
                <a:cxn ang="0">
                  <a:pos x="connsiteX0" y="connsiteY0"/>
                </a:cxn>
                <a:cxn ang="0">
                  <a:pos x="connsiteX1" y="connsiteY1"/>
                </a:cxn>
                <a:cxn ang="0">
                  <a:pos x="connsiteX2" y="connsiteY2"/>
                </a:cxn>
              </a:cxnLst>
              <a:rect l="l" t="t" r="r" b="b"/>
              <a:pathLst>
                <a:path w="1828800" h="637954">
                  <a:moveTo>
                    <a:pt x="0" y="637954"/>
                  </a:moveTo>
                  <a:lnTo>
                    <a:pt x="1190846" y="637954"/>
                  </a:lnTo>
                  <a:lnTo>
                    <a:pt x="182880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1" name="Freeform 20"/>
            <p:cNvSpPr/>
            <p:nvPr/>
          </p:nvSpPr>
          <p:spPr bwMode="auto">
            <a:xfrm>
              <a:off x="5868392" y="3770683"/>
              <a:ext cx="1054954" cy="142013"/>
            </a:xfrm>
            <a:custGeom>
              <a:avLst/>
              <a:gdLst>
                <a:gd name="connsiteX0" fmla="*/ 0 w 3317358"/>
                <a:gd name="connsiteY0" fmla="*/ 446567 h 446567"/>
                <a:gd name="connsiteX1" fmla="*/ 2700669 w 3317358"/>
                <a:gd name="connsiteY1" fmla="*/ 446567 h 446567"/>
                <a:gd name="connsiteX2" fmla="*/ 3317358 w 3317358"/>
                <a:gd name="connsiteY2" fmla="*/ 0 h 446567"/>
              </a:gdLst>
              <a:ahLst/>
              <a:cxnLst>
                <a:cxn ang="0">
                  <a:pos x="connsiteX0" y="connsiteY0"/>
                </a:cxn>
                <a:cxn ang="0">
                  <a:pos x="connsiteX1" y="connsiteY1"/>
                </a:cxn>
                <a:cxn ang="0">
                  <a:pos x="connsiteX2" y="connsiteY2"/>
                </a:cxn>
              </a:cxnLst>
              <a:rect l="l" t="t" r="r" b="b"/>
              <a:pathLst>
                <a:path w="3317358" h="446567">
                  <a:moveTo>
                    <a:pt x="0" y="446567"/>
                  </a:moveTo>
                  <a:lnTo>
                    <a:pt x="2700669" y="446567"/>
                  </a:lnTo>
                  <a:lnTo>
                    <a:pt x="3317358"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2" name="Freeform 21"/>
            <p:cNvSpPr/>
            <p:nvPr/>
          </p:nvSpPr>
          <p:spPr bwMode="auto">
            <a:xfrm>
              <a:off x="5862867" y="3993846"/>
              <a:ext cx="1736732" cy="54100"/>
            </a:xfrm>
            <a:custGeom>
              <a:avLst/>
              <a:gdLst>
                <a:gd name="connsiteX0" fmla="*/ 0 w 5380074"/>
                <a:gd name="connsiteY0" fmla="*/ 0 h 170121"/>
                <a:gd name="connsiteX1" fmla="*/ 5061098 w 5380074"/>
                <a:gd name="connsiteY1" fmla="*/ 0 h 170121"/>
                <a:gd name="connsiteX2" fmla="*/ 5380074 w 5380074"/>
                <a:gd name="connsiteY2" fmla="*/ 170121 h 170121"/>
              </a:gdLst>
              <a:ahLst/>
              <a:cxnLst>
                <a:cxn ang="0">
                  <a:pos x="connsiteX0" y="connsiteY0"/>
                </a:cxn>
                <a:cxn ang="0">
                  <a:pos x="connsiteX1" y="connsiteY1"/>
                </a:cxn>
                <a:cxn ang="0">
                  <a:pos x="connsiteX2" y="connsiteY2"/>
                </a:cxn>
              </a:cxnLst>
              <a:rect l="l" t="t" r="r" b="b"/>
              <a:pathLst>
                <a:path w="5380074" h="170121">
                  <a:moveTo>
                    <a:pt x="0" y="0"/>
                  </a:moveTo>
                  <a:lnTo>
                    <a:pt x="5061098" y="0"/>
                  </a:lnTo>
                  <a:lnTo>
                    <a:pt x="5380074"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23" name="Freeform 22"/>
            <p:cNvSpPr/>
            <p:nvPr/>
          </p:nvSpPr>
          <p:spPr bwMode="auto">
            <a:xfrm>
              <a:off x="5819044" y="4074997"/>
              <a:ext cx="1165166" cy="148775"/>
            </a:xfrm>
            <a:custGeom>
              <a:avLst/>
              <a:gdLst>
                <a:gd name="connsiteX0" fmla="*/ 0 w 3487479"/>
                <a:gd name="connsiteY0" fmla="*/ 0 h 467832"/>
                <a:gd name="connsiteX1" fmla="*/ 2828260 w 3487479"/>
                <a:gd name="connsiteY1" fmla="*/ 0 h 467832"/>
                <a:gd name="connsiteX2" fmla="*/ 3487479 w 3487479"/>
                <a:gd name="connsiteY2" fmla="*/ 467832 h 467832"/>
              </a:gdLst>
              <a:ahLst/>
              <a:cxnLst>
                <a:cxn ang="0">
                  <a:pos x="connsiteX0" y="connsiteY0"/>
                </a:cxn>
                <a:cxn ang="0">
                  <a:pos x="connsiteX1" y="connsiteY1"/>
                </a:cxn>
                <a:cxn ang="0">
                  <a:pos x="connsiteX2" y="connsiteY2"/>
                </a:cxn>
              </a:cxnLst>
              <a:rect l="l" t="t" r="r" b="b"/>
              <a:pathLst>
                <a:path w="3487479" h="467832">
                  <a:moveTo>
                    <a:pt x="0" y="0"/>
                  </a:moveTo>
                  <a:lnTo>
                    <a:pt x="2828260" y="0"/>
                  </a:lnTo>
                  <a:lnTo>
                    <a:pt x="3487479" y="46783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336" name="Freeform 14335"/>
            <p:cNvSpPr/>
            <p:nvPr/>
          </p:nvSpPr>
          <p:spPr bwMode="auto">
            <a:xfrm>
              <a:off x="5435590" y="4406361"/>
              <a:ext cx="723591" cy="128488"/>
            </a:xfrm>
            <a:custGeom>
              <a:avLst/>
              <a:gdLst>
                <a:gd name="connsiteX0" fmla="*/ 0 w 2275368"/>
                <a:gd name="connsiteY0" fmla="*/ 0 h 404037"/>
                <a:gd name="connsiteX1" fmla="*/ 446568 w 2275368"/>
                <a:gd name="connsiteY1" fmla="*/ 404037 h 404037"/>
                <a:gd name="connsiteX2" fmla="*/ 1935126 w 2275368"/>
                <a:gd name="connsiteY2" fmla="*/ 404037 h 404037"/>
                <a:gd name="connsiteX3" fmla="*/ 2275368 w 2275368"/>
                <a:gd name="connsiteY3" fmla="*/ 21265 h 404037"/>
              </a:gdLst>
              <a:ahLst/>
              <a:cxnLst>
                <a:cxn ang="0">
                  <a:pos x="connsiteX0" y="connsiteY0"/>
                </a:cxn>
                <a:cxn ang="0">
                  <a:pos x="connsiteX1" y="connsiteY1"/>
                </a:cxn>
                <a:cxn ang="0">
                  <a:pos x="connsiteX2" y="connsiteY2"/>
                </a:cxn>
                <a:cxn ang="0">
                  <a:pos x="connsiteX3" y="connsiteY3"/>
                </a:cxn>
              </a:cxnLst>
              <a:rect l="l" t="t" r="r" b="b"/>
              <a:pathLst>
                <a:path w="2275368" h="404037">
                  <a:moveTo>
                    <a:pt x="0" y="0"/>
                  </a:moveTo>
                  <a:lnTo>
                    <a:pt x="446568" y="404037"/>
                  </a:lnTo>
                  <a:lnTo>
                    <a:pt x="1935126" y="404037"/>
                  </a:lnTo>
                  <a:lnTo>
                    <a:pt x="2275368" y="21265"/>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337" name="Freeform 14336"/>
            <p:cNvSpPr/>
            <p:nvPr/>
          </p:nvSpPr>
          <p:spPr bwMode="auto">
            <a:xfrm>
              <a:off x="5367965" y="4413123"/>
              <a:ext cx="1176680" cy="223163"/>
            </a:xfrm>
            <a:custGeom>
              <a:avLst/>
              <a:gdLst>
                <a:gd name="connsiteX0" fmla="*/ 0 w 3700130"/>
                <a:gd name="connsiteY0" fmla="*/ 0 h 701748"/>
                <a:gd name="connsiteX1" fmla="*/ 0 w 3700130"/>
                <a:gd name="connsiteY1" fmla="*/ 701748 h 701748"/>
                <a:gd name="connsiteX2" fmla="*/ 3551274 w 3700130"/>
                <a:gd name="connsiteY2" fmla="*/ 701748 h 701748"/>
                <a:gd name="connsiteX3" fmla="*/ 3700130 w 3700130"/>
                <a:gd name="connsiteY3" fmla="*/ 574158 h 701748"/>
              </a:gdLst>
              <a:ahLst/>
              <a:cxnLst>
                <a:cxn ang="0">
                  <a:pos x="connsiteX0" y="connsiteY0"/>
                </a:cxn>
                <a:cxn ang="0">
                  <a:pos x="connsiteX1" y="connsiteY1"/>
                </a:cxn>
                <a:cxn ang="0">
                  <a:pos x="connsiteX2" y="connsiteY2"/>
                </a:cxn>
                <a:cxn ang="0">
                  <a:pos x="connsiteX3" y="connsiteY3"/>
                </a:cxn>
              </a:cxnLst>
              <a:rect l="l" t="t" r="r" b="b"/>
              <a:pathLst>
                <a:path w="3700130" h="701748">
                  <a:moveTo>
                    <a:pt x="0" y="0"/>
                  </a:moveTo>
                  <a:lnTo>
                    <a:pt x="0" y="701748"/>
                  </a:lnTo>
                  <a:lnTo>
                    <a:pt x="3551274" y="701748"/>
                  </a:lnTo>
                  <a:lnTo>
                    <a:pt x="3700130" y="574158"/>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grpSp>
        <p:nvGrpSpPr>
          <p:cNvPr id="14" name="Group 13"/>
          <p:cNvGrpSpPr/>
          <p:nvPr/>
        </p:nvGrpSpPr>
        <p:grpSpPr>
          <a:xfrm>
            <a:off x="4058454" y="3441869"/>
            <a:ext cx="5421568" cy="1358892"/>
            <a:chOff x="2616512" y="3235470"/>
            <a:chExt cx="5421568" cy="1358892"/>
          </a:xfrm>
          <a:solidFill>
            <a:schemeClr val="bg1"/>
          </a:solidFill>
        </p:grpSpPr>
        <p:sp>
          <p:nvSpPr>
            <p:cNvPr id="66" name="Freeform 65"/>
            <p:cNvSpPr>
              <a:spLocks noChangeAspect="1" noEditPoints="1"/>
            </p:cNvSpPr>
            <p:nvPr/>
          </p:nvSpPr>
          <p:spPr bwMode="auto">
            <a:xfrm>
              <a:off x="5734989" y="3236376"/>
              <a:ext cx="194488" cy="243681"/>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accent2"/>
                </a:solidFill>
              </a:endParaRPr>
            </a:p>
          </p:txBody>
        </p:sp>
        <p:sp>
          <p:nvSpPr>
            <p:cNvPr id="67" name="Rectangle 105"/>
            <p:cNvSpPr>
              <a:spLocks noChangeAspect="1"/>
            </p:cNvSpPr>
            <p:nvPr/>
          </p:nvSpPr>
          <p:spPr bwMode="auto">
            <a:xfrm>
              <a:off x="6360624" y="3351594"/>
              <a:ext cx="314792" cy="243681"/>
            </a:xfrm>
            <a:custGeom>
              <a:avLst/>
              <a:gdLst/>
              <a:ahLst/>
              <a:cxnLst/>
              <a:rect l="l" t="t" r="r" b="b"/>
              <a:pathLst>
                <a:path w="4577581" h="3544438">
                  <a:moveTo>
                    <a:pt x="147597" y="2112675"/>
                  </a:moveTo>
                  <a:lnTo>
                    <a:pt x="147597" y="3391715"/>
                  </a:lnTo>
                  <a:lnTo>
                    <a:pt x="1452503" y="3391715"/>
                  </a:lnTo>
                  <a:lnTo>
                    <a:pt x="1452503" y="2112675"/>
                  </a:lnTo>
                  <a:close/>
                  <a:moveTo>
                    <a:pt x="2285892" y="1979339"/>
                  </a:moveTo>
                  <a:cubicBezTo>
                    <a:pt x="2285575" y="2296779"/>
                    <a:pt x="2285005" y="2615641"/>
                    <a:pt x="2283511" y="2941940"/>
                  </a:cubicBezTo>
                  <a:lnTo>
                    <a:pt x="2621785" y="2941940"/>
                  </a:lnTo>
                  <a:lnTo>
                    <a:pt x="2621785" y="1979339"/>
                  </a:lnTo>
                  <a:close/>
                  <a:moveTo>
                    <a:pt x="3191380" y="1953653"/>
                  </a:moveTo>
                  <a:cubicBezTo>
                    <a:pt x="3191135" y="2205346"/>
                    <a:pt x="3190634" y="2458747"/>
                    <a:pt x="3189242" y="2719130"/>
                  </a:cubicBezTo>
                  <a:lnTo>
                    <a:pt x="3358797" y="2719130"/>
                  </a:lnTo>
                  <a:lnTo>
                    <a:pt x="3358797" y="1953653"/>
                  </a:lnTo>
                  <a:close/>
                  <a:moveTo>
                    <a:pt x="3764347" y="1867915"/>
                  </a:moveTo>
                  <a:cubicBezTo>
                    <a:pt x="3764188" y="2062191"/>
                    <a:pt x="3763908" y="2257318"/>
                    <a:pt x="3763023" y="2457145"/>
                  </a:cubicBezTo>
                  <a:lnTo>
                    <a:pt x="3970564" y="2457145"/>
                  </a:lnTo>
                  <a:lnTo>
                    <a:pt x="3970564" y="1867915"/>
                  </a:lnTo>
                  <a:close/>
                  <a:moveTo>
                    <a:pt x="147597" y="1784055"/>
                  </a:moveTo>
                  <a:lnTo>
                    <a:pt x="147597" y="2025570"/>
                  </a:lnTo>
                  <a:lnTo>
                    <a:pt x="1452503" y="2025570"/>
                  </a:lnTo>
                  <a:lnTo>
                    <a:pt x="1452503" y="1784055"/>
                  </a:lnTo>
                  <a:close/>
                  <a:moveTo>
                    <a:pt x="4228653" y="1778151"/>
                  </a:moveTo>
                  <a:cubicBezTo>
                    <a:pt x="4228556" y="1922149"/>
                    <a:pt x="4228402" y="2066609"/>
                    <a:pt x="4227899" y="2214181"/>
                  </a:cubicBezTo>
                  <a:lnTo>
                    <a:pt x="4361222" y="2214181"/>
                  </a:lnTo>
                  <a:lnTo>
                    <a:pt x="4361222" y="1778151"/>
                  </a:lnTo>
                  <a:close/>
                  <a:moveTo>
                    <a:pt x="3191663" y="1756981"/>
                  </a:moveTo>
                  <a:lnTo>
                    <a:pt x="3191455" y="1901522"/>
                  </a:lnTo>
                  <a:lnTo>
                    <a:pt x="3358797" y="1901522"/>
                  </a:lnTo>
                  <a:lnTo>
                    <a:pt x="3358797" y="1756981"/>
                  </a:lnTo>
                  <a:close/>
                  <a:moveTo>
                    <a:pt x="2286284" y="1732021"/>
                  </a:moveTo>
                  <a:cubicBezTo>
                    <a:pt x="2286204" y="1792600"/>
                    <a:pt x="2286135" y="1853174"/>
                    <a:pt x="2285996" y="1913784"/>
                  </a:cubicBezTo>
                  <a:lnTo>
                    <a:pt x="2621785" y="1913784"/>
                  </a:lnTo>
                  <a:lnTo>
                    <a:pt x="2621785" y="1732021"/>
                  </a:lnTo>
                  <a:close/>
                  <a:moveTo>
                    <a:pt x="3764542" y="1716526"/>
                  </a:moveTo>
                  <a:cubicBezTo>
                    <a:pt x="3764499" y="1753609"/>
                    <a:pt x="3764465" y="1790688"/>
                    <a:pt x="3764399" y="1827787"/>
                  </a:cubicBezTo>
                  <a:lnTo>
                    <a:pt x="3970564" y="1827787"/>
                  </a:lnTo>
                  <a:lnTo>
                    <a:pt x="3970564" y="1716526"/>
                  </a:lnTo>
                  <a:close/>
                  <a:moveTo>
                    <a:pt x="4228772" y="1666123"/>
                  </a:moveTo>
                  <a:cubicBezTo>
                    <a:pt x="4228740" y="1693569"/>
                    <a:pt x="4228720" y="1721008"/>
                    <a:pt x="4228685" y="1748456"/>
                  </a:cubicBezTo>
                  <a:lnTo>
                    <a:pt x="4361222" y="1748456"/>
                  </a:lnTo>
                  <a:lnTo>
                    <a:pt x="4361222" y="1666123"/>
                  </a:lnTo>
                  <a:close/>
                  <a:moveTo>
                    <a:pt x="3764736" y="1565137"/>
                  </a:moveTo>
                  <a:lnTo>
                    <a:pt x="3764593" y="1676398"/>
                  </a:lnTo>
                  <a:lnTo>
                    <a:pt x="3970564" y="1676398"/>
                  </a:lnTo>
                  <a:lnTo>
                    <a:pt x="3970564" y="1565137"/>
                  </a:lnTo>
                  <a:close/>
                  <a:moveTo>
                    <a:pt x="3191945" y="1560310"/>
                  </a:moveTo>
                  <a:lnTo>
                    <a:pt x="3191738" y="1704850"/>
                  </a:lnTo>
                  <a:lnTo>
                    <a:pt x="3358797" y="1704850"/>
                  </a:lnTo>
                  <a:lnTo>
                    <a:pt x="3358797" y="1560310"/>
                  </a:lnTo>
                  <a:close/>
                  <a:moveTo>
                    <a:pt x="4228892" y="1554095"/>
                  </a:moveTo>
                  <a:lnTo>
                    <a:pt x="4228804" y="1636428"/>
                  </a:lnTo>
                  <a:lnTo>
                    <a:pt x="4361222" y="1636428"/>
                  </a:lnTo>
                  <a:lnTo>
                    <a:pt x="4361222" y="1554095"/>
                  </a:lnTo>
                  <a:close/>
                  <a:moveTo>
                    <a:pt x="2286675" y="1484703"/>
                  </a:moveTo>
                  <a:lnTo>
                    <a:pt x="2286387" y="1666466"/>
                  </a:lnTo>
                  <a:lnTo>
                    <a:pt x="2621785" y="1666466"/>
                  </a:lnTo>
                  <a:lnTo>
                    <a:pt x="2621785" y="1484703"/>
                  </a:lnTo>
                  <a:close/>
                  <a:moveTo>
                    <a:pt x="147597" y="1455436"/>
                  </a:moveTo>
                  <a:lnTo>
                    <a:pt x="147597" y="1696950"/>
                  </a:lnTo>
                  <a:lnTo>
                    <a:pt x="1452503" y="1696950"/>
                  </a:lnTo>
                  <a:lnTo>
                    <a:pt x="1452503" y="1455436"/>
                  </a:lnTo>
                  <a:close/>
                  <a:moveTo>
                    <a:pt x="4229011" y="1442067"/>
                  </a:moveTo>
                  <a:lnTo>
                    <a:pt x="4228923" y="1524400"/>
                  </a:lnTo>
                  <a:lnTo>
                    <a:pt x="4361222" y="1524400"/>
                  </a:lnTo>
                  <a:lnTo>
                    <a:pt x="4361222" y="1442067"/>
                  </a:lnTo>
                  <a:close/>
                  <a:moveTo>
                    <a:pt x="3764931" y="1413748"/>
                  </a:moveTo>
                  <a:lnTo>
                    <a:pt x="3764788" y="1525009"/>
                  </a:lnTo>
                  <a:lnTo>
                    <a:pt x="3970564" y="1525009"/>
                  </a:lnTo>
                  <a:lnTo>
                    <a:pt x="3970564" y="1413748"/>
                  </a:lnTo>
                  <a:close/>
                  <a:moveTo>
                    <a:pt x="3192228" y="1363638"/>
                  </a:moveTo>
                  <a:lnTo>
                    <a:pt x="3192020" y="1508179"/>
                  </a:lnTo>
                  <a:lnTo>
                    <a:pt x="3358797" y="1508179"/>
                  </a:lnTo>
                  <a:lnTo>
                    <a:pt x="3358797" y="1363638"/>
                  </a:lnTo>
                  <a:close/>
                  <a:moveTo>
                    <a:pt x="4229187" y="1330039"/>
                  </a:moveTo>
                  <a:cubicBezTo>
                    <a:pt x="4229102" y="1357559"/>
                    <a:pt x="4229059" y="1384997"/>
                    <a:pt x="4229042" y="1412372"/>
                  </a:cubicBezTo>
                  <a:lnTo>
                    <a:pt x="4361222" y="1412372"/>
                  </a:lnTo>
                  <a:lnTo>
                    <a:pt x="4361222" y="1330039"/>
                  </a:lnTo>
                  <a:close/>
                  <a:moveTo>
                    <a:pt x="3765200" y="1262359"/>
                  </a:moveTo>
                  <a:cubicBezTo>
                    <a:pt x="3765074" y="1299549"/>
                    <a:pt x="3765005" y="1336628"/>
                    <a:pt x="3764983" y="1373620"/>
                  </a:cubicBezTo>
                  <a:lnTo>
                    <a:pt x="3970564" y="1373620"/>
                  </a:lnTo>
                  <a:lnTo>
                    <a:pt x="3970564" y="1262359"/>
                  </a:lnTo>
                  <a:close/>
                  <a:moveTo>
                    <a:pt x="2287066" y="1237385"/>
                  </a:moveTo>
                  <a:lnTo>
                    <a:pt x="2286779" y="1419148"/>
                  </a:lnTo>
                  <a:lnTo>
                    <a:pt x="2621785" y="1419148"/>
                  </a:lnTo>
                  <a:lnTo>
                    <a:pt x="2621785" y="1237385"/>
                  </a:lnTo>
                  <a:close/>
                  <a:moveTo>
                    <a:pt x="4229495" y="1218011"/>
                  </a:moveTo>
                  <a:lnTo>
                    <a:pt x="4229268" y="1300344"/>
                  </a:lnTo>
                  <a:lnTo>
                    <a:pt x="4361222" y="1300344"/>
                  </a:lnTo>
                  <a:lnTo>
                    <a:pt x="4361222" y="1218011"/>
                  </a:lnTo>
                  <a:close/>
                  <a:moveTo>
                    <a:pt x="3192511" y="1166966"/>
                  </a:moveTo>
                  <a:lnTo>
                    <a:pt x="3192303" y="1311507"/>
                  </a:lnTo>
                  <a:lnTo>
                    <a:pt x="3358797" y="1311507"/>
                  </a:lnTo>
                  <a:lnTo>
                    <a:pt x="3358797" y="1166966"/>
                  </a:lnTo>
                  <a:close/>
                  <a:moveTo>
                    <a:pt x="147597" y="1126816"/>
                  </a:moveTo>
                  <a:lnTo>
                    <a:pt x="147597" y="1368331"/>
                  </a:lnTo>
                  <a:lnTo>
                    <a:pt x="1452503" y="1368331"/>
                  </a:lnTo>
                  <a:lnTo>
                    <a:pt x="1452503" y="1126816"/>
                  </a:lnTo>
                  <a:close/>
                  <a:moveTo>
                    <a:pt x="3765703" y="1110970"/>
                  </a:moveTo>
                  <a:lnTo>
                    <a:pt x="3765333" y="1222231"/>
                  </a:lnTo>
                  <a:lnTo>
                    <a:pt x="3970564" y="1222231"/>
                  </a:lnTo>
                  <a:lnTo>
                    <a:pt x="3970564" y="1110970"/>
                  </a:lnTo>
                  <a:close/>
                  <a:moveTo>
                    <a:pt x="4229803" y="1105983"/>
                  </a:moveTo>
                  <a:lnTo>
                    <a:pt x="4229576" y="1188317"/>
                  </a:lnTo>
                  <a:lnTo>
                    <a:pt x="4361222" y="1188317"/>
                  </a:lnTo>
                  <a:lnTo>
                    <a:pt x="4361222" y="1105983"/>
                  </a:lnTo>
                  <a:close/>
                  <a:moveTo>
                    <a:pt x="2287502" y="990067"/>
                  </a:moveTo>
                  <a:cubicBezTo>
                    <a:pt x="2287329" y="1050814"/>
                    <a:pt x="2287196" y="1111388"/>
                    <a:pt x="2287170" y="1171830"/>
                  </a:cubicBezTo>
                  <a:lnTo>
                    <a:pt x="2621785" y="1171830"/>
                  </a:lnTo>
                  <a:lnTo>
                    <a:pt x="2621785" y="990067"/>
                  </a:lnTo>
                  <a:close/>
                  <a:moveTo>
                    <a:pt x="3193216" y="970294"/>
                  </a:moveTo>
                  <a:lnTo>
                    <a:pt x="3192679" y="1114835"/>
                  </a:lnTo>
                  <a:lnTo>
                    <a:pt x="3358797" y="1114835"/>
                  </a:lnTo>
                  <a:lnTo>
                    <a:pt x="3358797" y="970294"/>
                  </a:lnTo>
                  <a:close/>
                  <a:moveTo>
                    <a:pt x="3766207" y="959581"/>
                  </a:moveTo>
                  <a:lnTo>
                    <a:pt x="3765837" y="1070842"/>
                  </a:lnTo>
                  <a:lnTo>
                    <a:pt x="3970564" y="1070842"/>
                  </a:lnTo>
                  <a:lnTo>
                    <a:pt x="3970564" y="959581"/>
                  </a:lnTo>
                  <a:close/>
                  <a:moveTo>
                    <a:pt x="147597" y="798197"/>
                  </a:moveTo>
                  <a:lnTo>
                    <a:pt x="147597" y="1039711"/>
                  </a:lnTo>
                  <a:lnTo>
                    <a:pt x="1452503" y="1039711"/>
                  </a:lnTo>
                  <a:lnTo>
                    <a:pt x="1452503" y="798197"/>
                  </a:lnTo>
                  <a:close/>
                  <a:moveTo>
                    <a:pt x="3193946" y="773623"/>
                  </a:moveTo>
                  <a:lnTo>
                    <a:pt x="3193409" y="918164"/>
                  </a:lnTo>
                  <a:lnTo>
                    <a:pt x="3358797" y="918164"/>
                  </a:lnTo>
                  <a:lnTo>
                    <a:pt x="3358797" y="773623"/>
                  </a:lnTo>
                  <a:close/>
                  <a:moveTo>
                    <a:pt x="2288285" y="742749"/>
                  </a:moveTo>
                  <a:lnTo>
                    <a:pt x="2287710" y="924512"/>
                  </a:lnTo>
                  <a:lnTo>
                    <a:pt x="2621785" y="924512"/>
                  </a:lnTo>
                  <a:lnTo>
                    <a:pt x="2621785" y="742749"/>
                  </a:lnTo>
                  <a:close/>
                  <a:moveTo>
                    <a:pt x="2289342" y="495431"/>
                  </a:moveTo>
                  <a:cubicBezTo>
                    <a:pt x="2288957" y="556278"/>
                    <a:pt x="2288699" y="616852"/>
                    <a:pt x="2288492" y="677194"/>
                  </a:cubicBezTo>
                  <a:lnTo>
                    <a:pt x="2621785" y="677194"/>
                  </a:lnTo>
                  <a:lnTo>
                    <a:pt x="2621785" y="495431"/>
                  </a:lnTo>
                  <a:close/>
                  <a:moveTo>
                    <a:pt x="147597" y="469577"/>
                  </a:moveTo>
                  <a:lnTo>
                    <a:pt x="147597" y="711091"/>
                  </a:lnTo>
                  <a:lnTo>
                    <a:pt x="1452503" y="711091"/>
                  </a:lnTo>
                  <a:lnTo>
                    <a:pt x="1452503" y="469577"/>
                  </a:lnTo>
                  <a:close/>
                  <a:moveTo>
                    <a:pt x="147597" y="140958"/>
                  </a:moveTo>
                  <a:lnTo>
                    <a:pt x="147597" y="382472"/>
                  </a:lnTo>
                  <a:lnTo>
                    <a:pt x="1452503" y="382472"/>
                  </a:lnTo>
                  <a:lnTo>
                    <a:pt x="1452503" y="140958"/>
                  </a:lnTo>
                  <a:close/>
                  <a:moveTo>
                    <a:pt x="1522088" y="137"/>
                  </a:moveTo>
                  <a:cubicBezTo>
                    <a:pt x="1523433" y="2421"/>
                    <a:pt x="1526034" y="32164"/>
                    <a:pt x="1525754" y="6990"/>
                  </a:cubicBezTo>
                  <a:lnTo>
                    <a:pt x="2290491" y="265714"/>
                  </a:lnTo>
                  <a:lnTo>
                    <a:pt x="2289835" y="396916"/>
                  </a:lnTo>
                  <a:lnTo>
                    <a:pt x="2668824" y="396916"/>
                  </a:lnTo>
                  <a:lnTo>
                    <a:pt x="2669354" y="389450"/>
                  </a:lnTo>
                  <a:cubicBezTo>
                    <a:pt x="2670273" y="391169"/>
                    <a:pt x="2672051" y="413554"/>
                    <a:pt x="2671860" y="394607"/>
                  </a:cubicBezTo>
                  <a:lnTo>
                    <a:pt x="3194631" y="589322"/>
                  </a:lnTo>
                  <a:lnTo>
                    <a:pt x="3194237" y="695282"/>
                  </a:lnTo>
                  <a:lnTo>
                    <a:pt x="3392281" y="695282"/>
                  </a:lnTo>
                  <a:lnTo>
                    <a:pt x="3392658" y="689345"/>
                  </a:lnTo>
                  <a:cubicBezTo>
                    <a:pt x="3393313" y="690712"/>
                    <a:pt x="3394579" y="708512"/>
                    <a:pt x="3394442" y="693446"/>
                  </a:cubicBezTo>
                  <a:lnTo>
                    <a:pt x="3766577" y="848287"/>
                  </a:lnTo>
                  <a:lnTo>
                    <a:pt x="3766415" y="896895"/>
                  </a:lnTo>
                  <a:lnTo>
                    <a:pt x="3992111" y="894707"/>
                  </a:lnTo>
                  <a:cubicBezTo>
                    <a:pt x="3992527" y="895759"/>
                    <a:pt x="3993332" y="909462"/>
                    <a:pt x="3993246" y="897864"/>
                  </a:cubicBezTo>
                  <a:lnTo>
                    <a:pt x="4230047" y="1017053"/>
                  </a:lnTo>
                  <a:lnTo>
                    <a:pt x="4229925" y="1061359"/>
                  </a:lnTo>
                  <a:lnTo>
                    <a:pt x="4378988" y="1061359"/>
                  </a:lnTo>
                  <a:cubicBezTo>
                    <a:pt x="4380140" y="1061052"/>
                    <a:pt x="4380138" y="1060702"/>
                    <a:pt x="4380135" y="1060313"/>
                  </a:cubicBezTo>
                  <a:lnTo>
                    <a:pt x="4577581" y="1148513"/>
                  </a:lnTo>
                  <a:cubicBezTo>
                    <a:pt x="4575973" y="1496802"/>
                    <a:pt x="4576999" y="1815055"/>
                    <a:pt x="4575391" y="2163344"/>
                  </a:cubicBezTo>
                  <a:lnTo>
                    <a:pt x="4381009" y="2265433"/>
                  </a:lnTo>
                  <a:cubicBezTo>
                    <a:pt x="4381046" y="2265704"/>
                    <a:pt x="4381083" y="2265974"/>
                    <a:pt x="4381120" y="2266245"/>
                  </a:cubicBezTo>
                  <a:lnTo>
                    <a:pt x="4227756" y="2266245"/>
                  </a:lnTo>
                  <a:cubicBezTo>
                    <a:pt x="4227732" y="2306707"/>
                    <a:pt x="4227588" y="2347422"/>
                    <a:pt x="4227420" y="2388447"/>
                  </a:cubicBezTo>
                  <a:lnTo>
                    <a:pt x="3994294" y="2526405"/>
                  </a:lnTo>
                  <a:cubicBezTo>
                    <a:pt x="3994339" y="2526771"/>
                    <a:pt x="3994383" y="2527136"/>
                    <a:pt x="3994428" y="2527502"/>
                  </a:cubicBezTo>
                  <a:lnTo>
                    <a:pt x="3762789" y="2527502"/>
                  </a:lnTo>
                  <a:cubicBezTo>
                    <a:pt x="3762773" y="2561476"/>
                    <a:pt x="3762619" y="2595596"/>
                    <a:pt x="3762449" y="2629882"/>
                  </a:cubicBezTo>
                  <a:lnTo>
                    <a:pt x="3396090" y="2809106"/>
                  </a:lnTo>
                  <a:cubicBezTo>
                    <a:pt x="3396159" y="2809581"/>
                    <a:pt x="3396230" y="2810056"/>
                    <a:pt x="3396300" y="2810531"/>
                  </a:cubicBezTo>
                  <a:lnTo>
                    <a:pt x="3188902" y="2810531"/>
                  </a:lnTo>
                  <a:cubicBezTo>
                    <a:pt x="3188901" y="2816920"/>
                    <a:pt x="3188866" y="2823313"/>
                    <a:pt x="3188831" y="2829710"/>
                  </a:cubicBezTo>
                  <a:lnTo>
                    <a:pt x="2674174" y="3055087"/>
                  </a:lnTo>
                  <a:cubicBezTo>
                    <a:pt x="2674272" y="3055685"/>
                    <a:pt x="2674371" y="3056282"/>
                    <a:pt x="2674469" y="3056879"/>
                  </a:cubicBezTo>
                  <a:lnTo>
                    <a:pt x="2282936" y="3056879"/>
                  </a:lnTo>
                  <a:cubicBezTo>
                    <a:pt x="2282728" y="3118483"/>
                    <a:pt x="2282386" y="3180374"/>
                    <a:pt x="2282007" y="3242591"/>
                  </a:cubicBezTo>
                  <a:lnTo>
                    <a:pt x="1529139" y="3542057"/>
                  </a:lnTo>
                  <a:cubicBezTo>
                    <a:pt x="1529283" y="3542851"/>
                    <a:pt x="1529427" y="3543644"/>
                    <a:pt x="1529571" y="3544438"/>
                  </a:cubicBezTo>
                  <a:lnTo>
                    <a:pt x="0" y="3544438"/>
                  </a:lnTo>
                  <a:lnTo>
                    <a:pt x="0" y="10057"/>
                  </a:lnTo>
                  <a:lnTo>
                    <a:pt x="1521313" y="10057"/>
                  </a:lnTo>
                  <a:lnTo>
                    <a:pt x="1521538" y="1664"/>
                  </a:lnTo>
                  <a:cubicBezTo>
                    <a:pt x="1521674" y="138"/>
                    <a:pt x="1521863" y="-244"/>
                    <a:pt x="1522088" y="13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500"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9" name="Group 8"/>
            <p:cNvGrpSpPr/>
            <p:nvPr/>
          </p:nvGrpSpPr>
          <p:grpSpPr>
            <a:xfrm>
              <a:off x="2616512" y="3235470"/>
              <a:ext cx="5421568" cy="1358892"/>
              <a:chOff x="2616512" y="3235470"/>
              <a:chExt cx="5421568" cy="1358892"/>
            </a:xfrm>
            <a:grpFill/>
          </p:grpSpPr>
          <p:sp>
            <p:nvSpPr>
              <p:cNvPr id="56" name="Rectangle 25"/>
              <p:cNvSpPr>
                <a:spLocks noChangeAspect="1"/>
              </p:cNvSpPr>
              <p:nvPr/>
            </p:nvSpPr>
            <p:spPr bwMode="auto">
              <a:xfrm>
                <a:off x="2616512" y="3338709"/>
                <a:ext cx="301457" cy="20878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500" spc="-50" dirty="0" err="1" smtClean="0">
                  <a:solidFill>
                    <a:schemeClr val="accent2"/>
                  </a:solidFill>
                  <a:latin typeface="Segoe UI" pitchFamily="34" charset="0"/>
                  <a:ea typeface="Segoe UI" pitchFamily="34" charset="0"/>
                  <a:cs typeface="Segoe UI" pitchFamily="34" charset="0"/>
                </a:endParaRPr>
              </a:p>
            </p:txBody>
          </p:sp>
          <p:sp>
            <p:nvSpPr>
              <p:cNvPr id="57" name="Rectangle 138"/>
              <p:cNvSpPr>
                <a:spLocks noChangeAspect="1"/>
              </p:cNvSpPr>
              <p:nvPr/>
            </p:nvSpPr>
            <p:spPr bwMode="auto">
              <a:xfrm rot="5400000">
                <a:off x="7612747" y="4099710"/>
                <a:ext cx="425278" cy="425389"/>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sp>
            <p:nvSpPr>
              <p:cNvPr id="59" name="Freeform 58"/>
              <p:cNvSpPr>
                <a:spLocks noChangeAspect="1"/>
              </p:cNvSpPr>
              <p:nvPr/>
            </p:nvSpPr>
            <p:spPr bwMode="auto">
              <a:xfrm flipH="1">
                <a:off x="4228186" y="4188200"/>
                <a:ext cx="253695" cy="381858"/>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smtClean="0"/>
              </a:p>
            </p:txBody>
          </p:sp>
          <p:sp>
            <p:nvSpPr>
              <p:cNvPr id="60" name="Freeform 59"/>
              <p:cNvSpPr>
                <a:spLocks noChangeAspect="1"/>
              </p:cNvSpPr>
              <p:nvPr/>
            </p:nvSpPr>
            <p:spPr bwMode="auto">
              <a:xfrm>
                <a:off x="7722164" y="3264273"/>
                <a:ext cx="206443" cy="448150"/>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1"/>
                <a:endParaRPr lang="en-US" dirty="0"/>
              </a:p>
            </p:txBody>
          </p:sp>
          <p:sp>
            <p:nvSpPr>
              <p:cNvPr id="61" name="Rectangle 19"/>
              <p:cNvSpPr>
                <a:spLocks noChangeAspect="1"/>
              </p:cNvSpPr>
              <p:nvPr/>
            </p:nvSpPr>
            <p:spPr bwMode="auto">
              <a:xfrm>
                <a:off x="3292277" y="3387614"/>
                <a:ext cx="478985" cy="470426"/>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2" name="Trapezoid 14"/>
              <p:cNvSpPr>
                <a:spLocks noChangeAspect="1"/>
              </p:cNvSpPr>
              <p:nvPr/>
            </p:nvSpPr>
            <p:spPr bwMode="auto">
              <a:xfrm>
                <a:off x="3492011" y="4323355"/>
                <a:ext cx="245209" cy="201349"/>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3" name="Freeform 62"/>
              <p:cNvSpPr>
                <a:spLocks noChangeAspect="1" noEditPoints="1"/>
              </p:cNvSpPr>
              <p:nvPr/>
            </p:nvSpPr>
            <p:spPr bwMode="auto">
              <a:xfrm>
                <a:off x="6932731" y="4198337"/>
                <a:ext cx="262379" cy="262310"/>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accent2"/>
                  </a:solidFill>
                </a:endParaRPr>
              </a:p>
            </p:txBody>
          </p:sp>
          <p:sp>
            <p:nvSpPr>
              <p:cNvPr id="68" name="Trapezoid 35"/>
              <p:cNvSpPr>
                <a:spLocks noChangeAspect="1"/>
              </p:cNvSpPr>
              <p:nvPr/>
            </p:nvSpPr>
            <p:spPr bwMode="auto">
              <a:xfrm>
                <a:off x="4890116" y="4426141"/>
                <a:ext cx="116771" cy="143577"/>
              </a:xfrm>
              <a:custGeom>
                <a:avLst/>
                <a:gdLst/>
                <a:ahLst/>
                <a:cxnLst/>
                <a:rect l="l" t="t" r="r" b="b"/>
                <a:pathLst>
                  <a:path w="498727" h="613376">
                    <a:moveTo>
                      <a:pt x="248588" y="85168"/>
                    </a:moveTo>
                    <a:cubicBezTo>
                      <a:pt x="222130" y="85168"/>
                      <a:pt x="200681" y="106618"/>
                      <a:pt x="200681" y="133076"/>
                    </a:cubicBezTo>
                    <a:cubicBezTo>
                      <a:pt x="200681" y="159535"/>
                      <a:pt x="222130" y="180984"/>
                      <a:pt x="248588" y="180984"/>
                    </a:cubicBezTo>
                    <a:cubicBezTo>
                      <a:pt x="275047" y="180984"/>
                      <a:pt x="296496" y="159535"/>
                      <a:pt x="296496" y="133076"/>
                    </a:cubicBezTo>
                    <a:cubicBezTo>
                      <a:pt x="296496" y="106618"/>
                      <a:pt x="275047" y="85168"/>
                      <a:pt x="248588" y="85168"/>
                    </a:cubicBezTo>
                    <a:close/>
                    <a:moveTo>
                      <a:pt x="247841" y="0"/>
                    </a:moveTo>
                    <a:cubicBezTo>
                      <a:pt x="330545" y="0"/>
                      <a:pt x="397998" y="67110"/>
                      <a:pt x="397998" y="150114"/>
                    </a:cubicBezTo>
                    <a:cubicBezTo>
                      <a:pt x="397998" y="151880"/>
                      <a:pt x="397998" y="153646"/>
                      <a:pt x="397998" y="155412"/>
                    </a:cubicBezTo>
                    <a:cubicBezTo>
                      <a:pt x="397998" y="165420"/>
                      <a:pt x="396825" y="176016"/>
                      <a:pt x="394479" y="187201"/>
                    </a:cubicBezTo>
                    <a:cubicBezTo>
                      <a:pt x="394475" y="187211"/>
                      <a:pt x="393802" y="188969"/>
                      <a:pt x="274544" y="500358"/>
                    </a:cubicBezTo>
                    <a:lnTo>
                      <a:pt x="470473" y="500358"/>
                    </a:lnTo>
                    <a:lnTo>
                      <a:pt x="498727" y="613376"/>
                    </a:lnTo>
                    <a:lnTo>
                      <a:pt x="0" y="613376"/>
                    </a:lnTo>
                    <a:lnTo>
                      <a:pt x="28255" y="500358"/>
                    </a:lnTo>
                    <a:lnTo>
                      <a:pt x="220183" y="500358"/>
                    </a:lnTo>
                    <a:cubicBezTo>
                      <a:pt x="199775" y="446642"/>
                      <a:pt x="163981" y="352432"/>
                      <a:pt x="101204" y="187201"/>
                    </a:cubicBezTo>
                    <a:cubicBezTo>
                      <a:pt x="99444" y="178371"/>
                      <a:pt x="98271" y="169541"/>
                      <a:pt x="98271" y="161299"/>
                    </a:cubicBezTo>
                    <a:cubicBezTo>
                      <a:pt x="98271" y="157767"/>
                      <a:pt x="98271" y="154235"/>
                      <a:pt x="98271" y="150114"/>
                    </a:cubicBezTo>
                    <a:cubicBezTo>
                      <a:pt x="98271" y="67110"/>
                      <a:pt x="165138" y="0"/>
                      <a:pt x="247841" y="0"/>
                    </a:cubicBezTo>
                    <a:close/>
                  </a:path>
                </a:pathLst>
              </a:custGeom>
              <a:grpFill/>
              <a:ln w="25400" cap="sq" cmpd="sng" algn="ctr">
                <a:no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50" normalizeH="0" baseline="0" noProof="0" dirty="0" smtClean="0">
                  <a:ln>
                    <a:noFill/>
                  </a:ln>
                  <a:solidFill>
                    <a:schemeClr val="accent2"/>
                  </a:solidFill>
                  <a:effectLst/>
                  <a:uLnTx/>
                  <a:uFillTx/>
                  <a:latin typeface="Segoe Light" pitchFamily="34" charset="0"/>
                  <a:ea typeface="+mn-ea"/>
                  <a:cs typeface="+mn-cs"/>
                </a:endParaRPr>
              </a:p>
            </p:txBody>
          </p:sp>
          <p:sp>
            <p:nvSpPr>
              <p:cNvPr id="69" name="Rectangle 34"/>
              <p:cNvSpPr>
                <a:spLocks noChangeAspect="1"/>
              </p:cNvSpPr>
              <p:nvPr/>
            </p:nvSpPr>
            <p:spPr bwMode="auto">
              <a:xfrm>
                <a:off x="4236748" y="3402704"/>
                <a:ext cx="97385" cy="171288"/>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sp>
            <p:nvSpPr>
              <p:cNvPr id="70" name="Freeform 69"/>
              <p:cNvSpPr>
                <a:spLocks noChangeAspect="1"/>
              </p:cNvSpPr>
              <p:nvPr/>
            </p:nvSpPr>
            <p:spPr bwMode="auto">
              <a:xfrm>
                <a:off x="4750003" y="3235470"/>
                <a:ext cx="146372" cy="143347"/>
              </a:xfrm>
              <a:custGeom>
                <a:avLst/>
                <a:gdLst/>
                <a:ahLst/>
                <a:cxnLst/>
                <a:rect l="l" t="t" r="r" b="b"/>
                <a:pathLst>
                  <a:path w="2765779" h="2709334">
                    <a:moveTo>
                      <a:pt x="2665062" y="2328296"/>
                    </a:moveTo>
                    <a:lnTo>
                      <a:pt x="1426344" y="2380683"/>
                    </a:lnTo>
                    <a:lnTo>
                      <a:pt x="1426344" y="2538426"/>
                    </a:lnTo>
                    <a:lnTo>
                      <a:pt x="2660300" y="2481276"/>
                    </a:lnTo>
                    <a:close/>
                    <a:moveTo>
                      <a:pt x="1789156" y="1884445"/>
                    </a:moveTo>
                    <a:lnTo>
                      <a:pt x="1621278" y="2052323"/>
                    </a:lnTo>
                    <a:lnTo>
                      <a:pt x="1705217" y="2052323"/>
                    </a:lnTo>
                    <a:lnTo>
                      <a:pt x="1705217" y="2320356"/>
                    </a:lnTo>
                    <a:lnTo>
                      <a:pt x="1873095" y="2320356"/>
                    </a:lnTo>
                    <a:lnTo>
                      <a:pt x="1873095" y="2052323"/>
                    </a:lnTo>
                    <a:lnTo>
                      <a:pt x="1957034" y="2052323"/>
                    </a:lnTo>
                    <a:close/>
                    <a:moveTo>
                      <a:pt x="2343988" y="1864924"/>
                    </a:moveTo>
                    <a:lnTo>
                      <a:pt x="2176110" y="2032802"/>
                    </a:lnTo>
                    <a:lnTo>
                      <a:pt x="2260049" y="2032802"/>
                    </a:lnTo>
                    <a:lnTo>
                      <a:pt x="2260049" y="2300835"/>
                    </a:lnTo>
                    <a:lnTo>
                      <a:pt x="2427927" y="2300835"/>
                    </a:lnTo>
                    <a:lnTo>
                      <a:pt x="2427927" y="2032802"/>
                    </a:lnTo>
                    <a:lnTo>
                      <a:pt x="2511866" y="2032802"/>
                    </a:lnTo>
                    <a:close/>
                    <a:moveTo>
                      <a:pt x="1242561" y="310092"/>
                    </a:moveTo>
                    <a:lnTo>
                      <a:pt x="831090" y="497124"/>
                    </a:lnTo>
                    <a:cubicBezTo>
                      <a:pt x="834825" y="502719"/>
                      <a:pt x="836419" y="509232"/>
                      <a:pt x="837189" y="516038"/>
                    </a:cubicBezTo>
                    <a:lnTo>
                      <a:pt x="883745" y="927318"/>
                    </a:lnTo>
                    <a:lnTo>
                      <a:pt x="401403" y="981917"/>
                    </a:lnTo>
                    <a:lnTo>
                      <a:pt x="370238" y="706603"/>
                    </a:lnTo>
                    <a:lnTo>
                      <a:pt x="123395" y="818804"/>
                    </a:lnTo>
                    <a:lnTo>
                      <a:pt x="123395" y="2474429"/>
                    </a:lnTo>
                    <a:lnTo>
                      <a:pt x="1242561" y="2529925"/>
                    </a:lnTo>
                    <a:close/>
                    <a:moveTo>
                      <a:pt x="1399823" y="0"/>
                    </a:moveTo>
                    <a:lnTo>
                      <a:pt x="2765779" y="620889"/>
                    </a:lnTo>
                    <a:lnTo>
                      <a:pt x="2765779" y="2641600"/>
                    </a:lnTo>
                    <a:lnTo>
                      <a:pt x="1399823" y="2709334"/>
                    </a:lnTo>
                    <a:close/>
                    <a:moveTo>
                      <a:pt x="1365956" y="0"/>
                    </a:moveTo>
                    <a:lnTo>
                      <a:pt x="1365956" y="2709334"/>
                    </a:lnTo>
                    <a:lnTo>
                      <a:pt x="0" y="2641600"/>
                    </a:lnTo>
                    <a:lnTo>
                      <a:pt x="0" y="62088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1" name="Trapezoid 17"/>
              <p:cNvSpPr>
                <a:spLocks noChangeAspect="1"/>
              </p:cNvSpPr>
              <p:nvPr/>
            </p:nvSpPr>
            <p:spPr bwMode="auto">
              <a:xfrm>
                <a:off x="6549080" y="4418832"/>
                <a:ext cx="201186" cy="175530"/>
              </a:xfrm>
              <a:custGeom>
                <a:avLst/>
                <a:gdLst/>
                <a:ahLst/>
                <a:cxnLst/>
                <a:rect l="l" t="t" r="r" b="b"/>
                <a:pathLst>
                  <a:path w="2415166" h="2107724">
                    <a:moveTo>
                      <a:pt x="1796255" y="1279229"/>
                    </a:moveTo>
                    <a:lnTo>
                      <a:pt x="1796255" y="1282118"/>
                    </a:lnTo>
                    <a:lnTo>
                      <a:pt x="1794238" y="1282118"/>
                    </a:lnTo>
                    <a:close/>
                    <a:moveTo>
                      <a:pt x="2133091" y="1277023"/>
                    </a:moveTo>
                    <a:lnTo>
                      <a:pt x="2133091" y="1282118"/>
                    </a:lnTo>
                    <a:lnTo>
                      <a:pt x="2126573" y="1282118"/>
                    </a:lnTo>
                    <a:cubicBezTo>
                      <a:pt x="2129409" y="1281204"/>
                      <a:pt x="2131293" y="1279159"/>
                      <a:pt x="2133091" y="1277023"/>
                    </a:cubicBezTo>
                    <a:close/>
                    <a:moveTo>
                      <a:pt x="1528177" y="1124425"/>
                    </a:moveTo>
                    <a:lnTo>
                      <a:pt x="1666244" y="1124425"/>
                    </a:lnTo>
                    <a:cubicBezTo>
                      <a:pt x="1639905" y="1142636"/>
                      <a:pt x="1623644" y="1173286"/>
                      <a:pt x="1623644" y="1207734"/>
                    </a:cubicBezTo>
                    <a:cubicBezTo>
                      <a:pt x="1623644" y="1266891"/>
                      <a:pt x="1671599" y="1314846"/>
                      <a:pt x="1730755" y="1314846"/>
                    </a:cubicBezTo>
                    <a:cubicBezTo>
                      <a:pt x="1789912" y="1314846"/>
                      <a:pt x="1837867" y="1266891"/>
                      <a:pt x="1837867" y="1207734"/>
                    </a:cubicBezTo>
                    <a:cubicBezTo>
                      <a:pt x="1837867" y="1173286"/>
                      <a:pt x="1821606" y="1142636"/>
                      <a:pt x="1795268" y="1124425"/>
                    </a:cubicBezTo>
                    <a:lnTo>
                      <a:pt x="1996506" y="1124425"/>
                    </a:lnTo>
                    <a:cubicBezTo>
                      <a:pt x="1970168" y="1142636"/>
                      <a:pt x="1953906" y="1173286"/>
                      <a:pt x="1953906" y="1207734"/>
                    </a:cubicBezTo>
                    <a:cubicBezTo>
                      <a:pt x="1953906" y="1266891"/>
                      <a:pt x="2001861" y="1314846"/>
                      <a:pt x="2061018" y="1314846"/>
                    </a:cubicBezTo>
                    <a:cubicBezTo>
                      <a:pt x="2120174" y="1314846"/>
                      <a:pt x="2168130" y="1266891"/>
                      <a:pt x="2168130" y="1207734"/>
                    </a:cubicBezTo>
                    <a:cubicBezTo>
                      <a:pt x="2168130" y="1173286"/>
                      <a:pt x="2151868" y="1142636"/>
                      <a:pt x="2125530" y="1124425"/>
                    </a:cubicBezTo>
                    <a:lnTo>
                      <a:pt x="2277932" y="1124425"/>
                    </a:lnTo>
                    <a:cubicBezTo>
                      <a:pt x="2318820" y="1124425"/>
                      <a:pt x="2337090" y="1154596"/>
                      <a:pt x="2337090" y="1195484"/>
                    </a:cubicBezTo>
                    <a:lnTo>
                      <a:pt x="2411473" y="2012863"/>
                    </a:lnTo>
                    <a:cubicBezTo>
                      <a:pt x="2411473" y="2053751"/>
                      <a:pt x="2428908" y="2104749"/>
                      <a:pt x="2388020" y="2104749"/>
                    </a:cubicBezTo>
                    <a:lnTo>
                      <a:pt x="1435941" y="2107724"/>
                    </a:lnTo>
                    <a:cubicBezTo>
                      <a:pt x="1395052" y="2107724"/>
                      <a:pt x="1403562" y="2056726"/>
                      <a:pt x="1403562" y="2015838"/>
                    </a:cubicBezTo>
                    <a:cubicBezTo>
                      <a:pt x="1430339" y="1703707"/>
                      <a:pt x="1439266" y="1465959"/>
                      <a:pt x="1466044" y="1180607"/>
                    </a:cubicBezTo>
                    <a:cubicBezTo>
                      <a:pt x="1466044" y="1139719"/>
                      <a:pt x="1487289" y="1124425"/>
                      <a:pt x="1528177" y="1124425"/>
                    </a:cubicBezTo>
                    <a:close/>
                    <a:moveTo>
                      <a:pt x="1629022" y="1112189"/>
                    </a:moveTo>
                    <a:lnTo>
                      <a:pt x="1629322" y="1115479"/>
                    </a:lnTo>
                    <a:lnTo>
                      <a:pt x="1626238" y="1115479"/>
                    </a:lnTo>
                    <a:cubicBezTo>
                      <a:pt x="1626748" y="1113852"/>
                      <a:pt x="1627875" y="1113009"/>
                      <a:pt x="1629022" y="1112189"/>
                    </a:cubicBezTo>
                    <a:close/>
                    <a:moveTo>
                      <a:pt x="1880693" y="871455"/>
                    </a:moveTo>
                    <a:lnTo>
                      <a:pt x="1912922" y="871455"/>
                    </a:lnTo>
                    <a:cubicBezTo>
                      <a:pt x="2009224" y="871455"/>
                      <a:pt x="2087292" y="956275"/>
                      <a:pt x="2087292" y="1060906"/>
                    </a:cubicBezTo>
                    <a:lnTo>
                      <a:pt x="2087292" y="1163088"/>
                    </a:lnTo>
                    <a:lnTo>
                      <a:pt x="2094786" y="1170211"/>
                    </a:lnTo>
                    <a:cubicBezTo>
                      <a:pt x="2096259" y="1170936"/>
                      <a:pt x="2097383" y="1172047"/>
                      <a:pt x="2098192" y="1173449"/>
                    </a:cubicBezTo>
                    <a:cubicBezTo>
                      <a:pt x="2108281" y="1181292"/>
                      <a:pt x="2113666" y="1194209"/>
                      <a:pt x="2113666" y="1208493"/>
                    </a:cubicBezTo>
                    <a:cubicBezTo>
                      <a:pt x="2113666" y="1236761"/>
                      <a:pt x="2092574" y="1259677"/>
                      <a:pt x="2066556" y="1259677"/>
                    </a:cubicBezTo>
                    <a:lnTo>
                      <a:pt x="2061491" y="1258566"/>
                    </a:lnTo>
                    <a:cubicBezTo>
                      <a:pt x="2061334" y="1258661"/>
                      <a:pt x="2061176" y="1258661"/>
                      <a:pt x="2061018" y="1258661"/>
                    </a:cubicBezTo>
                    <a:cubicBezTo>
                      <a:pt x="2032891" y="1258661"/>
                      <a:pt x="2010090" y="1235860"/>
                      <a:pt x="2010090" y="1207734"/>
                    </a:cubicBezTo>
                    <a:cubicBezTo>
                      <a:pt x="2010090" y="1184535"/>
                      <a:pt x="2025603" y="1164959"/>
                      <a:pt x="2047056" y="1159626"/>
                    </a:cubicBezTo>
                    <a:lnTo>
                      <a:pt x="2047056" y="1084250"/>
                    </a:lnTo>
                    <a:cubicBezTo>
                      <a:pt x="2047056" y="1003331"/>
                      <a:pt x="1986681" y="937734"/>
                      <a:pt x="1912204" y="937734"/>
                    </a:cubicBezTo>
                    <a:lnTo>
                      <a:pt x="1887277" y="937734"/>
                    </a:lnTo>
                    <a:cubicBezTo>
                      <a:pt x="1812801" y="937734"/>
                      <a:pt x="1752425" y="1003331"/>
                      <a:pt x="1752425" y="1084250"/>
                    </a:cubicBezTo>
                    <a:lnTo>
                      <a:pt x="1752425" y="1162054"/>
                    </a:lnTo>
                    <a:cubicBezTo>
                      <a:pt x="1769791" y="1169886"/>
                      <a:pt x="1781683" y="1187422"/>
                      <a:pt x="1781683" y="1207734"/>
                    </a:cubicBezTo>
                    <a:cubicBezTo>
                      <a:pt x="1781683" y="1220866"/>
                      <a:pt x="1776712" y="1232838"/>
                      <a:pt x="1768228" y="1241578"/>
                    </a:cubicBezTo>
                    <a:cubicBezTo>
                      <a:pt x="1760023" y="1252796"/>
                      <a:pt x="1747245" y="1259677"/>
                      <a:pt x="1732987" y="1259677"/>
                    </a:cubicBezTo>
                    <a:cubicBezTo>
                      <a:pt x="1726287" y="1259677"/>
                      <a:pt x="1719912" y="1258157"/>
                      <a:pt x="1714189" y="1255317"/>
                    </a:cubicBezTo>
                    <a:cubicBezTo>
                      <a:pt x="1694108" y="1248915"/>
                      <a:pt x="1679828" y="1229993"/>
                      <a:pt x="1679828" y="1207734"/>
                    </a:cubicBezTo>
                    <a:cubicBezTo>
                      <a:pt x="1679828" y="1188615"/>
                      <a:pt x="1690365" y="1171956"/>
                      <a:pt x="1706322" y="1163918"/>
                    </a:cubicBezTo>
                    <a:lnTo>
                      <a:pt x="1706322" y="1060906"/>
                    </a:lnTo>
                    <a:cubicBezTo>
                      <a:pt x="1706322" y="956275"/>
                      <a:pt x="1784391" y="871455"/>
                      <a:pt x="1880693" y="871455"/>
                    </a:cubicBezTo>
                    <a:close/>
                    <a:moveTo>
                      <a:pt x="664345" y="688570"/>
                    </a:moveTo>
                    <a:lnTo>
                      <a:pt x="664345" y="693448"/>
                    </a:lnTo>
                    <a:lnTo>
                      <a:pt x="660939" y="693448"/>
                    </a:lnTo>
                    <a:close/>
                    <a:moveTo>
                      <a:pt x="1233128" y="684844"/>
                    </a:moveTo>
                    <a:lnTo>
                      <a:pt x="1233128" y="693448"/>
                    </a:lnTo>
                    <a:lnTo>
                      <a:pt x="1222123" y="693448"/>
                    </a:lnTo>
                    <a:cubicBezTo>
                      <a:pt x="1226911" y="691905"/>
                      <a:pt x="1230093" y="688451"/>
                      <a:pt x="1233128" y="684844"/>
                    </a:cubicBezTo>
                    <a:close/>
                    <a:moveTo>
                      <a:pt x="211666" y="427166"/>
                    </a:moveTo>
                    <a:lnTo>
                      <a:pt x="444807" y="427166"/>
                    </a:lnTo>
                    <a:cubicBezTo>
                      <a:pt x="400332" y="457918"/>
                      <a:pt x="372872" y="509674"/>
                      <a:pt x="372872" y="567843"/>
                    </a:cubicBezTo>
                    <a:cubicBezTo>
                      <a:pt x="372872" y="667735"/>
                      <a:pt x="453850" y="748713"/>
                      <a:pt x="553742" y="748713"/>
                    </a:cubicBezTo>
                    <a:cubicBezTo>
                      <a:pt x="653634" y="748713"/>
                      <a:pt x="734612" y="667735"/>
                      <a:pt x="734612" y="567843"/>
                    </a:cubicBezTo>
                    <a:cubicBezTo>
                      <a:pt x="734612" y="509674"/>
                      <a:pt x="707152" y="457918"/>
                      <a:pt x="662678" y="427166"/>
                    </a:cubicBezTo>
                    <a:lnTo>
                      <a:pt x="1002490" y="427166"/>
                    </a:lnTo>
                    <a:cubicBezTo>
                      <a:pt x="958015" y="457918"/>
                      <a:pt x="930555" y="509674"/>
                      <a:pt x="930555" y="567843"/>
                    </a:cubicBezTo>
                    <a:cubicBezTo>
                      <a:pt x="930555" y="667735"/>
                      <a:pt x="1011533" y="748713"/>
                      <a:pt x="1111425" y="748713"/>
                    </a:cubicBezTo>
                    <a:cubicBezTo>
                      <a:pt x="1211317" y="748713"/>
                      <a:pt x="1292295" y="667735"/>
                      <a:pt x="1292295" y="567843"/>
                    </a:cubicBezTo>
                    <a:cubicBezTo>
                      <a:pt x="1292295" y="509674"/>
                      <a:pt x="1264835" y="457918"/>
                      <a:pt x="1220361" y="427166"/>
                    </a:cubicBezTo>
                    <a:lnTo>
                      <a:pt x="1477708" y="427166"/>
                    </a:lnTo>
                    <a:cubicBezTo>
                      <a:pt x="1546752" y="427166"/>
                      <a:pt x="1577603" y="478113"/>
                      <a:pt x="1577603" y="547157"/>
                    </a:cubicBezTo>
                    <a:lnTo>
                      <a:pt x="1628646" y="1108061"/>
                    </a:lnTo>
                    <a:lnTo>
                      <a:pt x="1484635" y="1108061"/>
                    </a:lnTo>
                    <a:cubicBezTo>
                      <a:pt x="1440804" y="1108061"/>
                      <a:pt x="1418030" y="1124456"/>
                      <a:pt x="1418030" y="1168288"/>
                    </a:cubicBezTo>
                    <a:cubicBezTo>
                      <a:pt x="1389324" y="1474179"/>
                      <a:pt x="1379756" y="1729040"/>
                      <a:pt x="1351050" y="2063638"/>
                    </a:cubicBezTo>
                    <a:cubicBezTo>
                      <a:pt x="1351050" y="2070102"/>
                      <a:pt x="1350852" y="2076803"/>
                      <a:pt x="1350616" y="2083527"/>
                    </a:cubicBezTo>
                    <a:lnTo>
                      <a:pt x="55916" y="2087573"/>
                    </a:lnTo>
                    <a:cubicBezTo>
                      <a:pt x="-13128" y="2087573"/>
                      <a:pt x="1240" y="2001457"/>
                      <a:pt x="1240" y="1932413"/>
                    </a:cubicBezTo>
                    <a:cubicBezTo>
                      <a:pt x="46457" y="1405347"/>
                      <a:pt x="61530" y="1003884"/>
                      <a:pt x="106748" y="522036"/>
                    </a:cubicBezTo>
                    <a:cubicBezTo>
                      <a:pt x="106748" y="452992"/>
                      <a:pt x="142622" y="427166"/>
                      <a:pt x="211666" y="427166"/>
                    </a:cubicBezTo>
                    <a:close/>
                    <a:moveTo>
                      <a:pt x="806927" y="0"/>
                    </a:moveTo>
                    <a:lnTo>
                      <a:pt x="861350" y="0"/>
                    </a:lnTo>
                    <a:cubicBezTo>
                      <a:pt x="1023966" y="0"/>
                      <a:pt x="1155793" y="143228"/>
                      <a:pt x="1155793" y="319908"/>
                    </a:cubicBezTo>
                    <a:lnTo>
                      <a:pt x="1155793" y="492453"/>
                    </a:lnTo>
                    <a:lnTo>
                      <a:pt x="1168447" y="504482"/>
                    </a:lnTo>
                    <a:cubicBezTo>
                      <a:pt x="1170934" y="505706"/>
                      <a:pt x="1172832" y="507581"/>
                      <a:pt x="1174198" y="509949"/>
                    </a:cubicBezTo>
                    <a:cubicBezTo>
                      <a:pt x="1191235" y="523193"/>
                      <a:pt x="1200328" y="545005"/>
                      <a:pt x="1200328" y="569124"/>
                    </a:cubicBezTo>
                    <a:cubicBezTo>
                      <a:pt x="1200328" y="616858"/>
                      <a:pt x="1164712" y="655554"/>
                      <a:pt x="1120778" y="655554"/>
                    </a:cubicBezTo>
                    <a:lnTo>
                      <a:pt x="1112224" y="653678"/>
                    </a:lnTo>
                    <a:cubicBezTo>
                      <a:pt x="1111959" y="653838"/>
                      <a:pt x="1111692" y="653839"/>
                      <a:pt x="1111425" y="653839"/>
                    </a:cubicBezTo>
                    <a:cubicBezTo>
                      <a:pt x="1063931" y="653839"/>
                      <a:pt x="1025429" y="615337"/>
                      <a:pt x="1025429" y="567843"/>
                    </a:cubicBezTo>
                    <a:cubicBezTo>
                      <a:pt x="1025429" y="528669"/>
                      <a:pt x="1051623" y="495613"/>
                      <a:pt x="1087850" y="486607"/>
                    </a:cubicBezTo>
                    <a:lnTo>
                      <a:pt x="1087850" y="359326"/>
                    </a:lnTo>
                    <a:cubicBezTo>
                      <a:pt x="1087850" y="222687"/>
                      <a:pt x="985899" y="111919"/>
                      <a:pt x="860137" y="111919"/>
                    </a:cubicBezTo>
                    <a:lnTo>
                      <a:pt x="818046" y="111919"/>
                    </a:lnTo>
                    <a:cubicBezTo>
                      <a:pt x="692284" y="111919"/>
                      <a:pt x="590334" y="222687"/>
                      <a:pt x="590334" y="359326"/>
                    </a:cubicBezTo>
                    <a:lnTo>
                      <a:pt x="590334" y="490708"/>
                    </a:lnTo>
                    <a:cubicBezTo>
                      <a:pt x="619657" y="503933"/>
                      <a:pt x="639738" y="533543"/>
                      <a:pt x="639738" y="567843"/>
                    </a:cubicBezTo>
                    <a:cubicBezTo>
                      <a:pt x="639738" y="590018"/>
                      <a:pt x="631345" y="610233"/>
                      <a:pt x="617018" y="624992"/>
                    </a:cubicBezTo>
                    <a:cubicBezTo>
                      <a:pt x="603164" y="643934"/>
                      <a:pt x="581587" y="655554"/>
                      <a:pt x="557511" y="655554"/>
                    </a:cubicBezTo>
                    <a:cubicBezTo>
                      <a:pt x="546196" y="655554"/>
                      <a:pt x="535432" y="652987"/>
                      <a:pt x="525767" y="648191"/>
                    </a:cubicBezTo>
                    <a:cubicBezTo>
                      <a:pt x="491859" y="637382"/>
                      <a:pt x="467746" y="605429"/>
                      <a:pt x="467746" y="567843"/>
                    </a:cubicBezTo>
                    <a:cubicBezTo>
                      <a:pt x="467746" y="535558"/>
                      <a:pt x="485538" y="507427"/>
                      <a:pt x="512484" y="493854"/>
                    </a:cubicBezTo>
                    <a:lnTo>
                      <a:pt x="512484" y="319908"/>
                    </a:lnTo>
                    <a:cubicBezTo>
                      <a:pt x="512484" y="143228"/>
                      <a:pt x="644311" y="0"/>
                      <a:pt x="8069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3" name="SMART BUILDING AUTOMATION"/>
              <p:cNvSpPr>
                <a:spLocks noChangeAspect="1"/>
              </p:cNvSpPr>
              <p:nvPr/>
            </p:nvSpPr>
            <p:spPr bwMode="auto">
              <a:xfrm>
                <a:off x="6914305" y="3405889"/>
                <a:ext cx="290606" cy="327917"/>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4" name="SMART HOME AUTOMATION"/>
              <p:cNvSpPr>
                <a:spLocks noChangeAspect="1"/>
              </p:cNvSpPr>
              <p:nvPr/>
            </p:nvSpPr>
            <p:spPr bwMode="auto">
              <a:xfrm>
                <a:off x="6142810" y="4141917"/>
                <a:ext cx="275253" cy="234875"/>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2" name="VEHICLE TRACKING"/>
              <p:cNvSpPr/>
              <p:nvPr/>
            </p:nvSpPr>
            <p:spPr bwMode="auto">
              <a:xfrm>
                <a:off x="2669780" y="4025543"/>
                <a:ext cx="371333" cy="353457"/>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
        <p:nvSpPr>
          <p:cNvPr id="78" name="Title 1"/>
          <p:cNvSpPr>
            <a:spLocks noGrp="1"/>
          </p:cNvSpPr>
          <p:nvPr>
            <p:ph type="title"/>
          </p:nvPr>
        </p:nvSpPr>
        <p:spPr>
          <a:xfrm>
            <a:off x="0" y="0"/>
            <a:ext cx="11656706" cy="628788"/>
          </a:xfrm>
        </p:spPr>
        <p:txBody>
          <a:bodyPr>
            <a:noAutofit/>
          </a:bodyPr>
          <a:lstStyle/>
          <a:p>
            <a:r>
              <a:rPr lang="en-US" sz="4400" dirty="0" smtClean="0"/>
              <a:t>Azure IoT Suite</a:t>
            </a:r>
            <a:endParaRPr lang="en-US" sz="4400" dirty="0"/>
          </a:p>
        </p:txBody>
      </p:sp>
      <p:grpSp>
        <p:nvGrpSpPr>
          <p:cNvPr id="77" name="Group 76"/>
          <p:cNvGrpSpPr/>
          <p:nvPr/>
        </p:nvGrpSpPr>
        <p:grpSpPr>
          <a:xfrm>
            <a:off x="834941" y="4283959"/>
            <a:ext cx="2298318" cy="1005840"/>
            <a:chOff x="834941" y="2145937"/>
            <a:chExt cx="2298318" cy="1005840"/>
          </a:xfrm>
          <a:noFill/>
        </p:grpSpPr>
        <p:sp>
          <p:nvSpPr>
            <p:cNvPr id="79" name="Rectangle 78"/>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Predictive Maintenance</a:t>
              </a:r>
              <a:endParaRPr lang="en-US" sz="2000" dirty="0">
                <a:latin typeface="+mj-lt"/>
                <a:cs typeface="Segoe UI Light" panose="020B0502040204020203" pitchFamily="34" charset="0"/>
              </a:endParaRPr>
            </a:p>
          </p:txBody>
        </p:sp>
        <p:grpSp>
          <p:nvGrpSpPr>
            <p:cNvPr id="80" name="Group 79"/>
            <p:cNvGrpSpPr/>
            <p:nvPr/>
          </p:nvGrpSpPr>
          <p:grpSpPr>
            <a:xfrm>
              <a:off x="2438255" y="2261365"/>
              <a:ext cx="625795" cy="518026"/>
              <a:chOff x="16659225" y="-4403725"/>
              <a:chExt cx="3724275" cy="3082925"/>
            </a:xfrm>
            <a:grpFill/>
          </p:grpSpPr>
          <p:sp>
            <p:nvSpPr>
              <p:cNvPr id="81"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sp>
            <p:nvSpPr>
              <p:cNvPr id="82"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grpSp>
      </p:grpSp>
      <p:grpSp>
        <p:nvGrpSpPr>
          <p:cNvPr id="83" name="Group 82"/>
          <p:cNvGrpSpPr/>
          <p:nvPr/>
        </p:nvGrpSpPr>
        <p:grpSpPr>
          <a:xfrm>
            <a:off x="834941" y="3212127"/>
            <a:ext cx="2298318" cy="1005840"/>
            <a:chOff x="834941" y="3212127"/>
            <a:chExt cx="2298318" cy="1005840"/>
          </a:xfrm>
          <a:noFill/>
        </p:grpSpPr>
        <p:sp>
          <p:nvSpPr>
            <p:cNvPr id="84" name="Rectangle 83"/>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Asset </a:t>
              </a:r>
            </a:p>
            <a:p>
              <a:pPr>
                <a:lnSpc>
                  <a:spcPct val="90000"/>
                </a:lnSpc>
              </a:pPr>
              <a:r>
                <a:rPr lang="en-US" sz="2000" dirty="0" smtClean="0">
                  <a:latin typeface="+mj-lt"/>
                  <a:cs typeface="Segoe UI Light" panose="020B0502040204020203" pitchFamily="34" charset="0"/>
                </a:rPr>
                <a:t>Management</a:t>
              </a:r>
              <a:endParaRPr lang="en-US" sz="2000" dirty="0">
                <a:latin typeface="+mj-lt"/>
                <a:cs typeface="Segoe UI Light" panose="020B0502040204020203" pitchFamily="34" charset="0"/>
              </a:endParaRPr>
            </a:p>
          </p:txBody>
        </p:sp>
        <p:sp>
          <p:nvSpPr>
            <p:cNvPr id="85" name="Freeform 84"/>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86" name="Group 85"/>
          <p:cNvGrpSpPr/>
          <p:nvPr/>
        </p:nvGrpSpPr>
        <p:grpSpPr>
          <a:xfrm>
            <a:off x="834941" y="2151579"/>
            <a:ext cx="2298318" cy="1005840"/>
            <a:chOff x="834941" y="4278317"/>
            <a:chExt cx="2298318" cy="1005840"/>
          </a:xfrm>
          <a:noFill/>
        </p:grpSpPr>
        <p:sp>
          <p:nvSpPr>
            <p:cNvPr id="87" name="Rectangle 86"/>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Remote </a:t>
              </a:r>
            </a:p>
            <a:p>
              <a:pPr>
                <a:lnSpc>
                  <a:spcPct val="90000"/>
                </a:lnSpc>
              </a:pPr>
              <a:r>
                <a:rPr lang="en-US" sz="2000" dirty="0" smtClean="0">
                  <a:latin typeface="+mj-lt"/>
                  <a:cs typeface="Segoe UI Light" panose="020B0502040204020203" pitchFamily="34" charset="0"/>
                </a:rPr>
                <a:t>Monitoring</a:t>
              </a:r>
              <a:endParaRPr lang="en-US" sz="2000" dirty="0">
                <a:latin typeface="+mj-lt"/>
                <a:cs typeface="Segoe UI Light" panose="020B0502040204020203" pitchFamily="34" charset="0"/>
              </a:endParaRPr>
            </a:p>
          </p:txBody>
        </p:sp>
        <p:sp>
          <p:nvSpPr>
            <p:cNvPr id="88"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89" name="Group 88"/>
          <p:cNvGrpSpPr/>
          <p:nvPr/>
        </p:nvGrpSpPr>
        <p:grpSpPr>
          <a:xfrm>
            <a:off x="834941" y="5344507"/>
            <a:ext cx="2298318" cy="1005840"/>
            <a:chOff x="834941" y="5344507"/>
            <a:chExt cx="2298318" cy="1005840"/>
          </a:xfrm>
          <a:noFill/>
        </p:grpSpPr>
        <p:sp>
          <p:nvSpPr>
            <p:cNvPr id="90" name="Rectangle 89"/>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future applications</a:t>
              </a:r>
              <a:endParaRPr lang="en-US" sz="2000" dirty="0">
                <a:latin typeface="+mj-lt"/>
                <a:cs typeface="Segoe UI Light" panose="020B0502040204020203" pitchFamily="34" charset="0"/>
              </a:endParaRPr>
            </a:p>
          </p:txBody>
        </p:sp>
        <p:grpSp>
          <p:nvGrpSpPr>
            <p:cNvPr id="91" name="Group 90"/>
            <p:cNvGrpSpPr>
              <a:grpSpLocks noChangeAspect="1"/>
            </p:cNvGrpSpPr>
            <p:nvPr/>
          </p:nvGrpSpPr>
          <p:grpSpPr>
            <a:xfrm>
              <a:off x="2445769" y="5457513"/>
              <a:ext cx="641175" cy="640080"/>
              <a:chOff x="5630862" y="2964656"/>
              <a:chExt cx="930275" cy="928688"/>
            </a:xfrm>
            <a:grpFill/>
          </p:grpSpPr>
          <p:sp>
            <p:nvSpPr>
              <p:cNvPr id="92" name="Freeform 91"/>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93" name="Freeform 92"/>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94" name="Freeform 93"/>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15" name="Freeform 114"/>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16" name="Freeform 115"/>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17" name="Rectangle 116"/>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grpSp>
      </p:grpSp>
    </p:spTree>
    <p:extLst>
      <p:ext uri="{BB962C8B-B14F-4D97-AF65-F5344CB8AC3E}">
        <p14:creationId xmlns:p14="http://schemas.microsoft.com/office/powerpoint/2010/main" val="299671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5819" y="859150"/>
          <a:ext cx="1167" cy="1167"/>
        </p:xfrm>
        <a:graphic>
          <a:graphicData uri="http://schemas.openxmlformats.org/presentationml/2006/ole">
            <mc:AlternateContent xmlns:mc="http://schemas.openxmlformats.org/markup-compatibility/2006">
              <mc:Choice xmlns:v="urn:schemas-microsoft-com:vml" Requires="v">
                <p:oleObj spid="_x0000_s214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25819" y="859150"/>
                        <a:ext cx="1167" cy="1167"/>
                      </a:xfrm>
                      <a:prstGeom prst="rect">
                        <a:avLst/>
                      </a:prstGeom>
                    </p:spPr>
                  </p:pic>
                </p:oleObj>
              </mc:Fallback>
            </mc:AlternateContent>
          </a:graphicData>
        </a:graphic>
      </p:graphicFrame>
      <p:sp>
        <p:nvSpPr>
          <p:cNvPr id="4" name="Title 3"/>
          <p:cNvSpPr>
            <a:spLocks noGrp="1"/>
          </p:cNvSpPr>
          <p:nvPr>
            <p:ph type="title"/>
          </p:nvPr>
        </p:nvSpPr>
        <p:spPr/>
        <p:txBody>
          <a:bodyPr>
            <a:noAutofit/>
          </a:bodyPr>
          <a:lstStyle/>
          <a:p>
            <a:r>
              <a:rPr lang="en-US" sz="4400" dirty="0" smtClean="0">
                <a:solidFill>
                  <a:schemeClr val="bg2">
                    <a:lumMod val="50000"/>
                  </a:schemeClr>
                </a:solidFill>
                <a:latin typeface="Segoe UI Light" panose="020B0502040204020203" pitchFamily="34" charset="0"/>
                <a:cs typeface="Segoe UI Light" panose="020B0502040204020203" pitchFamily="34" charset="0"/>
              </a:rPr>
              <a:t>What is the Internet of Things?</a:t>
            </a:r>
            <a:endParaRPr lang="en-US" sz="4400" dirty="0">
              <a:solidFill>
                <a:schemeClr val="bg2">
                  <a:lumMod val="50000"/>
                </a:schemeClr>
              </a:solidFill>
              <a:latin typeface="Segoe UI Light" panose="020B0502040204020203" pitchFamily="34" charset="0"/>
              <a:cs typeface="Segoe UI Light" panose="020B0502040204020203" pitchFamily="34" charset="0"/>
            </a:endParaRPr>
          </a:p>
        </p:txBody>
      </p:sp>
      <p:sp>
        <p:nvSpPr>
          <p:cNvPr id="60" name="Rectangle 59"/>
          <p:cNvSpPr/>
          <p:nvPr/>
        </p:nvSpPr>
        <p:spPr>
          <a:xfrm>
            <a:off x="2962297" y="2084364"/>
            <a:ext cx="2644453" cy="2689274"/>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Connectivity</a:t>
            </a:r>
          </a:p>
        </p:txBody>
      </p:sp>
      <p:grpSp>
        <p:nvGrpSpPr>
          <p:cNvPr id="87" name="Group 86"/>
          <p:cNvGrpSpPr/>
          <p:nvPr/>
        </p:nvGrpSpPr>
        <p:grpSpPr>
          <a:xfrm>
            <a:off x="4795842" y="3962744"/>
            <a:ext cx="609018" cy="606953"/>
            <a:chOff x="13581063" y="-434975"/>
            <a:chExt cx="3236912" cy="3236913"/>
          </a:xfrm>
          <a:solidFill>
            <a:schemeClr val="bg2"/>
          </a:solidFill>
        </p:grpSpPr>
        <p:sp>
          <p:nvSpPr>
            <p:cNvPr id="88" name="Oval 5"/>
            <p:cNvSpPr>
              <a:spLocks noChangeArrowheads="1"/>
            </p:cNvSpPr>
            <p:nvPr/>
          </p:nvSpPr>
          <p:spPr bwMode="auto">
            <a:xfrm>
              <a:off x="15986125" y="1970088"/>
              <a:ext cx="819150" cy="82073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89" name="Freeform 6"/>
            <p:cNvSpPr>
              <a:spLocks/>
            </p:cNvSpPr>
            <p:nvPr/>
          </p:nvSpPr>
          <p:spPr bwMode="auto">
            <a:xfrm>
              <a:off x="15086013" y="1071563"/>
              <a:ext cx="1731962" cy="1730375"/>
            </a:xfrm>
            <a:custGeom>
              <a:avLst/>
              <a:gdLst>
                <a:gd name="T0" fmla="*/ 88 w 460"/>
                <a:gd name="T1" fmla="*/ 460 h 460"/>
                <a:gd name="T2" fmla="*/ 0 w 460"/>
                <a:gd name="T3" fmla="*/ 460 h 460"/>
                <a:gd name="T4" fmla="*/ 460 w 460"/>
                <a:gd name="T5" fmla="*/ 0 h 460"/>
                <a:gd name="T6" fmla="*/ 460 w 460"/>
                <a:gd name="T7" fmla="*/ 88 h 460"/>
                <a:gd name="T8" fmla="*/ 88 w 460"/>
                <a:gd name="T9" fmla="*/ 460 h 460"/>
              </a:gdLst>
              <a:ahLst/>
              <a:cxnLst>
                <a:cxn ang="0">
                  <a:pos x="T0" y="T1"/>
                </a:cxn>
                <a:cxn ang="0">
                  <a:pos x="T2" y="T3"/>
                </a:cxn>
                <a:cxn ang="0">
                  <a:pos x="T4" y="T5"/>
                </a:cxn>
                <a:cxn ang="0">
                  <a:pos x="T6" y="T7"/>
                </a:cxn>
                <a:cxn ang="0">
                  <a:pos x="T8" y="T9"/>
                </a:cxn>
              </a:cxnLst>
              <a:rect l="0" t="0" r="r" b="b"/>
              <a:pathLst>
                <a:path w="460" h="460">
                  <a:moveTo>
                    <a:pt x="88" y="460"/>
                  </a:moveTo>
                  <a:cubicBezTo>
                    <a:pt x="0" y="460"/>
                    <a:pt x="0" y="460"/>
                    <a:pt x="0" y="460"/>
                  </a:cubicBezTo>
                  <a:cubicBezTo>
                    <a:pt x="0" y="206"/>
                    <a:pt x="206" y="0"/>
                    <a:pt x="460" y="0"/>
                  </a:cubicBezTo>
                  <a:cubicBezTo>
                    <a:pt x="460" y="88"/>
                    <a:pt x="460" y="88"/>
                    <a:pt x="460" y="88"/>
                  </a:cubicBezTo>
                  <a:cubicBezTo>
                    <a:pt x="255" y="88"/>
                    <a:pt x="88" y="255"/>
                    <a:pt x="88" y="4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0" name="Freeform 7"/>
            <p:cNvSpPr>
              <a:spLocks/>
            </p:cNvSpPr>
            <p:nvPr/>
          </p:nvSpPr>
          <p:spPr bwMode="auto">
            <a:xfrm>
              <a:off x="14333538" y="319088"/>
              <a:ext cx="2484437" cy="2482850"/>
            </a:xfrm>
            <a:custGeom>
              <a:avLst/>
              <a:gdLst>
                <a:gd name="T0" fmla="*/ 88 w 660"/>
                <a:gd name="T1" fmla="*/ 660 h 660"/>
                <a:gd name="T2" fmla="*/ 0 w 660"/>
                <a:gd name="T3" fmla="*/ 660 h 660"/>
                <a:gd name="T4" fmla="*/ 660 w 660"/>
                <a:gd name="T5" fmla="*/ 0 h 660"/>
                <a:gd name="T6" fmla="*/ 660 w 660"/>
                <a:gd name="T7" fmla="*/ 88 h 660"/>
                <a:gd name="T8" fmla="*/ 88 w 660"/>
                <a:gd name="T9" fmla="*/ 660 h 660"/>
              </a:gdLst>
              <a:ahLst/>
              <a:cxnLst>
                <a:cxn ang="0">
                  <a:pos x="T0" y="T1"/>
                </a:cxn>
                <a:cxn ang="0">
                  <a:pos x="T2" y="T3"/>
                </a:cxn>
                <a:cxn ang="0">
                  <a:pos x="T4" y="T5"/>
                </a:cxn>
                <a:cxn ang="0">
                  <a:pos x="T6" y="T7"/>
                </a:cxn>
                <a:cxn ang="0">
                  <a:pos x="T8" y="T9"/>
                </a:cxn>
              </a:cxnLst>
              <a:rect l="0" t="0" r="r" b="b"/>
              <a:pathLst>
                <a:path w="660" h="660">
                  <a:moveTo>
                    <a:pt x="88" y="660"/>
                  </a:moveTo>
                  <a:cubicBezTo>
                    <a:pt x="0" y="660"/>
                    <a:pt x="0" y="660"/>
                    <a:pt x="0" y="660"/>
                  </a:cubicBezTo>
                  <a:cubicBezTo>
                    <a:pt x="0" y="296"/>
                    <a:pt x="296" y="0"/>
                    <a:pt x="660" y="0"/>
                  </a:cubicBezTo>
                  <a:cubicBezTo>
                    <a:pt x="660" y="88"/>
                    <a:pt x="660" y="88"/>
                    <a:pt x="660" y="88"/>
                  </a:cubicBezTo>
                  <a:cubicBezTo>
                    <a:pt x="345" y="88"/>
                    <a:pt x="88" y="345"/>
                    <a:pt x="88" y="6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1" name="Freeform 8"/>
            <p:cNvSpPr>
              <a:spLocks/>
            </p:cNvSpPr>
            <p:nvPr/>
          </p:nvSpPr>
          <p:spPr bwMode="auto">
            <a:xfrm>
              <a:off x="13581063" y="-434975"/>
              <a:ext cx="3236912" cy="3236913"/>
            </a:xfrm>
            <a:custGeom>
              <a:avLst/>
              <a:gdLst>
                <a:gd name="T0" fmla="*/ 88 w 860"/>
                <a:gd name="T1" fmla="*/ 860 h 860"/>
                <a:gd name="T2" fmla="*/ 0 w 860"/>
                <a:gd name="T3" fmla="*/ 860 h 860"/>
                <a:gd name="T4" fmla="*/ 252 w 860"/>
                <a:gd name="T5" fmla="*/ 252 h 860"/>
                <a:gd name="T6" fmla="*/ 860 w 860"/>
                <a:gd name="T7" fmla="*/ 0 h 860"/>
                <a:gd name="T8" fmla="*/ 860 w 860"/>
                <a:gd name="T9" fmla="*/ 88 h 860"/>
                <a:gd name="T10" fmla="*/ 88 w 860"/>
                <a:gd name="T11" fmla="*/ 860 h 860"/>
              </a:gdLst>
              <a:ahLst/>
              <a:cxnLst>
                <a:cxn ang="0">
                  <a:pos x="T0" y="T1"/>
                </a:cxn>
                <a:cxn ang="0">
                  <a:pos x="T2" y="T3"/>
                </a:cxn>
                <a:cxn ang="0">
                  <a:pos x="T4" y="T5"/>
                </a:cxn>
                <a:cxn ang="0">
                  <a:pos x="T6" y="T7"/>
                </a:cxn>
                <a:cxn ang="0">
                  <a:pos x="T8" y="T9"/>
                </a:cxn>
                <a:cxn ang="0">
                  <a:pos x="T10" y="T11"/>
                </a:cxn>
              </a:cxnLst>
              <a:rect l="0" t="0" r="r" b="b"/>
              <a:pathLst>
                <a:path w="860" h="860">
                  <a:moveTo>
                    <a:pt x="88" y="860"/>
                  </a:moveTo>
                  <a:cubicBezTo>
                    <a:pt x="0" y="860"/>
                    <a:pt x="0" y="860"/>
                    <a:pt x="0" y="860"/>
                  </a:cubicBezTo>
                  <a:cubicBezTo>
                    <a:pt x="0" y="630"/>
                    <a:pt x="89" y="414"/>
                    <a:pt x="252" y="252"/>
                  </a:cubicBezTo>
                  <a:cubicBezTo>
                    <a:pt x="414" y="89"/>
                    <a:pt x="630" y="0"/>
                    <a:pt x="860" y="0"/>
                  </a:cubicBezTo>
                  <a:cubicBezTo>
                    <a:pt x="860" y="88"/>
                    <a:pt x="860" y="88"/>
                    <a:pt x="860" y="88"/>
                  </a:cubicBezTo>
                  <a:cubicBezTo>
                    <a:pt x="434" y="88"/>
                    <a:pt x="88" y="434"/>
                    <a:pt x="88" y="86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
        <p:nvSpPr>
          <p:cNvPr id="92" name="Rectangle 91"/>
          <p:cNvSpPr/>
          <p:nvPr/>
        </p:nvSpPr>
        <p:spPr>
          <a:xfrm>
            <a:off x="5646691" y="2084364"/>
            <a:ext cx="2644453" cy="2689274"/>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Data</a:t>
            </a:r>
          </a:p>
        </p:txBody>
      </p:sp>
      <p:grpSp>
        <p:nvGrpSpPr>
          <p:cNvPr id="93" name="Group 92"/>
          <p:cNvGrpSpPr/>
          <p:nvPr/>
        </p:nvGrpSpPr>
        <p:grpSpPr>
          <a:xfrm>
            <a:off x="7370541" y="3892100"/>
            <a:ext cx="725691" cy="677599"/>
            <a:chOff x="-5364163" y="-2738437"/>
            <a:chExt cx="4327525" cy="4054475"/>
          </a:xfrm>
          <a:solidFill>
            <a:schemeClr val="bg2"/>
          </a:solidFill>
        </p:grpSpPr>
        <p:sp>
          <p:nvSpPr>
            <p:cNvPr id="9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9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1"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2"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3"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4"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5"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6"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7"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08"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
        <p:nvSpPr>
          <p:cNvPr id="109" name="Rectangle 108"/>
          <p:cNvSpPr/>
          <p:nvPr/>
        </p:nvSpPr>
        <p:spPr>
          <a:xfrm>
            <a:off x="8337063" y="2084364"/>
            <a:ext cx="2644453" cy="2689274"/>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Analytics</a:t>
            </a:r>
          </a:p>
        </p:txBody>
      </p:sp>
      <p:grpSp>
        <p:nvGrpSpPr>
          <p:cNvPr id="110" name="Group 109"/>
          <p:cNvGrpSpPr/>
          <p:nvPr/>
        </p:nvGrpSpPr>
        <p:grpSpPr>
          <a:xfrm>
            <a:off x="9699391" y="3817977"/>
            <a:ext cx="998659" cy="749069"/>
            <a:chOff x="15319375" y="-157163"/>
            <a:chExt cx="2720976" cy="2047876"/>
          </a:xfrm>
          <a:solidFill>
            <a:schemeClr val="bg1"/>
          </a:solidFill>
        </p:grpSpPr>
        <p:sp>
          <p:nvSpPr>
            <p:cNvPr id="111" name="Freeform 12"/>
            <p:cNvSpPr>
              <a:spLocks/>
            </p:cNvSpPr>
            <p:nvPr/>
          </p:nvSpPr>
          <p:spPr bwMode="auto">
            <a:xfrm>
              <a:off x="16271875" y="1343025"/>
              <a:ext cx="222250" cy="547688"/>
            </a:xfrm>
            <a:custGeom>
              <a:avLst/>
              <a:gdLst>
                <a:gd name="T0" fmla="*/ 0 w 140"/>
                <a:gd name="T1" fmla="*/ 0 h 345"/>
                <a:gd name="T2" fmla="*/ 140 w 140"/>
                <a:gd name="T3" fmla="*/ 0 h 345"/>
                <a:gd name="T4" fmla="*/ 140 w 140"/>
                <a:gd name="T5" fmla="*/ 345 h 345"/>
                <a:gd name="T6" fmla="*/ 0 w 140"/>
                <a:gd name="T7" fmla="*/ 345 h 345"/>
                <a:gd name="T8" fmla="*/ 0 w 140"/>
                <a:gd name="T9" fmla="*/ 0 h 345"/>
                <a:gd name="T10" fmla="*/ 0 w 140"/>
                <a:gd name="T11" fmla="*/ 0 h 345"/>
              </a:gdLst>
              <a:ahLst/>
              <a:cxnLst>
                <a:cxn ang="0">
                  <a:pos x="T0" y="T1"/>
                </a:cxn>
                <a:cxn ang="0">
                  <a:pos x="T2" y="T3"/>
                </a:cxn>
                <a:cxn ang="0">
                  <a:pos x="T4" y="T5"/>
                </a:cxn>
                <a:cxn ang="0">
                  <a:pos x="T6" y="T7"/>
                </a:cxn>
                <a:cxn ang="0">
                  <a:pos x="T8" y="T9"/>
                </a:cxn>
                <a:cxn ang="0">
                  <a:pos x="T10" y="T11"/>
                </a:cxn>
              </a:cxnLst>
              <a:rect l="0" t="0" r="r" b="b"/>
              <a:pathLst>
                <a:path w="140" h="345">
                  <a:moveTo>
                    <a:pt x="0" y="0"/>
                  </a:moveTo>
                  <a:lnTo>
                    <a:pt x="140" y="0"/>
                  </a:lnTo>
                  <a:lnTo>
                    <a:pt x="140" y="345"/>
                  </a:lnTo>
                  <a:lnTo>
                    <a:pt x="0" y="345"/>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2" name="Freeform 13"/>
            <p:cNvSpPr>
              <a:spLocks/>
            </p:cNvSpPr>
            <p:nvPr/>
          </p:nvSpPr>
          <p:spPr bwMode="auto">
            <a:xfrm>
              <a:off x="15955963" y="411162"/>
              <a:ext cx="225425" cy="1479551"/>
            </a:xfrm>
            <a:custGeom>
              <a:avLst/>
              <a:gdLst>
                <a:gd name="T0" fmla="*/ 0 w 142"/>
                <a:gd name="T1" fmla="*/ 0 h 932"/>
                <a:gd name="T2" fmla="*/ 142 w 142"/>
                <a:gd name="T3" fmla="*/ 0 h 932"/>
                <a:gd name="T4" fmla="*/ 142 w 142"/>
                <a:gd name="T5" fmla="*/ 932 h 932"/>
                <a:gd name="T6" fmla="*/ 0 w 142"/>
                <a:gd name="T7" fmla="*/ 932 h 932"/>
                <a:gd name="T8" fmla="*/ 0 w 142"/>
                <a:gd name="T9" fmla="*/ 0 h 932"/>
                <a:gd name="T10" fmla="*/ 0 w 142"/>
                <a:gd name="T11" fmla="*/ 0 h 932"/>
              </a:gdLst>
              <a:ahLst/>
              <a:cxnLst>
                <a:cxn ang="0">
                  <a:pos x="T0" y="T1"/>
                </a:cxn>
                <a:cxn ang="0">
                  <a:pos x="T2" y="T3"/>
                </a:cxn>
                <a:cxn ang="0">
                  <a:pos x="T4" y="T5"/>
                </a:cxn>
                <a:cxn ang="0">
                  <a:pos x="T6" y="T7"/>
                </a:cxn>
                <a:cxn ang="0">
                  <a:pos x="T8" y="T9"/>
                </a:cxn>
                <a:cxn ang="0">
                  <a:pos x="T10" y="T11"/>
                </a:cxn>
              </a:cxnLst>
              <a:rect l="0" t="0" r="r" b="b"/>
              <a:pathLst>
                <a:path w="142" h="932">
                  <a:moveTo>
                    <a:pt x="0" y="0"/>
                  </a:moveTo>
                  <a:lnTo>
                    <a:pt x="142" y="0"/>
                  </a:lnTo>
                  <a:lnTo>
                    <a:pt x="142" y="932"/>
                  </a:lnTo>
                  <a:lnTo>
                    <a:pt x="0" y="932"/>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3" name="Freeform 14"/>
            <p:cNvSpPr>
              <a:spLocks/>
            </p:cNvSpPr>
            <p:nvPr/>
          </p:nvSpPr>
          <p:spPr bwMode="auto">
            <a:xfrm>
              <a:off x="15636875" y="26987"/>
              <a:ext cx="220663" cy="1863726"/>
            </a:xfrm>
            <a:custGeom>
              <a:avLst/>
              <a:gdLst>
                <a:gd name="T0" fmla="*/ 0 w 139"/>
                <a:gd name="T1" fmla="*/ 0 h 1174"/>
                <a:gd name="T2" fmla="*/ 139 w 139"/>
                <a:gd name="T3" fmla="*/ 0 h 1174"/>
                <a:gd name="T4" fmla="*/ 139 w 139"/>
                <a:gd name="T5" fmla="*/ 1174 h 1174"/>
                <a:gd name="T6" fmla="*/ 0 w 139"/>
                <a:gd name="T7" fmla="*/ 1174 h 1174"/>
                <a:gd name="T8" fmla="*/ 0 w 139"/>
                <a:gd name="T9" fmla="*/ 0 h 1174"/>
                <a:gd name="T10" fmla="*/ 0 w 139"/>
                <a:gd name="T11" fmla="*/ 0 h 1174"/>
              </a:gdLst>
              <a:ahLst/>
              <a:cxnLst>
                <a:cxn ang="0">
                  <a:pos x="T0" y="T1"/>
                </a:cxn>
                <a:cxn ang="0">
                  <a:pos x="T2" y="T3"/>
                </a:cxn>
                <a:cxn ang="0">
                  <a:pos x="T4" y="T5"/>
                </a:cxn>
                <a:cxn ang="0">
                  <a:pos x="T6" y="T7"/>
                </a:cxn>
                <a:cxn ang="0">
                  <a:pos x="T8" y="T9"/>
                </a:cxn>
                <a:cxn ang="0">
                  <a:pos x="T10" y="T11"/>
                </a:cxn>
              </a:cxnLst>
              <a:rect l="0" t="0" r="r" b="b"/>
              <a:pathLst>
                <a:path w="139" h="1174">
                  <a:moveTo>
                    <a:pt x="0" y="0"/>
                  </a:moveTo>
                  <a:lnTo>
                    <a:pt x="139" y="0"/>
                  </a:lnTo>
                  <a:lnTo>
                    <a:pt x="139" y="1174"/>
                  </a:lnTo>
                  <a:lnTo>
                    <a:pt x="0" y="1174"/>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4" name="Freeform 15"/>
            <p:cNvSpPr>
              <a:spLocks/>
            </p:cNvSpPr>
            <p:nvPr/>
          </p:nvSpPr>
          <p:spPr bwMode="auto">
            <a:xfrm>
              <a:off x="15319375" y="731837"/>
              <a:ext cx="222250" cy="1158876"/>
            </a:xfrm>
            <a:custGeom>
              <a:avLst/>
              <a:gdLst>
                <a:gd name="T0" fmla="*/ 0 w 140"/>
                <a:gd name="T1" fmla="*/ 0 h 730"/>
                <a:gd name="T2" fmla="*/ 140 w 140"/>
                <a:gd name="T3" fmla="*/ 0 h 730"/>
                <a:gd name="T4" fmla="*/ 140 w 140"/>
                <a:gd name="T5" fmla="*/ 730 h 730"/>
                <a:gd name="T6" fmla="*/ 0 w 140"/>
                <a:gd name="T7" fmla="*/ 730 h 730"/>
                <a:gd name="T8" fmla="*/ 0 w 140"/>
                <a:gd name="T9" fmla="*/ 0 h 730"/>
                <a:gd name="T10" fmla="*/ 0 w 140"/>
                <a:gd name="T11" fmla="*/ 0 h 730"/>
              </a:gdLst>
              <a:ahLst/>
              <a:cxnLst>
                <a:cxn ang="0">
                  <a:pos x="T0" y="T1"/>
                </a:cxn>
                <a:cxn ang="0">
                  <a:pos x="T2" y="T3"/>
                </a:cxn>
                <a:cxn ang="0">
                  <a:pos x="T4" y="T5"/>
                </a:cxn>
                <a:cxn ang="0">
                  <a:pos x="T6" y="T7"/>
                </a:cxn>
                <a:cxn ang="0">
                  <a:pos x="T8" y="T9"/>
                </a:cxn>
                <a:cxn ang="0">
                  <a:pos x="T10" y="T11"/>
                </a:cxn>
              </a:cxnLst>
              <a:rect l="0" t="0" r="r" b="b"/>
              <a:pathLst>
                <a:path w="140" h="730">
                  <a:moveTo>
                    <a:pt x="0" y="0"/>
                  </a:moveTo>
                  <a:lnTo>
                    <a:pt x="140" y="0"/>
                  </a:lnTo>
                  <a:lnTo>
                    <a:pt x="140" y="730"/>
                  </a:lnTo>
                  <a:lnTo>
                    <a:pt x="0" y="73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5" name="Freeform 16"/>
            <p:cNvSpPr>
              <a:spLocks/>
            </p:cNvSpPr>
            <p:nvPr/>
          </p:nvSpPr>
          <p:spPr bwMode="auto">
            <a:xfrm>
              <a:off x="17048163" y="1452563"/>
              <a:ext cx="917575" cy="142875"/>
            </a:xfrm>
            <a:custGeom>
              <a:avLst/>
              <a:gdLst>
                <a:gd name="T0" fmla="*/ 0 w 578"/>
                <a:gd name="T1" fmla="*/ 0 h 90"/>
                <a:gd name="T2" fmla="*/ 578 w 578"/>
                <a:gd name="T3" fmla="*/ 0 h 90"/>
                <a:gd name="T4" fmla="*/ 578 w 578"/>
                <a:gd name="T5" fmla="*/ 90 h 90"/>
                <a:gd name="T6" fmla="*/ 0 w 578"/>
                <a:gd name="T7" fmla="*/ 90 h 90"/>
                <a:gd name="T8" fmla="*/ 0 w 578"/>
                <a:gd name="T9" fmla="*/ 0 h 90"/>
                <a:gd name="T10" fmla="*/ 0 w 578"/>
                <a:gd name="T11" fmla="*/ 0 h 90"/>
              </a:gdLst>
              <a:ahLst/>
              <a:cxnLst>
                <a:cxn ang="0">
                  <a:pos x="T0" y="T1"/>
                </a:cxn>
                <a:cxn ang="0">
                  <a:pos x="T2" y="T3"/>
                </a:cxn>
                <a:cxn ang="0">
                  <a:pos x="T4" y="T5"/>
                </a:cxn>
                <a:cxn ang="0">
                  <a:pos x="T6" y="T7"/>
                </a:cxn>
                <a:cxn ang="0">
                  <a:pos x="T8" y="T9"/>
                </a:cxn>
                <a:cxn ang="0">
                  <a:pos x="T10" y="T11"/>
                </a:cxn>
              </a:cxnLst>
              <a:rect l="0" t="0" r="r" b="b"/>
              <a:pathLst>
                <a:path w="578" h="90">
                  <a:moveTo>
                    <a:pt x="0" y="0"/>
                  </a:moveTo>
                  <a:lnTo>
                    <a:pt x="578" y="0"/>
                  </a:lnTo>
                  <a:lnTo>
                    <a:pt x="578"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6" name="Freeform 17"/>
            <p:cNvSpPr>
              <a:spLocks/>
            </p:cNvSpPr>
            <p:nvPr/>
          </p:nvSpPr>
          <p:spPr bwMode="auto">
            <a:xfrm>
              <a:off x="16754475" y="1452563"/>
              <a:ext cx="146050" cy="142875"/>
            </a:xfrm>
            <a:custGeom>
              <a:avLst/>
              <a:gdLst>
                <a:gd name="T0" fmla="*/ 0 w 92"/>
                <a:gd name="T1" fmla="*/ 0 h 90"/>
                <a:gd name="T2" fmla="*/ 92 w 92"/>
                <a:gd name="T3" fmla="*/ 0 h 90"/>
                <a:gd name="T4" fmla="*/ 92 w 92"/>
                <a:gd name="T5" fmla="*/ 90 h 90"/>
                <a:gd name="T6" fmla="*/ 0 w 92"/>
                <a:gd name="T7" fmla="*/ 90 h 90"/>
                <a:gd name="T8" fmla="*/ 0 w 92"/>
                <a:gd name="T9" fmla="*/ 0 h 90"/>
                <a:gd name="T10" fmla="*/ 0 w 92"/>
                <a:gd name="T11" fmla="*/ 0 h 90"/>
              </a:gdLst>
              <a:ahLst/>
              <a:cxnLst>
                <a:cxn ang="0">
                  <a:pos x="T0" y="T1"/>
                </a:cxn>
                <a:cxn ang="0">
                  <a:pos x="T2" y="T3"/>
                </a:cxn>
                <a:cxn ang="0">
                  <a:pos x="T4" y="T5"/>
                </a:cxn>
                <a:cxn ang="0">
                  <a:pos x="T6" y="T7"/>
                </a:cxn>
                <a:cxn ang="0">
                  <a:pos x="T8" y="T9"/>
                </a:cxn>
                <a:cxn ang="0">
                  <a:pos x="T10" y="T11"/>
                </a:cxn>
              </a:cxnLst>
              <a:rect l="0" t="0" r="r" b="b"/>
              <a:pathLst>
                <a:path w="92" h="90">
                  <a:moveTo>
                    <a:pt x="0" y="0"/>
                  </a:moveTo>
                  <a:lnTo>
                    <a:pt x="92" y="0"/>
                  </a:lnTo>
                  <a:lnTo>
                    <a:pt x="92" y="90"/>
                  </a:lnTo>
                  <a:lnTo>
                    <a:pt x="0" y="90"/>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7" name="Freeform 18"/>
            <p:cNvSpPr>
              <a:spLocks/>
            </p:cNvSpPr>
            <p:nvPr/>
          </p:nvSpPr>
          <p:spPr bwMode="auto">
            <a:xfrm>
              <a:off x="17048163" y="1751013"/>
              <a:ext cx="992188" cy="139700"/>
            </a:xfrm>
            <a:custGeom>
              <a:avLst/>
              <a:gdLst>
                <a:gd name="T0" fmla="*/ 0 w 625"/>
                <a:gd name="T1" fmla="*/ 0 h 88"/>
                <a:gd name="T2" fmla="*/ 625 w 625"/>
                <a:gd name="T3" fmla="*/ 0 h 88"/>
                <a:gd name="T4" fmla="*/ 625 w 625"/>
                <a:gd name="T5" fmla="*/ 88 h 88"/>
                <a:gd name="T6" fmla="*/ 0 w 625"/>
                <a:gd name="T7" fmla="*/ 88 h 88"/>
                <a:gd name="T8" fmla="*/ 0 w 625"/>
                <a:gd name="T9" fmla="*/ 0 h 88"/>
                <a:gd name="T10" fmla="*/ 0 w 625"/>
                <a:gd name="T11" fmla="*/ 0 h 88"/>
              </a:gdLst>
              <a:ahLst/>
              <a:cxnLst>
                <a:cxn ang="0">
                  <a:pos x="T0" y="T1"/>
                </a:cxn>
                <a:cxn ang="0">
                  <a:pos x="T2" y="T3"/>
                </a:cxn>
                <a:cxn ang="0">
                  <a:pos x="T4" y="T5"/>
                </a:cxn>
                <a:cxn ang="0">
                  <a:pos x="T6" y="T7"/>
                </a:cxn>
                <a:cxn ang="0">
                  <a:pos x="T8" y="T9"/>
                </a:cxn>
                <a:cxn ang="0">
                  <a:pos x="T10" y="T11"/>
                </a:cxn>
              </a:cxnLst>
              <a:rect l="0" t="0" r="r" b="b"/>
              <a:pathLst>
                <a:path w="625" h="88">
                  <a:moveTo>
                    <a:pt x="0" y="0"/>
                  </a:moveTo>
                  <a:lnTo>
                    <a:pt x="625" y="0"/>
                  </a:lnTo>
                  <a:lnTo>
                    <a:pt x="625"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8" name="Freeform 19"/>
            <p:cNvSpPr>
              <a:spLocks/>
            </p:cNvSpPr>
            <p:nvPr/>
          </p:nvSpPr>
          <p:spPr bwMode="auto">
            <a:xfrm>
              <a:off x="16754475" y="1751013"/>
              <a:ext cx="146050" cy="139700"/>
            </a:xfrm>
            <a:custGeom>
              <a:avLst/>
              <a:gdLst>
                <a:gd name="T0" fmla="*/ 0 w 92"/>
                <a:gd name="T1" fmla="*/ 0 h 88"/>
                <a:gd name="T2" fmla="*/ 92 w 92"/>
                <a:gd name="T3" fmla="*/ 0 h 88"/>
                <a:gd name="T4" fmla="*/ 92 w 92"/>
                <a:gd name="T5" fmla="*/ 88 h 88"/>
                <a:gd name="T6" fmla="*/ 0 w 92"/>
                <a:gd name="T7" fmla="*/ 88 h 88"/>
                <a:gd name="T8" fmla="*/ 0 w 92"/>
                <a:gd name="T9" fmla="*/ 0 h 88"/>
                <a:gd name="T10" fmla="*/ 0 w 92"/>
                <a:gd name="T11" fmla="*/ 0 h 88"/>
              </a:gdLst>
              <a:ahLst/>
              <a:cxnLst>
                <a:cxn ang="0">
                  <a:pos x="T0" y="T1"/>
                </a:cxn>
                <a:cxn ang="0">
                  <a:pos x="T2" y="T3"/>
                </a:cxn>
                <a:cxn ang="0">
                  <a:pos x="T4" y="T5"/>
                </a:cxn>
                <a:cxn ang="0">
                  <a:pos x="T6" y="T7"/>
                </a:cxn>
                <a:cxn ang="0">
                  <a:pos x="T8" y="T9"/>
                </a:cxn>
                <a:cxn ang="0">
                  <a:pos x="T10" y="T11"/>
                </a:cxn>
              </a:cxnLst>
              <a:rect l="0" t="0" r="r" b="b"/>
              <a:pathLst>
                <a:path w="92" h="88">
                  <a:moveTo>
                    <a:pt x="0" y="0"/>
                  </a:moveTo>
                  <a:lnTo>
                    <a:pt x="92" y="0"/>
                  </a:lnTo>
                  <a:lnTo>
                    <a:pt x="92" y="88"/>
                  </a:lnTo>
                  <a:lnTo>
                    <a:pt x="0" y="88"/>
                  </a:lnTo>
                  <a:lnTo>
                    <a:pt x="0" y="0"/>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19" name="Freeform 20"/>
            <p:cNvSpPr>
              <a:spLocks/>
            </p:cNvSpPr>
            <p:nvPr/>
          </p:nvSpPr>
          <p:spPr bwMode="auto">
            <a:xfrm>
              <a:off x="16425863" y="-6350"/>
              <a:ext cx="1265238" cy="1266826"/>
            </a:xfrm>
            <a:custGeom>
              <a:avLst/>
              <a:gdLst>
                <a:gd name="T0" fmla="*/ 168 w 336"/>
                <a:gd name="T1" fmla="*/ 0 h 336"/>
                <a:gd name="T2" fmla="*/ 0 w 336"/>
                <a:gd name="T3" fmla="*/ 168 h 336"/>
                <a:gd name="T4" fmla="*/ 168 w 336"/>
                <a:gd name="T5" fmla="*/ 336 h 336"/>
                <a:gd name="T6" fmla="*/ 336 w 336"/>
                <a:gd name="T7" fmla="*/ 168 h 336"/>
                <a:gd name="T8" fmla="*/ 168 w 336"/>
                <a:gd name="T9" fmla="*/ 168 h 336"/>
                <a:gd name="T10" fmla="*/ 168 w 336"/>
                <a:gd name="T11" fmla="*/ 0 h 336"/>
              </a:gdLst>
              <a:ahLst/>
              <a:cxnLst>
                <a:cxn ang="0">
                  <a:pos x="T0" y="T1"/>
                </a:cxn>
                <a:cxn ang="0">
                  <a:pos x="T2" y="T3"/>
                </a:cxn>
                <a:cxn ang="0">
                  <a:pos x="T4" y="T5"/>
                </a:cxn>
                <a:cxn ang="0">
                  <a:pos x="T6" y="T7"/>
                </a:cxn>
                <a:cxn ang="0">
                  <a:pos x="T8" y="T9"/>
                </a:cxn>
                <a:cxn ang="0">
                  <a:pos x="T10" y="T11"/>
                </a:cxn>
              </a:cxnLst>
              <a:rect l="0" t="0" r="r" b="b"/>
              <a:pathLst>
                <a:path w="336" h="336">
                  <a:moveTo>
                    <a:pt x="168" y="0"/>
                  </a:moveTo>
                  <a:cubicBezTo>
                    <a:pt x="75" y="0"/>
                    <a:pt x="0" y="75"/>
                    <a:pt x="0" y="168"/>
                  </a:cubicBezTo>
                  <a:cubicBezTo>
                    <a:pt x="0" y="261"/>
                    <a:pt x="75" y="336"/>
                    <a:pt x="168" y="336"/>
                  </a:cubicBezTo>
                  <a:cubicBezTo>
                    <a:pt x="260" y="336"/>
                    <a:pt x="336" y="261"/>
                    <a:pt x="336" y="168"/>
                  </a:cubicBezTo>
                  <a:cubicBezTo>
                    <a:pt x="168" y="168"/>
                    <a:pt x="168" y="168"/>
                    <a:pt x="168" y="168"/>
                  </a:cubicBezTo>
                  <a:lnTo>
                    <a:pt x="168"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20" name="Freeform 21"/>
            <p:cNvSpPr>
              <a:spLocks/>
            </p:cNvSpPr>
            <p:nvPr/>
          </p:nvSpPr>
          <p:spPr bwMode="auto">
            <a:xfrm>
              <a:off x="17210088" y="-157163"/>
              <a:ext cx="631825" cy="633413"/>
            </a:xfrm>
            <a:custGeom>
              <a:avLst/>
              <a:gdLst>
                <a:gd name="T0" fmla="*/ 0 w 168"/>
                <a:gd name="T1" fmla="*/ 0 h 168"/>
                <a:gd name="T2" fmla="*/ 0 w 168"/>
                <a:gd name="T3" fmla="*/ 168 h 168"/>
                <a:gd name="T4" fmla="*/ 168 w 168"/>
                <a:gd name="T5" fmla="*/ 168 h 168"/>
                <a:gd name="T6" fmla="*/ 0 w 168"/>
                <a:gd name="T7" fmla="*/ 0 h 168"/>
              </a:gdLst>
              <a:ahLst/>
              <a:cxnLst>
                <a:cxn ang="0">
                  <a:pos x="T0" y="T1"/>
                </a:cxn>
                <a:cxn ang="0">
                  <a:pos x="T2" y="T3"/>
                </a:cxn>
                <a:cxn ang="0">
                  <a:pos x="T4" y="T5"/>
                </a:cxn>
                <a:cxn ang="0">
                  <a:pos x="T6" y="T7"/>
                </a:cxn>
              </a:cxnLst>
              <a:rect l="0" t="0" r="r" b="b"/>
              <a:pathLst>
                <a:path w="168" h="168">
                  <a:moveTo>
                    <a:pt x="0" y="0"/>
                  </a:moveTo>
                  <a:cubicBezTo>
                    <a:pt x="0" y="168"/>
                    <a:pt x="0" y="168"/>
                    <a:pt x="0" y="168"/>
                  </a:cubicBezTo>
                  <a:cubicBezTo>
                    <a:pt x="168" y="168"/>
                    <a:pt x="168" y="168"/>
                    <a:pt x="168" y="168"/>
                  </a:cubicBezTo>
                  <a:cubicBezTo>
                    <a:pt x="168" y="75"/>
                    <a:pt x="92" y="0"/>
                    <a:pt x="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sp>
        <p:nvSpPr>
          <p:cNvPr id="121" name="Rectangle 120"/>
          <p:cNvSpPr/>
          <p:nvPr/>
        </p:nvSpPr>
        <p:spPr>
          <a:xfrm>
            <a:off x="275630" y="2084364"/>
            <a:ext cx="2644453" cy="2689274"/>
          </a:xfrm>
          <a:prstGeom prst="rect">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lIns="179285" tIns="89642" rtlCol="0" anchor="t"/>
          <a:lstStyle/>
          <a:p>
            <a:r>
              <a:rPr lang="en-US" sz="2941" dirty="0">
                <a:solidFill>
                  <a:prstClr val="white"/>
                </a:solidFill>
                <a:latin typeface="Segoe UI Light"/>
              </a:rPr>
              <a:t>Things</a:t>
            </a:r>
          </a:p>
        </p:txBody>
      </p:sp>
      <p:grpSp>
        <p:nvGrpSpPr>
          <p:cNvPr id="122" name="Group 121"/>
          <p:cNvGrpSpPr/>
          <p:nvPr/>
        </p:nvGrpSpPr>
        <p:grpSpPr>
          <a:xfrm>
            <a:off x="1516176" y="3614944"/>
            <a:ext cx="1180812" cy="952102"/>
            <a:chOff x="1640724" y="3762844"/>
            <a:chExt cx="1110344" cy="895283"/>
          </a:xfrm>
        </p:grpSpPr>
        <p:grpSp>
          <p:nvGrpSpPr>
            <p:cNvPr id="123" name="Group 122"/>
            <p:cNvGrpSpPr/>
            <p:nvPr/>
          </p:nvGrpSpPr>
          <p:grpSpPr>
            <a:xfrm flipH="1">
              <a:off x="2101550" y="3865418"/>
              <a:ext cx="649518" cy="279906"/>
              <a:chOff x="18524538" y="-23752175"/>
              <a:chExt cx="41830625" cy="18087975"/>
            </a:xfrm>
            <a:solidFill>
              <a:schemeClr val="bg1"/>
            </a:solidFill>
          </p:grpSpPr>
          <p:sp>
            <p:nvSpPr>
              <p:cNvPr id="141" name="Freeform 34"/>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42" name="Freeform 35"/>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sp>
            <p:nvSpPr>
              <p:cNvPr id="143" name="Freeform 36"/>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2941">
                  <a:solidFill>
                    <a:prstClr val="black"/>
                  </a:solidFill>
                </a:endParaRPr>
              </a:p>
            </p:txBody>
          </p:sp>
        </p:grpSp>
        <p:grpSp>
          <p:nvGrpSpPr>
            <p:cNvPr id="124" name="Group 123"/>
            <p:cNvGrpSpPr/>
            <p:nvPr/>
          </p:nvGrpSpPr>
          <p:grpSpPr>
            <a:xfrm flipH="1">
              <a:off x="2200373" y="4223497"/>
              <a:ext cx="522120" cy="432207"/>
              <a:chOff x="16659225" y="-4403725"/>
              <a:chExt cx="3724275" cy="3082925"/>
            </a:xfrm>
            <a:solidFill>
              <a:schemeClr val="bg1"/>
            </a:solidFill>
          </p:grpSpPr>
          <p:sp>
            <p:nvSpPr>
              <p:cNvPr id="139"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40"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125" name="Group 124"/>
            <p:cNvGrpSpPr/>
            <p:nvPr/>
          </p:nvGrpSpPr>
          <p:grpSpPr>
            <a:xfrm>
              <a:off x="1737360" y="3762844"/>
              <a:ext cx="255760" cy="423605"/>
              <a:chOff x="2981515" y="4282797"/>
              <a:chExt cx="371475" cy="615261"/>
            </a:xfrm>
          </p:grpSpPr>
          <p:sp>
            <p:nvSpPr>
              <p:cNvPr id="136"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7" name="Rectangle 14"/>
              <p:cNvSpPr>
                <a:spLocks noChangeArrowheads="1"/>
              </p:cNvSpPr>
              <p:nvPr/>
            </p:nvSpPr>
            <p:spPr bwMode="auto">
              <a:xfrm>
                <a:off x="3311364" y="4329341"/>
                <a:ext cx="41626" cy="119785"/>
              </a:xfrm>
              <a:prstGeom prst="rect">
                <a:avLst/>
              </a:prstGeom>
              <a:solidFill>
                <a:schemeClr val="bg1"/>
              </a:solid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8"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nvGrpSpPr>
            <p:cNvPr id="126" name="Group 125"/>
            <p:cNvGrpSpPr/>
            <p:nvPr/>
          </p:nvGrpSpPr>
          <p:grpSpPr>
            <a:xfrm>
              <a:off x="1640724" y="4275400"/>
              <a:ext cx="481642" cy="382727"/>
              <a:chOff x="-3435350" y="5073650"/>
              <a:chExt cx="3192462" cy="2536826"/>
            </a:xfrm>
            <a:solidFill>
              <a:schemeClr val="bg1"/>
            </a:solidFill>
          </p:grpSpPr>
          <p:sp>
            <p:nvSpPr>
              <p:cNvPr id="127"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28"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29"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0"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1"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2"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3"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4"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sp>
            <p:nvSpPr>
              <p:cNvPr id="135"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solidFill>
                    <a:prstClr val="black"/>
                  </a:solidFill>
                </a:endParaRPr>
              </a:p>
            </p:txBody>
          </p:sp>
        </p:grpSp>
      </p:grpSp>
    </p:spTree>
    <p:extLst>
      <p:ext uri="{BB962C8B-B14F-4D97-AF65-F5344CB8AC3E}">
        <p14:creationId xmlns:p14="http://schemas.microsoft.com/office/powerpoint/2010/main" val="406623008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grpId="0" nodeType="withEffect">
                                  <p:stCondLst>
                                    <p:cond delay="0"/>
                                  </p:stCondLst>
                                  <p:childTnLst>
                                    <p:set>
                                      <p:cBhvr>
                                        <p:cTn id="6" dur="1" fill="hold">
                                          <p:stCondLst>
                                            <p:cond delay="0"/>
                                          </p:stCondLst>
                                        </p:cTn>
                                        <p:tgtEl>
                                          <p:spTgt spid="121"/>
                                        </p:tgtEl>
                                        <p:attrNameLst>
                                          <p:attrName>style.visibility</p:attrName>
                                        </p:attrNameLst>
                                      </p:cBhvr>
                                      <p:to>
                                        <p:strVal val="visible"/>
                                      </p:to>
                                    </p:set>
                                    <p:anim calcmode="lin" valueType="num">
                                      <p:cBhvr additive="base">
                                        <p:cTn id="7" dur="500" fill="hold"/>
                                        <p:tgtEl>
                                          <p:spTgt spid="121"/>
                                        </p:tgtEl>
                                        <p:attrNameLst>
                                          <p:attrName>ppt_x</p:attrName>
                                        </p:attrNameLst>
                                      </p:cBhvr>
                                      <p:tavLst>
                                        <p:tav tm="0">
                                          <p:val>
                                            <p:strVal val="1+#ppt_w/2"/>
                                          </p:val>
                                        </p:tav>
                                        <p:tav tm="100000">
                                          <p:val>
                                            <p:strVal val="#ppt_x"/>
                                          </p:val>
                                        </p:tav>
                                      </p:tavLst>
                                    </p:anim>
                                    <p:anim calcmode="lin" valueType="num">
                                      <p:cBhvr additive="base">
                                        <p:cTn id="8" dur="500" fill="hold"/>
                                        <p:tgtEl>
                                          <p:spTgt spid="121"/>
                                        </p:tgtEl>
                                        <p:attrNameLst>
                                          <p:attrName>ppt_y</p:attrName>
                                        </p:attrNameLst>
                                      </p:cBhvr>
                                      <p:tavLst>
                                        <p:tav tm="0">
                                          <p:val>
                                            <p:strVal val="#ppt_y"/>
                                          </p:val>
                                        </p:tav>
                                        <p:tav tm="100000">
                                          <p:val>
                                            <p:strVal val="#ppt_y"/>
                                          </p:val>
                                        </p:tav>
                                      </p:tavLst>
                                    </p:anim>
                                  </p:childTnLst>
                                </p:cTn>
                              </p:par>
                              <p:par>
                                <p:cTn id="9" presetID="18" presetClass="entr" presetSubtype="12" fill="hold" nodeType="withEffect">
                                  <p:stCondLst>
                                    <p:cond delay="500"/>
                                  </p:stCondLst>
                                  <p:childTnLst>
                                    <p:set>
                                      <p:cBhvr>
                                        <p:cTn id="10" dur="1" fill="hold">
                                          <p:stCondLst>
                                            <p:cond delay="0"/>
                                          </p:stCondLst>
                                        </p:cTn>
                                        <p:tgtEl>
                                          <p:spTgt spid="122"/>
                                        </p:tgtEl>
                                        <p:attrNameLst>
                                          <p:attrName>style.visibility</p:attrName>
                                        </p:attrNameLst>
                                      </p:cBhvr>
                                      <p:to>
                                        <p:strVal val="visible"/>
                                      </p:to>
                                    </p:set>
                                    <p:animEffect transition="in" filter="strips(downLeft)">
                                      <p:cBhvr>
                                        <p:cTn id="11" dur="500"/>
                                        <p:tgtEl>
                                          <p:spTgt spid="122"/>
                                        </p:tgtEl>
                                      </p:cBhvr>
                                    </p:animEffect>
                                  </p:childTnLst>
                                </p:cTn>
                              </p:par>
                              <p:par>
                                <p:cTn id="12" presetID="2" presetClass="entr" presetSubtype="2" decel="100000" fill="hold" grpId="0" nodeType="withEffect">
                                  <p:stCondLst>
                                    <p:cond delay="250"/>
                                  </p:stCondLst>
                                  <p:childTnLst>
                                    <p:set>
                                      <p:cBhvr>
                                        <p:cTn id="13" dur="1" fill="hold">
                                          <p:stCondLst>
                                            <p:cond delay="0"/>
                                          </p:stCondLst>
                                        </p:cTn>
                                        <p:tgtEl>
                                          <p:spTgt spid="60"/>
                                        </p:tgtEl>
                                        <p:attrNameLst>
                                          <p:attrName>style.visibility</p:attrName>
                                        </p:attrNameLst>
                                      </p:cBhvr>
                                      <p:to>
                                        <p:strVal val="visible"/>
                                      </p:to>
                                    </p:set>
                                    <p:anim calcmode="lin" valueType="num">
                                      <p:cBhvr additive="base">
                                        <p:cTn id="14" dur="500" fill="hold"/>
                                        <p:tgtEl>
                                          <p:spTgt spid="60"/>
                                        </p:tgtEl>
                                        <p:attrNameLst>
                                          <p:attrName>ppt_x</p:attrName>
                                        </p:attrNameLst>
                                      </p:cBhvr>
                                      <p:tavLst>
                                        <p:tav tm="0">
                                          <p:val>
                                            <p:strVal val="1+#ppt_w/2"/>
                                          </p:val>
                                        </p:tav>
                                        <p:tav tm="100000">
                                          <p:val>
                                            <p:strVal val="#ppt_x"/>
                                          </p:val>
                                        </p:tav>
                                      </p:tavLst>
                                    </p:anim>
                                    <p:anim calcmode="lin" valueType="num">
                                      <p:cBhvr additive="base">
                                        <p:cTn id="15" dur="500" fill="hold"/>
                                        <p:tgtEl>
                                          <p:spTgt spid="60"/>
                                        </p:tgtEl>
                                        <p:attrNameLst>
                                          <p:attrName>ppt_y</p:attrName>
                                        </p:attrNameLst>
                                      </p:cBhvr>
                                      <p:tavLst>
                                        <p:tav tm="0">
                                          <p:val>
                                            <p:strVal val="#ppt_y"/>
                                          </p:val>
                                        </p:tav>
                                        <p:tav tm="100000">
                                          <p:val>
                                            <p:strVal val="#ppt_y"/>
                                          </p:val>
                                        </p:tav>
                                      </p:tavLst>
                                    </p:anim>
                                  </p:childTnLst>
                                </p:cTn>
                              </p:par>
                              <p:par>
                                <p:cTn id="16" presetID="18" presetClass="entr" presetSubtype="12" fill="hold" nodeType="withEffect">
                                  <p:stCondLst>
                                    <p:cond delay="750"/>
                                  </p:stCondLst>
                                  <p:childTnLst>
                                    <p:set>
                                      <p:cBhvr>
                                        <p:cTn id="17" dur="1" fill="hold">
                                          <p:stCondLst>
                                            <p:cond delay="0"/>
                                          </p:stCondLst>
                                        </p:cTn>
                                        <p:tgtEl>
                                          <p:spTgt spid="87"/>
                                        </p:tgtEl>
                                        <p:attrNameLst>
                                          <p:attrName>style.visibility</p:attrName>
                                        </p:attrNameLst>
                                      </p:cBhvr>
                                      <p:to>
                                        <p:strVal val="visible"/>
                                      </p:to>
                                    </p:set>
                                    <p:animEffect transition="in" filter="strips(downLeft)">
                                      <p:cBhvr>
                                        <p:cTn id="18" dur="500"/>
                                        <p:tgtEl>
                                          <p:spTgt spid="87"/>
                                        </p:tgtEl>
                                      </p:cBhvr>
                                    </p:animEffect>
                                  </p:childTnLst>
                                </p:cTn>
                              </p:par>
                              <p:par>
                                <p:cTn id="19" presetID="2" presetClass="entr" presetSubtype="2" decel="100000" fill="hold" grpId="0" nodeType="withEffect">
                                  <p:stCondLst>
                                    <p:cond delay="500"/>
                                  </p:stCondLst>
                                  <p:childTnLst>
                                    <p:set>
                                      <p:cBhvr>
                                        <p:cTn id="20" dur="1" fill="hold">
                                          <p:stCondLst>
                                            <p:cond delay="0"/>
                                          </p:stCondLst>
                                        </p:cTn>
                                        <p:tgtEl>
                                          <p:spTgt spid="92"/>
                                        </p:tgtEl>
                                        <p:attrNameLst>
                                          <p:attrName>style.visibility</p:attrName>
                                        </p:attrNameLst>
                                      </p:cBhvr>
                                      <p:to>
                                        <p:strVal val="visible"/>
                                      </p:to>
                                    </p:set>
                                    <p:anim calcmode="lin" valueType="num">
                                      <p:cBhvr additive="base">
                                        <p:cTn id="21" dur="500" fill="hold"/>
                                        <p:tgtEl>
                                          <p:spTgt spid="92"/>
                                        </p:tgtEl>
                                        <p:attrNameLst>
                                          <p:attrName>ppt_x</p:attrName>
                                        </p:attrNameLst>
                                      </p:cBhvr>
                                      <p:tavLst>
                                        <p:tav tm="0">
                                          <p:val>
                                            <p:strVal val="1+#ppt_w/2"/>
                                          </p:val>
                                        </p:tav>
                                        <p:tav tm="100000">
                                          <p:val>
                                            <p:strVal val="#ppt_x"/>
                                          </p:val>
                                        </p:tav>
                                      </p:tavLst>
                                    </p:anim>
                                    <p:anim calcmode="lin" valueType="num">
                                      <p:cBhvr additive="base">
                                        <p:cTn id="22" dur="500" fill="hold"/>
                                        <p:tgtEl>
                                          <p:spTgt spid="92"/>
                                        </p:tgtEl>
                                        <p:attrNameLst>
                                          <p:attrName>ppt_y</p:attrName>
                                        </p:attrNameLst>
                                      </p:cBhvr>
                                      <p:tavLst>
                                        <p:tav tm="0">
                                          <p:val>
                                            <p:strVal val="#ppt_y"/>
                                          </p:val>
                                        </p:tav>
                                        <p:tav tm="100000">
                                          <p:val>
                                            <p:strVal val="#ppt_y"/>
                                          </p:val>
                                        </p:tav>
                                      </p:tavLst>
                                    </p:anim>
                                  </p:childTnLst>
                                </p:cTn>
                              </p:par>
                              <p:par>
                                <p:cTn id="23" presetID="18" presetClass="entr" presetSubtype="12" fill="hold" nodeType="withEffect">
                                  <p:stCondLst>
                                    <p:cond delay="1000"/>
                                  </p:stCondLst>
                                  <p:childTnLst>
                                    <p:set>
                                      <p:cBhvr>
                                        <p:cTn id="24" dur="1" fill="hold">
                                          <p:stCondLst>
                                            <p:cond delay="0"/>
                                          </p:stCondLst>
                                        </p:cTn>
                                        <p:tgtEl>
                                          <p:spTgt spid="93"/>
                                        </p:tgtEl>
                                        <p:attrNameLst>
                                          <p:attrName>style.visibility</p:attrName>
                                        </p:attrNameLst>
                                      </p:cBhvr>
                                      <p:to>
                                        <p:strVal val="visible"/>
                                      </p:to>
                                    </p:set>
                                    <p:animEffect transition="in" filter="strips(downLeft)">
                                      <p:cBhvr>
                                        <p:cTn id="25" dur="500"/>
                                        <p:tgtEl>
                                          <p:spTgt spid="93"/>
                                        </p:tgtEl>
                                      </p:cBhvr>
                                    </p:animEffect>
                                  </p:childTnLst>
                                </p:cTn>
                              </p:par>
                              <p:par>
                                <p:cTn id="26" presetID="2" presetClass="entr" presetSubtype="2" decel="100000" fill="hold" grpId="0" nodeType="withEffect">
                                  <p:stCondLst>
                                    <p:cond delay="750"/>
                                  </p:stCondLst>
                                  <p:childTnLst>
                                    <p:set>
                                      <p:cBhvr>
                                        <p:cTn id="27" dur="1" fill="hold">
                                          <p:stCondLst>
                                            <p:cond delay="0"/>
                                          </p:stCondLst>
                                        </p:cTn>
                                        <p:tgtEl>
                                          <p:spTgt spid="109"/>
                                        </p:tgtEl>
                                        <p:attrNameLst>
                                          <p:attrName>style.visibility</p:attrName>
                                        </p:attrNameLst>
                                      </p:cBhvr>
                                      <p:to>
                                        <p:strVal val="visible"/>
                                      </p:to>
                                    </p:set>
                                    <p:anim calcmode="lin" valueType="num">
                                      <p:cBhvr additive="base">
                                        <p:cTn id="28" dur="500" fill="hold"/>
                                        <p:tgtEl>
                                          <p:spTgt spid="109"/>
                                        </p:tgtEl>
                                        <p:attrNameLst>
                                          <p:attrName>ppt_x</p:attrName>
                                        </p:attrNameLst>
                                      </p:cBhvr>
                                      <p:tavLst>
                                        <p:tav tm="0">
                                          <p:val>
                                            <p:strVal val="1+#ppt_w/2"/>
                                          </p:val>
                                        </p:tav>
                                        <p:tav tm="100000">
                                          <p:val>
                                            <p:strVal val="#ppt_x"/>
                                          </p:val>
                                        </p:tav>
                                      </p:tavLst>
                                    </p:anim>
                                    <p:anim calcmode="lin" valueType="num">
                                      <p:cBhvr additive="base">
                                        <p:cTn id="29" dur="500" fill="hold"/>
                                        <p:tgtEl>
                                          <p:spTgt spid="109"/>
                                        </p:tgtEl>
                                        <p:attrNameLst>
                                          <p:attrName>ppt_y</p:attrName>
                                        </p:attrNameLst>
                                      </p:cBhvr>
                                      <p:tavLst>
                                        <p:tav tm="0">
                                          <p:val>
                                            <p:strVal val="#ppt_y"/>
                                          </p:val>
                                        </p:tav>
                                        <p:tav tm="100000">
                                          <p:val>
                                            <p:strVal val="#ppt_y"/>
                                          </p:val>
                                        </p:tav>
                                      </p:tavLst>
                                    </p:anim>
                                  </p:childTnLst>
                                </p:cTn>
                              </p:par>
                              <p:par>
                                <p:cTn id="30" presetID="18" presetClass="entr" presetSubtype="12" fill="hold" nodeType="withEffect">
                                  <p:stCondLst>
                                    <p:cond delay="1250"/>
                                  </p:stCondLst>
                                  <p:childTnLst>
                                    <p:set>
                                      <p:cBhvr>
                                        <p:cTn id="31" dur="1" fill="hold">
                                          <p:stCondLst>
                                            <p:cond delay="0"/>
                                          </p:stCondLst>
                                        </p:cTn>
                                        <p:tgtEl>
                                          <p:spTgt spid="110"/>
                                        </p:tgtEl>
                                        <p:attrNameLst>
                                          <p:attrName>style.visibility</p:attrName>
                                        </p:attrNameLst>
                                      </p:cBhvr>
                                      <p:to>
                                        <p:strVal val="visible"/>
                                      </p:to>
                                    </p:set>
                                    <p:animEffect transition="in" filter="strips(downLeft)">
                                      <p:cBhvr>
                                        <p:cTn id="32" dur="500"/>
                                        <p:tgtEl>
                                          <p:spTgt spid="1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92" grpId="0" animBg="1"/>
      <p:bldP spid="109" grpId="0" animBg="1"/>
      <p:bldP spid="121"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p:cNvSpPr/>
          <p:nvPr/>
        </p:nvSpPr>
        <p:spPr>
          <a:xfrm>
            <a:off x="533399" y="1600200"/>
            <a:ext cx="10492564" cy="500453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91440" rtlCol="0" anchor="t" anchorCtr="0"/>
          <a:lstStyle/>
          <a:p>
            <a:r>
              <a:rPr lang="en-US" sz="1400" b="1" dirty="0">
                <a:latin typeface="Segoe UI Semibold" panose="020B0702040204020203" pitchFamily="34" charset="0"/>
                <a:cs typeface="Segoe UI Light" panose="020B0502040204020203" pitchFamily="34" charset="0"/>
              </a:rPr>
              <a:t>IoT Applications … to build a Proof of Concept… that scale to full production … </a:t>
            </a:r>
            <a:r>
              <a:rPr lang="en-US" sz="1400" b="1" dirty="0">
                <a:latin typeface="Segoe UI" panose="020B0502040204020203" pitchFamily="34" charset="0"/>
                <a:ea typeface="Segoe UI" panose="020B0502040204020203" pitchFamily="34" charset="0"/>
                <a:cs typeface="Segoe UI" panose="020B0502040204020203" pitchFamily="34" charset="0"/>
              </a:rPr>
              <a:t>on any asset </a:t>
            </a:r>
          </a:p>
          <a:p>
            <a:endParaRPr lang="en-US" sz="1400" dirty="0">
              <a:ea typeface="Segoe UI" panose="020B0502040204020203" pitchFamily="34" charset="0"/>
              <a:cs typeface="Segoe UI" panose="020B0502040204020203" pitchFamily="34" charset="0"/>
            </a:endParaRPr>
          </a:p>
          <a:p>
            <a:endParaRPr lang="en-US" sz="1400" b="1" dirty="0">
              <a:latin typeface="Segoe UI Semibold" panose="020B0702040204020203" pitchFamily="34" charset="0"/>
              <a:cs typeface="Segoe UI Light" panose="020B0502040204020203" pitchFamily="34" charset="0"/>
            </a:endParaRPr>
          </a:p>
        </p:txBody>
      </p:sp>
      <p:sp>
        <p:nvSpPr>
          <p:cNvPr id="107" name="Oval 211"/>
          <p:cNvSpPr>
            <a:spLocks noChangeAspect="1"/>
          </p:cNvSpPr>
          <p:nvPr/>
        </p:nvSpPr>
        <p:spPr bwMode="auto">
          <a:xfrm>
            <a:off x="5195755" y="3115521"/>
            <a:ext cx="3078891" cy="1948645"/>
          </a:xfrm>
          <a:custGeom>
            <a:avLst/>
            <a:gdLst/>
            <a:ahLst/>
            <a:cxnLst/>
            <a:rect l="l" t="t" r="r" b="b"/>
            <a:pathLst>
              <a:path w="821317" h="519951">
                <a:moveTo>
                  <a:pt x="487865" y="0"/>
                </a:moveTo>
                <a:cubicBezTo>
                  <a:pt x="586482" y="0"/>
                  <a:pt x="668015" y="73146"/>
                  <a:pt x="680310" y="168264"/>
                </a:cubicBezTo>
                <a:cubicBezTo>
                  <a:pt x="688732" y="164147"/>
                  <a:pt x="698047" y="162959"/>
                  <a:pt x="707640" y="162959"/>
                </a:cubicBezTo>
                <a:cubicBezTo>
                  <a:pt x="770422" y="162959"/>
                  <a:pt x="821317" y="213854"/>
                  <a:pt x="821317" y="276636"/>
                </a:cubicBezTo>
                <a:cubicBezTo>
                  <a:pt x="821317" y="339418"/>
                  <a:pt x="770422" y="390313"/>
                  <a:pt x="707640" y="390313"/>
                </a:cubicBezTo>
                <a:lnTo>
                  <a:pt x="687718" y="386291"/>
                </a:lnTo>
                <a:cubicBezTo>
                  <a:pt x="677333" y="423610"/>
                  <a:pt x="642818" y="450382"/>
                  <a:pt x="602048" y="450382"/>
                </a:cubicBezTo>
                <a:cubicBezTo>
                  <a:pt x="585821" y="450382"/>
                  <a:pt x="570585" y="446141"/>
                  <a:pt x="558074" y="437488"/>
                </a:cubicBezTo>
                <a:cubicBezTo>
                  <a:pt x="549056" y="484961"/>
                  <a:pt x="506863" y="519951"/>
                  <a:pt x="456498" y="519951"/>
                </a:cubicBezTo>
                <a:cubicBezTo>
                  <a:pt x="423154" y="519951"/>
                  <a:pt x="393392" y="504615"/>
                  <a:pt x="375084" y="479633"/>
                </a:cubicBezTo>
                <a:cubicBezTo>
                  <a:pt x="351187" y="504590"/>
                  <a:pt x="317493" y="519950"/>
                  <a:pt x="280212" y="519950"/>
                </a:cubicBezTo>
                <a:cubicBezTo>
                  <a:pt x="214092" y="519950"/>
                  <a:pt x="159256" y="471636"/>
                  <a:pt x="151600" y="407981"/>
                </a:cubicBezTo>
                <a:cubicBezTo>
                  <a:pt x="138132" y="415226"/>
                  <a:pt x="122698" y="418885"/>
                  <a:pt x="106410" y="418885"/>
                </a:cubicBezTo>
                <a:cubicBezTo>
                  <a:pt x="47641" y="418885"/>
                  <a:pt x="0" y="371244"/>
                  <a:pt x="0" y="312475"/>
                </a:cubicBezTo>
                <a:cubicBezTo>
                  <a:pt x="0" y="253706"/>
                  <a:pt x="47641" y="206065"/>
                  <a:pt x="106410" y="206065"/>
                </a:cubicBezTo>
                <a:lnTo>
                  <a:pt x="108931" y="206474"/>
                </a:lnTo>
                <a:cubicBezTo>
                  <a:pt x="105669" y="200703"/>
                  <a:pt x="105224" y="194460"/>
                  <a:pt x="105224" y="188113"/>
                </a:cubicBezTo>
                <a:cubicBezTo>
                  <a:pt x="105224" y="114758"/>
                  <a:pt x="164690" y="55292"/>
                  <a:pt x="238045" y="55292"/>
                </a:cubicBezTo>
                <a:cubicBezTo>
                  <a:pt x="272638" y="55292"/>
                  <a:pt x="304143" y="68517"/>
                  <a:pt x="327107" y="90920"/>
                </a:cubicBezTo>
                <a:cubicBezTo>
                  <a:pt x="358895" y="35416"/>
                  <a:pt x="419244" y="0"/>
                  <a:pt x="487865" y="0"/>
                </a:cubicBezTo>
                <a:close/>
              </a:path>
            </a:pathLst>
          </a:custGeom>
          <a:solidFill>
            <a:schemeClr val="accent6">
              <a:lumMod val="20000"/>
              <a:lumOff val="8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grpSp>
        <p:nvGrpSpPr>
          <p:cNvPr id="110" name="Group 109"/>
          <p:cNvGrpSpPr/>
          <p:nvPr/>
        </p:nvGrpSpPr>
        <p:grpSpPr>
          <a:xfrm>
            <a:off x="3962464" y="3359402"/>
            <a:ext cx="5673567" cy="1528790"/>
            <a:chOff x="2520522" y="3153003"/>
            <a:chExt cx="5673567" cy="1528790"/>
          </a:xfrm>
          <a:solidFill>
            <a:schemeClr val="tx2">
              <a:lumMod val="50000"/>
              <a:lumOff val="50000"/>
            </a:schemeClr>
          </a:solidFill>
        </p:grpSpPr>
        <p:sp>
          <p:nvSpPr>
            <p:cNvPr id="111" name="Freeform 62"/>
            <p:cNvSpPr>
              <a:spLocks noChangeAspect="1" noEditPoints="1"/>
            </p:cNvSpPr>
            <p:nvPr/>
          </p:nvSpPr>
          <p:spPr bwMode="auto">
            <a:xfrm>
              <a:off x="4918443" y="3461386"/>
              <a:ext cx="944424" cy="956563"/>
            </a:xfrm>
            <a:custGeom>
              <a:avLst/>
              <a:gdLst>
                <a:gd name="T0" fmla="*/ 189 w 189"/>
                <a:gd name="T1" fmla="*/ 94 h 189"/>
                <a:gd name="T2" fmla="*/ 0 w 189"/>
                <a:gd name="T3" fmla="*/ 94 h 189"/>
                <a:gd name="T4" fmla="*/ 129 w 189"/>
                <a:gd name="T5" fmla="*/ 172 h 189"/>
                <a:gd name="T6" fmla="*/ 124 w 189"/>
                <a:gd name="T7" fmla="*/ 123 h 189"/>
                <a:gd name="T8" fmla="*/ 123 w 189"/>
                <a:gd name="T9" fmla="*/ 84 h 189"/>
                <a:gd name="T10" fmla="*/ 140 w 189"/>
                <a:gd name="T11" fmla="*/ 85 h 189"/>
                <a:gd name="T12" fmla="*/ 152 w 189"/>
                <a:gd name="T13" fmla="*/ 89 h 189"/>
                <a:gd name="T14" fmla="*/ 158 w 189"/>
                <a:gd name="T15" fmla="*/ 84 h 189"/>
                <a:gd name="T16" fmla="*/ 152 w 189"/>
                <a:gd name="T17" fmla="*/ 82 h 189"/>
                <a:gd name="T18" fmla="*/ 146 w 189"/>
                <a:gd name="T19" fmla="*/ 78 h 189"/>
                <a:gd name="T20" fmla="*/ 139 w 189"/>
                <a:gd name="T21" fmla="*/ 74 h 189"/>
                <a:gd name="T22" fmla="*/ 128 w 189"/>
                <a:gd name="T23" fmla="*/ 80 h 189"/>
                <a:gd name="T24" fmla="*/ 121 w 189"/>
                <a:gd name="T25" fmla="*/ 72 h 189"/>
                <a:gd name="T26" fmla="*/ 132 w 189"/>
                <a:gd name="T27" fmla="*/ 59 h 189"/>
                <a:gd name="T28" fmla="*/ 140 w 189"/>
                <a:gd name="T29" fmla="*/ 57 h 189"/>
                <a:gd name="T30" fmla="*/ 149 w 189"/>
                <a:gd name="T31" fmla="*/ 52 h 189"/>
                <a:gd name="T32" fmla="*/ 148 w 189"/>
                <a:gd name="T33" fmla="*/ 44 h 189"/>
                <a:gd name="T34" fmla="*/ 144 w 189"/>
                <a:gd name="T35" fmla="*/ 46 h 189"/>
                <a:gd name="T36" fmla="*/ 138 w 189"/>
                <a:gd name="T37" fmla="*/ 48 h 189"/>
                <a:gd name="T38" fmla="*/ 147 w 189"/>
                <a:gd name="T39" fmla="*/ 28 h 189"/>
                <a:gd name="T40" fmla="*/ 108 w 189"/>
                <a:gd name="T41" fmla="*/ 11 h 189"/>
                <a:gd name="T42" fmla="*/ 90 w 189"/>
                <a:gd name="T43" fmla="*/ 43 h 189"/>
                <a:gd name="T44" fmla="*/ 78 w 189"/>
                <a:gd name="T45" fmla="*/ 21 h 189"/>
                <a:gd name="T46" fmla="*/ 69 w 189"/>
                <a:gd name="T47" fmla="*/ 13 h 189"/>
                <a:gd name="T48" fmla="*/ 60 w 189"/>
                <a:gd name="T49" fmla="*/ 23 h 189"/>
                <a:gd name="T50" fmla="*/ 72 w 189"/>
                <a:gd name="T51" fmla="*/ 43 h 189"/>
                <a:gd name="T52" fmla="*/ 59 w 189"/>
                <a:gd name="T53" fmla="*/ 31 h 189"/>
                <a:gd name="T54" fmla="*/ 44 w 189"/>
                <a:gd name="T55" fmla="*/ 49 h 189"/>
                <a:gd name="T56" fmla="*/ 57 w 189"/>
                <a:gd name="T57" fmla="*/ 47 h 189"/>
                <a:gd name="T58" fmla="*/ 73 w 189"/>
                <a:gd name="T59" fmla="*/ 70 h 189"/>
                <a:gd name="T60" fmla="*/ 47 w 189"/>
                <a:gd name="T61" fmla="*/ 100 h 189"/>
                <a:gd name="T62" fmla="*/ 31 w 189"/>
                <a:gd name="T63" fmla="*/ 97 h 189"/>
                <a:gd name="T64" fmla="*/ 40 w 189"/>
                <a:gd name="T65" fmla="*/ 103 h 189"/>
                <a:gd name="T66" fmla="*/ 42 w 189"/>
                <a:gd name="T67" fmla="*/ 116 h 189"/>
                <a:gd name="T68" fmla="*/ 81 w 189"/>
                <a:gd name="T69" fmla="*/ 132 h 189"/>
                <a:gd name="T70" fmla="*/ 67 w 189"/>
                <a:gd name="T71" fmla="*/ 175 h 189"/>
                <a:gd name="T72" fmla="*/ 129 w 189"/>
                <a:gd name="T73" fmla="*/ 172 h 189"/>
                <a:gd name="T74" fmla="*/ 172 w 189"/>
                <a:gd name="T75" fmla="*/ 115 h 189"/>
                <a:gd name="T76" fmla="*/ 172 w 189"/>
                <a:gd name="T77" fmla="*/ 118 h 189"/>
                <a:gd name="T78" fmla="*/ 177 w 189"/>
                <a:gd name="T79" fmla="*/ 114 h 189"/>
                <a:gd name="T80" fmla="*/ 156 w 189"/>
                <a:gd name="T81" fmla="*/ 152 h 189"/>
                <a:gd name="T82" fmla="*/ 52 w 189"/>
                <a:gd name="T83" fmla="*/ 168 h 189"/>
                <a:gd name="T84" fmla="*/ 47 w 189"/>
                <a:gd name="T85" fmla="*/ 126 h 189"/>
                <a:gd name="T86" fmla="*/ 42 w 189"/>
                <a:gd name="T87" fmla="*/ 121 h 189"/>
                <a:gd name="T88" fmla="*/ 20 w 189"/>
                <a:gd name="T89" fmla="*/ 103 h 189"/>
                <a:gd name="T90" fmla="*/ 9 w 189"/>
                <a:gd name="T91" fmla="*/ 94 h 189"/>
                <a:gd name="T92" fmla="*/ 108 w 189"/>
                <a:gd name="T93" fmla="*/ 41 h 189"/>
                <a:gd name="T94" fmla="*/ 108 w 189"/>
                <a:gd name="T95" fmla="*/ 41 h 189"/>
                <a:gd name="T96" fmla="*/ 129 w 189"/>
                <a:gd name="T97" fmla="*/ 58 h 189"/>
                <a:gd name="T98" fmla="*/ 125 w 189"/>
                <a:gd name="T99" fmla="*/ 49 h 189"/>
                <a:gd name="T100" fmla="*/ 160 w 189"/>
                <a:gd name="T101" fmla="*/ 69 h 189"/>
                <a:gd name="T102" fmla="*/ 158 w 189"/>
                <a:gd name="T103" fmla="*/ 77 h 189"/>
                <a:gd name="T104" fmla="*/ 59 w 189"/>
                <a:gd name="T105" fmla="*/ 106 h 189"/>
                <a:gd name="T106" fmla="*/ 46 w 189"/>
                <a:gd name="T107" fmla="*/ 102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9" h="189">
                  <a:moveTo>
                    <a:pt x="94" y="0"/>
                  </a:moveTo>
                  <a:cubicBezTo>
                    <a:pt x="146" y="0"/>
                    <a:pt x="189" y="42"/>
                    <a:pt x="189" y="94"/>
                  </a:cubicBezTo>
                  <a:cubicBezTo>
                    <a:pt x="189" y="147"/>
                    <a:pt x="146" y="189"/>
                    <a:pt x="94" y="189"/>
                  </a:cubicBezTo>
                  <a:cubicBezTo>
                    <a:pt x="42" y="189"/>
                    <a:pt x="0" y="147"/>
                    <a:pt x="0" y="94"/>
                  </a:cubicBezTo>
                  <a:cubicBezTo>
                    <a:pt x="0" y="42"/>
                    <a:pt x="42" y="0"/>
                    <a:pt x="94" y="0"/>
                  </a:cubicBezTo>
                  <a:close/>
                  <a:moveTo>
                    <a:pt x="129" y="172"/>
                  </a:moveTo>
                  <a:cubicBezTo>
                    <a:pt x="126" y="156"/>
                    <a:pt x="135" y="129"/>
                    <a:pt x="130" y="124"/>
                  </a:cubicBezTo>
                  <a:cubicBezTo>
                    <a:pt x="128" y="123"/>
                    <a:pt x="126" y="122"/>
                    <a:pt x="124" y="123"/>
                  </a:cubicBezTo>
                  <a:cubicBezTo>
                    <a:pt x="120" y="124"/>
                    <a:pt x="116" y="126"/>
                    <a:pt x="113" y="125"/>
                  </a:cubicBezTo>
                  <a:cubicBezTo>
                    <a:pt x="96" y="117"/>
                    <a:pt x="106" y="90"/>
                    <a:pt x="123" y="84"/>
                  </a:cubicBezTo>
                  <a:cubicBezTo>
                    <a:pt x="126" y="83"/>
                    <a:pt x="129" y="83"/>
                    <a:pt x="132" y="83"/>
                  </a:cubicBezTo>
                  <a:cubicBezTo>
                    <a:pt x="137" y="82"/>
                    <a:pt x="140" y="82"/>
                    <a:pt x="140" y="85"/>
                  </a:cubicBezTo>
                  <a:cubicBezTo>
                    <a:pt x="140" y="89"/>
                    <a:pt x="148" y="92"/>
                    <a:pt x="150" y="92"/>
                  </a:cubicBezTo>
                  <a:cubicBezTo>
                    <a:pt x="151" y="92"/>
                    <a:pt x="151" y="89"/>
                    <a:pt x="152" y="89"/>
                  </a:cubicBezTo>
                  <a:cubicBezTo>
                    <a:pt x="159" y="89"/>
                    <a:pt x="164" y="93"/>
                    <a:pt x="165" y="90"/>
                  </a:cubicBezTo>
                  <a:cubicBezTo>
                    <a:pt x="167" y="80"/>
                    <a:pt x="166" y="85"/>
                    <a:pt x="158" y="84"/>
                  </a:cubicBezTo>
                  <a:cubicBezTo>
                    <a:pt x="155" y="83"/>
                    <a:pt x="157" y="78"/>
                    <a:pt x="154" y="78"/>
                  </a:cubicBezTo>
                  <a:cubicBezTo>
                    <a:pt x="152" y="77"/>
                    <a:pt x="155" y="84"/>
                    <a:pt x="152" y="82"/>
                  </a:cubicBezTo>
                  <a:cubicBezTo>
                    <a:pt x="148" y="79"/>
                    <a:pt x="146" y="72"/>
                    <a:pt x="142" y="71"/>
                  </a:cubicBezTo>
                  <a:cubicBezTo>
                    <a:pt x="137" y="70"/>
                    <a:pt x="145" y="75"/>
                    <a:pt x="146" y="78"/>
                  </a:cubicBezTo>
                  <a:cubicBezTo>
                    <a:pt x="147" y="81"/>
                    <a:pt x="143" y="85"/>
                    <a:pt x="141" y="82"/>
                  </a:cubicBezTo>
                  <a:cubicBezTo>
                    <a:pt x="140" y="81"/>
                    <a:pt x="145" y="78"/>
                    <a:pt x="139" y="74"/>
                  </a:cubicBezTo>
                  <a:cubicBezTo>
                    <a:pt x="138" y="72"/>
                    <a:pt x="135" y="72"/>
                    <a:pt x="133" y="74"/>
                  </a:cubicBezTo>
                  <a:cubicBezTo>
                    <a:pt x="130" y="77"/>
                    <a:pt x="129" y="80"/>
                    <a:pt x="128" y="80"/>
                  </a:cubicBezTo>
                  <a:cubicBezTo>
                    <a:pt x="125" y="82"/>
                    <a:pt x="123" y="82"/>
                    <a:pt x="120" y="81"/>
                  </a:cubicBezTo>
                  <a:cubicBezTo>
                    <a:pt x="116" y="80"/>
                    <a:pt x="117" y="71"/>
                    <a:pt x="121" y="72"/>
                  </a:cubicBezTo>
                  <a:cubicBezTo>
                    <a:pt x="133" y="75"/>
                    <a:pt x="122" y="68"/>
                    <a:pt x="125" y="66"/>
                  </a:cubicBezTo>
                  <a:cubicBezTo>
                    <a:pt x="126" y="65"/>
                    <a:pt x="130" y="62"/>
                    <a:pt x="132" y="59"/>
                  </a:cubicBezTo>
                  <a:cubicBezTo>
                    <a:pt x="134" y="57"/>
                    <a:pt x="133" y="51"/>
                    <a:pt x="137" y="52"/>
                  </a:cubicBezTo>
                  <a:cubicBezTo>
                    <a:pt x="139" y="52"/>
                    <a:pt x="138" y="56"/>
                    <a:pt x="140" y="57"/>
                  </a:cubicBezTo>
                  <a:cubicBezTo>
                    <a:pt x="141" y="58"/>
                    <a:pt x="144" y="57"/>
                    <a:pt x="146" y="57"/>
                  </a:cubicBezTo>
                  <a:cubicBezTo>
                    <a:pt x="149" y="57"/>
                    <a:pt x="149" y="55"/>
                    <a:pt x="149" y="52"/>
                  </a:cubicBezTo>
                  <a:cubicBezTo>
                    <a:pt x="149" y="48"/>
                    <a:pt x="156" y="49"/>
                    <a:pt x="156" y="47"/>
                  </a:cubicBezTo>
                  <a:cubicBezTo>
                    <a:pt x="155" y="44"/>
                    <a:pt x="148" y="48"/>
                    <a:pt x="148" y="44"/>
                  </a:cubicBezTo>
                  <a:cubicBezTo>
                    <a:pt x="148" y="39"/>
                    <a:pt x="154" y="38"/>
                    <a:pt x="150" y="37"/>
                  </a:cubicBezTo>
                  <a:cubicBezTo>
                    <a:pt x="147" y="36"/>
                    <a:pt x="143" y="39"/>
                    <a:pt x="144" y="46"/>
                  </a:cubicBezTo>
                  <a:cubicBezTo>
                    <a:pt x="145" y="53"/>
                    <a:pt x="146" y="56"/>
                    <a:pt x="141" y="54"/>
                  </a:cubicBezTo>
                  <a:cubicBezTo>
                    <a:pt x="137" y="51"/>
                    <a:pt x="142" y="46"/>
                    <a:pt x="138" y="48"/>
                  </a:cubicBezTo>
                  <a:cubicBezTo>
                    <a:pt x="135" y="50"/>
                    <a:pt x="133" y="51"/>
                    <a:pt x="133" y="46"/>
                  </a:cubicBezTo>
                  <a:cubicBezTo>
                    <a:pt x="133" y="42"/>
                    <a:pt x="141" y="30"/>
                    <a:pt x="147" y="28"/>
                  </a:cubicBezTo>
                  <a:cubicBezTo>
                    <a:pt x="136" y="19"/>
                    <a:pt x="123" y="13"/>
                    <a:pt x="108" y="11"/>
                  </a:cubicBezTo>
                  <a:cubicBezTo>
                    <a:pt x="108" y="11"/>
                    <a:pt x="108" y="11"/>
                    <a:pt x="108" y="11"/>
                  </a:cubicBezTo>
                  <a:cubicBezTo>
                    <a:pt x="108" y="19"/>
                    <a:pt x="108" y="24"/>
                    <a:pt x="107" y="28"/>
                  </a:cubicBezTo>
                  <a:cubicBezTo>
                    <a:pt x="107" y="33"/>
                    <a:pt x="92" y="34"/>
                    <a:pt x="90" y="43"/>
                  </a:cubicBezTo>
                  <a:cubicBezTo>
                    <a:pt x="88" y="51"/>
                    <a:pt x="85" y="46"/>
                    <a:pt x="80" y="40"/>
                  </a:cubicBezTo>
                  <a:cubicBezTo>
                    <a:pt x="75" y="34"/>
                    <a:pt x="81" y="26"/>
                    <a:pt x="78" y="21"/>
                  </a:cubicBezTo>
                  <a:cubicBezTo>
                    <a:pt x="76" y="16"/>
                    <a:pt x="67" y="23"/>
                    <a:pt x="67" y="18"/>
                  </a:cubicBezTo>
                  <a:cubicBezTo>
                    <a:pt x="67" y="16"/>
                    <a:pt x="69" y="14"/>
                    <a:pt x="69" y="13"/>
                  </a:cubicBezTo>
                  <a:cubicBezTo>
                    <a:pt x="68" y="14"/>
                    <a:pt x="67" y="14"/>
                    <a:pt x="66" y="14"/>
                  </a:cubicBezTo>
                  <a:cubicBezTo>
                    <a:pt x="63" y="16"/>
                    <a:pt x="61" y="22"/>
                    <a:pt x="60" y="23"/>
                  </a:cubicBezTo>
                  <a:cubicBezTo>
                    <a:pt x="57" y="27"/>
                    <a:pt x="64" y="26"/>
                    <a:pt x="67" y="30"/>
                  </a:cubicBezTo>
                  <a:cubicBezTo>
                    <a:pt x="71" y="36"/>
                    <a:pt x="74" y="40"/>
                    <a:pt x="72" y="43"/>
                  </a:cubicBezTo>
                  <a:cubicBezTo>
                    <a:pt x="71" y="46"/>
                    <a:pt x="59" y="43"/>
                    <a:pt x="61" y="38"/>
                  </a:cubicBezTo>
                  <a:cubicBezTo>
                    <a:pt x="64" y="33"/>
                    <a:pt x="62" y="32"/>
                    <a:pt x="59" y="31"/>
                  </a:cubicBezTo>
                  <a:cubicBezTo>
                    <a:pt x="56" y="31"/>
                    <a:pt x="56" y="35"/>
                    <a:pt x="56" y="40"/>
                  </a:cubicBezTo>
                  <a:cubicBezTo>
                    <a:pt x="56" y="44"/>
                    <a:pt x="48" y="45"/>
                    <a:pt x="44" y="49"/>
                  </a:cubicBezTo>
                  <a:cubicBezTo>
                    <a:pt x="40" y="54"/>
                    <a:pt x="47" y="58"/>
                    <a:pt x="53" y="60"/>
                  </a:cubicBezTo>
                  <a:cubicBezTo>
                    <a:pt x="59" y="62"/>
                    <a:pt x="55" y="52"/>
                    <a:pt x="57" y="47"/>
                  </a:cubicBezTo>
                  <a:cubicBezTo>
                    <a:pt x="59" y="40"/>
                    <a:pt x="66" y="46"/>
                    <a:pt x="71" y="52"/>
                  </a:cubicBezTo>
                  <a:cubicBezTo>
                    <a:pt x="75" y="58"/>
                    <a:pt x="82" y="66"/>
                    <a:pt x="73" y="70"/>
                  </a:cubicBezTo>
                  <a:cubicBezTo>
                    <a:pt x="58" y="76"/>
                    <a:pt x="52" y="83"/>
                    <a:pt x="49" y="89"/>
                  </a:cubicBezTo>
                  <a:cubicBezTo>
                    <a:pt x="46" y="95"/>
                    <a:pt x="49" y="98"/>
                    <a:pt x="47" y="100"/>
                  </a:cubicBezTo>
                  <a:cubicBezTo>
                    <a:pt x="45" y="102"/>
                    <a:pt x="45" y="99"/>
                    <a:pt x="43" y="94"/>
                  </a:cubicBezTo>
                  <a:cubicBezTo>
                    <a:pt x="41" y="91"/>
                    <a:pt x="34" y="91"/>
                    <a:pt x="31" y="97"/>
                  </a:cubicBezTo>
                  <a:cubicBezTo>
                    <a:pt x="29" y="98"/>
                    <a:pt x="29" y="101"/>
                    <a:pt x="29" y="104"/>
                  </a:cubicBezTo>
                  <a:cubicBezTo>
                    <a:pt x="29" y="114"/>
                    <a:pt x="36" y="101"/>
                    <a:pt x="40" y="103"/>
                  </a:cubicBezTo>
                  <a:cubicBezTo>
                    <a:pt x="45" y="104"/>
                    <a:pt x="36" y="105"/>
                    <a:pt x="37" y="109"/>
                  </a:cubicBezTo>
                  <a:cubicBezTo>
                    <a:pt x="38" y="113"/>
                    <a:pt x="44" y="107"/>
                    <a:pt x="42" y="116"/>
                  </a:cubicBezTo>
                  <a:cubicBezTo>
                    <a:pt x="41" y="121"/>
                    <a:pt x="49" y="117"/>
                    <a:pt x="54" y="115"/>
                  </a:cubicBezTo>
                  <a:cubicBezTo>
                    <a:pt x="65" y="111"/>
                    <a:pt x="73" y="129"/>
                    <a:pt x="81" y="132"/>
                  </a:cubicBezTo>
                  <a:cubicBezTo>
                    <a:pt x="90" y="135"/>
                    <a:pt x="93" y="137"/>
                    <a:pt x="91" y="141"/>
                  </a:cubicBezTo>
                  <a:cubicBezTo>
                    <a:pt x="85" y="153"/>
                    <a:pt x="73" y="161"/>
                    <a:pt x="67" y="175"/>
                  </a:cubicBezTo>
                  <a:cubicBezTo>
                    <a:pt x="75" y="178"/>
                    <a:pt x="85" y="179"/>
                    <a:pt x="94" y="179"/>
                  </a:cubicBezTo>
                  <a:cubicBezTo>
                    <a:pt x="107" y="179"/>
                    <a:pt x="118" y="177"/>
                    <a:pt x="129" y="172"/>
                  </a:cubicBezTo>
                  <a:close/>
                  <a:moveTo>
                    <a:pt x="177" y="114"/>
                  </a:moveTo>
                  <a:cubicBezTo>
                    <a:pt x="175" y="114"/>
                    <a:pt x="173" y="115"/>
                    <a:pt x="172" y="115"/>
                  </a:cubicBezTo>
                  <a:cubicBezTo>
                    <a:pt x="167" y="113"/>
                    <a:pt x="170" y="93"/>
                    <a:pt x="163" y="94"/>
                  </a:cubicBezTo>
                  <a:cubicBezTo>
                    <a:pt x="160" y="95"/>
                    <a:pt x="165" y="110"/>
                    <a:pt x="172" y="118"/>
                  </a:cubicBezTo>
                  <a:cubicBezTo>
                    <a:pt x="173" y="119"/>
                    <a:pt x="174" y="118"/>
                    <a:pt x="176" y="118"/>
                  </a:cubicBezTo>
                  <a:cubicBezTo>
                    <a:pt x="176" y="117"/>
                    <a:pt x="177" y="115"/>
                    <a:pt x="177" y="114"/>
                  </a:cubicBezTo>
                  <a:close/>
                  <a:moveTo>
                    <a:pt x="172" y="128"/>
                  </a:moveTo>
                  <a:cubicBezTo>
                    <a:pt x="164" y="126"/>
                    <a:pt x="158" y="144"/>
                    <a:pt x="156" y="152"/>
                  </a:cubicBezTo>
                  <a:cubicBezTo>
                    <a:pt x="163" y="145"/>
                    <a:pt x="168" y="137"/>
                    <a:pt x="172" y="128"/>
                  </a:cubicBezTo>
                  <a:close/>
                  <a:moveTo>
                    <a:pt x="52" y="168"/>
                  </a:moveTo>
                  <a:cubicBezTo>
                    <a:pt x="53" y="160"/>
                    <a:pt x="54" y="151"/>
                    <a:pt x="52" y="150"/>
                  </a:cubicBezTo>
                  <a:cubicBezTo>
                    <a:pt x="45" y="144"/>
                    <a:pt x="40" y="135"/>
                    <a:pt x="47" y="126"/>
                  </a:cubicBezTo>
                  <a:cubicBezTo>
                    <a:pt x="48" y="125"/>
                    <a:pt x="49" y="124"/>
                    <a:pt x="49" y="122"/>
                  </a:cubicBezTo>
                  <a:cubicBezTo>
                    <a:pt x="50" y="119"/>
                    <a:pt x="47" y="121"/>
                    <a:pt x="42" y="121"/>
                  </a:cubicBezTo>
                  <a:cubicBezTo>
                    <a:pt x="37" y="121"/>
                    <a:pt x="41" y="113"/>
                    <a:pt x="31" y="112"/>
                  </a:cubicBezTo>
                  <a:cubicBezTo>
                    <a:pt x="21" y="111"/>
                    <a:pt x="21" y="109"/>
                    <a:pt x="20" y="103"/>
                  </a:cubicBezTo>
                  <a:cubicBezTo>
                    <a:pt x="20" y="97"/>
                    <a:pt x="14" y="91"/>
                    <a:pt x="9" y="90"/>
                  </a:cubicBezTo>
                  <a:cubicBezTo>
                    <a:pt x="9" y="91"/>
                    <a:pt x="9" y="93"/>
                    <a:pt x="9" y="94"/>
                  </a:cubicBezTo>
                  <a:cubicBezTo>
                    <a:pt x="9" y="126"/>
                    <a:pt x="27" y="154"/>
                    <a:pt x="52" y="168"/>
                  </a:cubicBezTo>
                  <a:close/>
                  <a:moveTo>
                    <a:pt x="108" y="41"/>
                  </a:moveTo>
                  <a:cubicBezTo>
                    <a:pt x="112" y="43"/>
                    <a:pt x="116" y="40"/>
                    <a:pt x="115" y="37"/>
                  </a:cubicBezTo>
                  <a:cubicBezTo>
                    <a:pt x="112" y="32"/>
                    <a:pt x="103" y="35"/>
                    <a:pt x="108" y="41"/>
                  </a:cubicBezTo>
                  <a:close/>
                  <a:moveTo>
                    <a:pt x="125" y="49"/>
                  </a:moveTo>
                  <a:cubicBezTo>
                    <a:pt x="128" y="49"/>
                    <a:pt x="130" y="55"/>
                    <a:pt x="129" y="58"/>
                  </a:cubicBezTo>
                  <a:cubicBezTo>
                    <a:pt x="127" y="64"/>
                    <a:pt x="122" y="60"/>
                    <a:pt x="121" y="56"/>
                  </a:cubicBezTo>
                  <a:cubicBezTo>
                    <a:pt x="121" y="52"/>
                    <a:pt x="122" y="49"/>
                    <a:pt x="125" y="49"/>
                  </a:cubicBezTo>
                  <a:close/>
                  <a:moveTo>
                    <a:pt x="158" y="77"/>
                  </a:moveTo>
                  <a:cubicBezTo>
                    <a:pt x="155" y="74"/>
                    <a:pt x="156" y="70"/>
                    <a:pt x="160" y="69"/>
                  </a:cubicBezTo>
                  <a:cubicBezTo>
                    <a:pt x="167" y="68"/>
                    <a:pt x="176" y="75"/>
                    <a:pt x="170" y="77"/>
                  </a:cubicBezTo>
                  <a:cubicBezTo>
                    <a:pt x="167" y="78"/>
                    <a:pt x="162" y="78"/>
                    <a:pt x="158" y="77"/>
                  </a:cubicBezTo>
                  <a:close/>
                  <a:moveTo>
                    <a:pt x="46" y="102"/>
                  </a:moveTo>
                  <a:cubicBezTo>
                    <a:pt x="49" y="102"/>
                    <a:pt x="57" y="104"/>
                    <a:pt x="59" y="106"/>
                  </a:cubicBezTo>
                  <a:cubicBezTo>
                    <a:pt x="61" y="109"/>
                    <a:pt x="53" y="108"/>
                    <a:pt x="48" y="106"/>
                  </a:cubicBezTo>
                  <a:cubicBezTo>
                    <a:pt x="45" y="105"/>
                    <a:pt x="43" y="103"/>
                    <a:pt x="46" y="10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sp>
          <p:nvSpPr>
            <p:cNvPr id="112" name="Oval 111"/>
            <p:cNvSpPr/>
            <p:nvPr/>
          </p:nvSpPr>
          <p:spPr bwMode="auto">
            <a:xfrm>
              <a:off x="2520522" y="3218292"/>
              <a:ext cx="468794" cy="4687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3" name="Oval 112"/>
            <p:cNvSpPr/>
            <p:nvPr/>
          </p:nvSpPr>
          <p:spPr bwMode="auto">
            <a:xfrm>
              <a:off x="2603091" y="3909887"/>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4" name="Oval 113"/>
            <p:cNvSpPr/>
            <p:nvPr/>
          </p:nvSpPr>
          <p:spPr bwMode="auto">
            <a:xfrm>
              <a:off x="3216476" y="3249824"/>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5" name="Oval 114"/>
            <p:cNvSpPr/>
            <p:nvPr/>
          </p:nvSpPr>
          <p:spPr bwMode="auto">
            <a:xfrm>
              <a:off x="4109901" y="3311679"/>
              <a:ext cx="351080" cy="35108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6" name="Oval 115"/>
            <p:cNvSpPr/>
            <p:nvPr/>
          </p:nvSpPr>
          <p:spPr bwMode="auto">
            <a:xfrm>
              <a:off x="3369964" y="4192488"/>
              <a:ext cx="489305" cy="489305"/>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7" name="Oval 116"/>
            <p:cNvSpPr/>
            <p:nvPr/>
          </p:nvSpPr>
          <p:spPr bwMode="auto">
            <a:xfrm>
              <a:off x="4053125" y="4084060"/>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8" name="Oval 117"/>
            <p:cNvSpPr/>
            <p:nvPr/>
          </p:nvSpPr>
          <p:spPr bwMode="auto">
            <a:xfrm>
              <a:off x="4684892" y="3172942"/>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19" name="Oval 118"/>
            <p:cNvSpPr/>
            <p:nvPr/>
          </p:nvSpPr>
          <p:spPr bwMode="auto">
            <a:xfrm>
              <a:off x="4809116" y="4379129"/>
              <a:ext cx="289785" cy="279967"/>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0" name="Oval 119"/>
            <p:cNvSpPr/>
            <p:nvPr/>
          </p:nvSpPr>
          <p:spPr bwMode="auto">
            <a:xfrm>
              <a:off x="5632520" y="316527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1" name="Oval 120"/>
            <p:cNvSpPr/>
            <p:nvPr/>
          </p:nvSpPr>
          <p:spPr bwMode="auto">
            <a:xfrm>
              <a:off x="6091445" y="4084060"/>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2" name="Oval 121"/>
            <p:cNvSpPr/>
            <p:nvPr/>
          </p:nvSpPr>
          <p:spPr bwMode="auto">
            <a:xfrm>
              <a:off x="6471916" y="4334863"/>
              <a:ext cx="355515" cy="343469"/>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3" name="Oval 122"/>
            <p:cNvSpPr/>
            <p:nvPr/>
          </p:nvSpPr>
          <p:spPr bwMode="auto">
            <a:xfrm>
              <a:off x="6864207" y="4141917"/>
              <a:ext cx="399427" cy="38589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4" name="Oval 123"/>
            <p:cNvSpPr/>
            <p:nvPr/>
          </p:nvSpPr>
          <p:spPr bwMode="auto">
            <a:xfrm>
              <a:off x="7456685" y="3929575"/>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5" name="Oval 124"/>
            <p:cNvSpPr/>
            <p:nvPr/>
          </p:nvSpPr>
          <p:spPr bwMode="auto">
            <a:xfrm>
              <a:off x="7456685" y="3153003"/>
              <a:ext cx="737404" cy="737404"/>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6" name="Oval 125"/>
            <p:cNvSpPr/>
            <p:nvPr/>
          </p:nvSpPr>
          <p:spPr bwMode="auto">
            <a:xfrm>
              <a:off x="6775471" y="3287986"/>
              <a:ext cx="576900" cy="57690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27" name="Oval 126"/>
            <p:cNvSpPr/>
            <p:nvPr/>
          </p:nvSpPr>
          <p:spPr bwMode="auto">
            <a:xfrm>
              <a:off x="6258478" y="3255953"/>
              <a:ext cx="464790" cy="464790"/>
            </a:xfrm>
            <a:prstGeom prst="ellipse">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nvGrpSpPr>
          <p:cNvPr id="128" name="Group 127"/>
          <p:cNvGrpSpPr/>
          <p:nvPr/>
        </p:nvGrpSpPr>
        <p:grpSpPr>
          <a:xfrm>
            <a:off x="4361871" y="3429621"/>
            <a:ext cx="4679670" cy="1413064"/>
            <a:chOff x="2919929" y="3223222"/>
            <a:chExt cx="4679670" cy="1413064"/>
          </a:xfrm>
        </p:grpSpPr>
        <p:sp>
          <p:nvSpPr>
            <p:cNvPr id="129" name="Freeform 128"/>
            <p:cNvSpPr/>
            <p:nvPr/>
          </p:nvSpPr>
          <p:spPr bwMode="auto">
            <a:xfrm>
              <a:off x="2919929" y="3571746"/>
              <a:ext cx="2021996" cy="484723"/>
            </a:xfrm>
            <a:custGeom>
              <a:avLst/>
              <a:gdLst>
                <a:gd name="connsiteX0" fmla="*/ 0 w 6273209"/>
                <a:gd name="connsiteY0" fmla="*/ 0 h 1509823"/>
                <a:gd name="connsiteX1" fmla="*/ 1509823 w 6273209"/>
                <a:gd name="connsiteY1" fmla="*/ 1509823 h 1509823"/>
                <a:gd name="connsiteX2" fmla="*/ 2743200 w 6273209"/>
                <a:gd name="connsiteY2" fmla="*/ 1509823 h 1509823"/>
                <a:gd name="connsiteX3" fmla="*/ 3402419 w 6273209"/>
                <a:gd name="connsiteY3" fmla="*/ 850604 h 1509823"/>
                <a:gd name="connsiteX4" fmla="*/ 6273209 w 6273209"/>
                <a:gd name="connsiteY4" fmla="*/ 850604 h 1509823"/>
                <a:gd name="connsiteX0" fmla="*/ 0 w 6273209"/>
                <a:gd name="connsiteY0" fmla="*/ 0 h 1524238"/>
                <a:gd name="connsiteX1" fmla="*/ 1509823 w 6273209"/>
                <a:gd name="connsiteY1" fmla="*/ 1509823 h 1524238"/>
                <a:gd name="connsiteX2" fmla="*/ 2629442 w 6273209"/>
                <a:gd name="connsiteY2" fmla="*/ 1524238 h 1524238"/>
                <a:gd name="connsiteX3" fmla="*/ 3402419 w 6273209"/>
                <a:gd name="connsiteY3" fmla="*/ 850604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850604 h 1524238"/>
                <a:gd name="connsiteX0" fmla="*/ 0 w 6273209"/>
                <a:gd name="connsiteY0" fmla="*/ 0 h 1524238"/>
                <a:gd name="connsiteX1" fmla="*/ 1509823 w 6273209"/>
                <a:gd name="connsiteY1" fmla="*/ 1509823 h 1524238"/>
                <a:gd name="connsiteX2" fmla="*/ 2629442 w 6273209"/>
                <a:gd name="connsiteY2" fmla="*/ 1524238 h 1524238"/>
                <a:gd name="connsiteX3" fmla="*/ 3388200 w 6273209"/>
                <a:gd name="connsiteY3" fmla="*/ 792953 h 1524238"/>
                <a:gd name="connsiteX4" fmla="*/ 6273209 w 6273209"/>
                <a:gd name="connsiteY4" fmla="*/ 792953 h 152423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273209" h="1524238">
                  <a:moveTo>
                    <a:pt x="0" y="0"/>
                  </a:moveTo>
                  <a:lnTo>
                    <a:pt x="1509823" y="1509823"/>
                  </a:lnTo>
                  <a:lnTo>
                    <a:pt x="2629442" y="1524238"/>
                  </a:lnTo>
                  <a:lnTo>
                    <a:pt x="3388200" y="792953"/>
                  </a:lnTo>
                  <a:lnTo>
                    <a:pt x="6273209" y="792953"/>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0" name="Freeform 129"/>
            <p:cNvSpPr/>
            <p:nvPr/>
          </p:nvSpPr>
          <p:spPr bwMode="auto">
            <a:xfrm>
              <a:off x="3156618" y="3919459"/>
              <a:ext cx="1744732" cy="250213"/>
            </a:xfrm>
            <a:custGeom>
              <a:avLst/>
              <a:gdLst>
                <a:gd name="connsiteX0" fmla="*/ 0 w 5486400"/>
                <a:gd name="connsiteY0" fmla="*/ 786809 h 786809"/>
                <a:gd name="connsiteX1" fmla="*/ 1977656 w 5486400"/>
                <a:gd name="connsiteY1" fmla="*/ 786809 h 786809"/>
                <a:gd name="connsiteX2" fmla="*/ 2764465 w 5486400"/>
                <a:gd name="connsiteY2" fmla="*/ 0 h 786809"/>
                <a:gd name="connsiteX3" fmla="*/ 5486400 w 5486400"/>
                <a:gd name="connsiteY3" fmla="*/ 0 h 786809"/>
              </a:gdLst>
              <a:ahLst/>
              <a:cxnLst>
                <a:cxn ang="0">
                  <a:pos x="connsiteX0" y="connsiteY0"/>
                </a:cxn>
                <a:cxn ang="0">
                  <a:pos x="connsiteX1" y="connsiteY1"/>
                </a:cxn>
                <a:cxn ang="0">
                  <a:pos x="connsiteX2" y="connsiteY2"/>
                </a:cxn>
                <a:cxn ang="0">
                  <a:pos x="connsiteX3" y="connsiteY3"/>
                </a:cxn>
              </a:cxnLst>
              <a:rect l="l" t="t" r="r" b="b"/>
              <a:pathLst>
                <a:path w="5486400" h="786809">
                  <a:moveTo>
                    <a:pt x="0" y="786809"/>
                  </a:moveTo>
                  <a:lnTo>
                    <a:pt x="1977656" y="786809"/>
                  </a:lnTo>
                  <a:lnTo>
                    <a:pt x="2764465" y="0"/>
                  </a:lnTo>
                  <a:lnTo>
                    <a:pt x="5486400" y="0"/>
                  </a:lnTo>
                </a:path>
              </a:pathLst>
            </a:custGeom>
            <a:noFill/>
            <a:ln>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1" name="Freeform 130"/>
            <p:cNvSpPr/>
            <p:nvPr/>
          </p:nvSpPr>
          <p:spPr bwMode="auto">
            <a:xfrm>
              <a:off x="3131069" y="3912696"/>
              <a:ext cx="1810855" cy="243451"/>
            </a:xfrm>
            <a:custGeom>
              <a:avLst/>
              <a:gdLst>
                <a:gd name="connsiteX0" fmla="*/ 0 w 5422605"/>
                <a:gd name="connsiteY0" fmla="*/ 765544 h 765544"/>
                <a:gd name="connsiteX1" fmla="*/ 1913861 w 5422605"/>
                <a:gd name="connsiteY1" fmla="*/ 765544 h 765544"/>
                <a:gd name="connsiteX2" fmla="*/ 2743200 w 5422605"/>
                <a:gd name="connsiteY2" fmla="*/ 0 h 765544"/>
                <a:gd name="connsiteX3" fmla="*/ 5422605 w 5422605"/>
                <a:gd name="connsiteY3" fmla="*/ 0 h 765544"/>
                <a:gd name="connsiteX0" fmla="*/ 0 w 5563422"/>
                <a:gd name="connsiteY0" fmla="*/ 765544 h 765544"/>
                <a:gd name="connsiteX1" fmla="*/ 2054678 w 5563422"/>
                <a:gd name="connsiteY1" fmla="*/ 765544 h 765544"/>
                <a:gd name="connsiteX2" fmla="*/ 2884017 w 5563422"/>
                <a:gd name="connsiteY2" fmla="*/ 0 h 765544"/>
                <a:gd name="connsiteX3" fmla="*/ 5563422 w 5563422"/>
                <a:gd name="connsiteY3" fmla="*/ 0 h 765544"/>
              </a:gdLst>
              <a:ahLst/>
              <a:cxnLst>
                <a:cxn ang="0">
                  <a:pos x="connsiteX0" y="connsiteY0"/>
                </a:cxn>
                <a:cxn ang="0">
                  <a:pos x="connsiteX1" y="connsiteY1"/>
                </a:cxn>
                <a:cxn ang="0">
                  <a:pos x="connsiteX2" y="connsiteY2"/>
                </a:cxn>
                <a:cxn ang="0">
                  <a:pos x="connsiteX3" y="connsiteY3"/>
                </a:cxn>
              </a:cxnLst>
              <a:rect l="l" t="t" r="r" b="b"/>
              <a:pathLst>
                <a:path w="5563422" h="765544">
                  <a:moveTo>
                    <a:pt x="0" y="765544"/>
                  </a:moveTo>
                  <a:lnTo>
                    <a:pt x="2054678" y="765544"/>
                  </a:lnTo>
                  <a:lnTo>
                    <a:pt x="2884017" y="0"/>
                  </a:lnTo>
                  <a:lnTo>
                    <a:pt x="5563422"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2" name="Freeform 131"/>
            <p:cNvSpPr/>
            <p:nvPr/>
          </p:nvSpPr>
          <p:spPr bwMode="auto">
            <a:xfrm>
              <a:off x="3826107" y="4020897"/>
              <a:ext cx="1115818" cy="304314"/>
            </a:xfrm>
            <a:custGeom>
              <a:avLst/>
              <a:gdLst>
                <a:gd name="connsiteX0" fmla="*/ 0 w 3381154"/>
                <a:gd name="connsiteY0" fmla="*/ 956930 h 956930"/>
                <a:gd name="connsiteX1" fmla="*/ 956931 w 3381154"/>
                <a:gd name="connsiteY1" fmla="*/ 0 h 956930"/>
                <a:gd name="connsiteX2" fmla="*/ 3381154 w 3381154"/>
                <a:gd name="connsiteY2" fmla="*/ 0 h 956930"/>
              </a:gdLst>
              <a:ahLst/>
              <a:cxnLst>
                <a:cxn ang="0">
                  <a:pos x="connsiteX0" y="connsiteY0"/>
                </a:cxn>
                <a:cxn ang="0">
                  <a:pos x="connsiteX1" y="connsiteY1"/>
                </a:cxn>
                <a:cxn ang="0">
                  <a:pos x="connsiteX2" y="connsiteY2"/>
                </a:cxn>
              </a:cxnLst>
              <a:rect l="l" t="t" r="r" b="b"/>
              <a:pathLst>
                <a:path w="3381154" h="956930">
                  <a:moveTo>
                    <a:pt x="0" y="956930"/>
                  </a:moveTo>
                  <a:lnTo>
                    <a:pt x="956931" y="0"/>
                  </a:lnTo>
                  <a:lnTo>
                    <a:pt x="3381154"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3" name="Freeform 132"/>
            <p:cNvSpPr/>
            <p:nvPr/>
          </p:nvSpPr>
          <p:spPr bwMode="auto">
            <a:xfrm>
              <a:off x="4612852" y="4130562"/>
              <a:ext cx="372531" cy="235224"/>
            </a:xfrm>
            <a:custGeom>
              <a:avLst/>
              <a:gdLst>
                <a:gd name="connsiteX0" fmla="*/ 0 w 956930"/>
                <a:gd name="connsiteY0" fmla="*/ 680484 h 680484"/>
                <a:gd name="connsiteX1" fmla="*/ 297711 w 956930"/>
                <a:gd name="connsiteY1" fmla="*/ 680484 h 680484"/>
                <a:gd name="connsiteX2" fmla="*/ 956930 w 956930"/>
                <a:gd name="connsiteY2" fmla="*/ 0 h 680484"/>
              </a:gdLst>
              <a:ahLst/>
              <a:cxnLst>
                <a:cxn ang="0">
                  <a:pos x="connsiteX0" y="connsiteY0"/>
                </a:cxn>
                <a:cxn ang="0">
                  <a:pos x="connsiteX1" y="connsiteY1"/>
                </a:cxn>
                <a:cxn ang="0">
                  <a:pos x="connsiteX2" y="connsiteY2"/>
                </a:cxn>
              </a:cxnLst>
              <a:rect l="l" t="t" r="r" b="b"/>
              <a:pathLst>
                <a:path w="956930" h="680484">
                  <a:moveTo>
                    <a:pt x="0" y="680484"/>
                  </a:moveTo>
                  <a:lnTo>
                    <a:pt x="297711" y="680484"/>
                  </a:lnTo>
                  <a:lnTo>
                    <a:pt x="95693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4" name="Freeform 133"/>
            <p:cNvSpPr/>
            <p:nvPr/>
          </p:nvSpPr>
          <p:spPr bwMode="auto">
            <a:xfrm>
              <a:off x="4441499" y="3486657"/>
              <a:ext cx="541678" cy="309572"/>
            </a:xfrm>
            <a:custGeom>
              <a:avLst/>
              <a:gdLst>
                <a:gd name="connsiteX0" fmla="*/ 0 w 1573619"/>
                <a:gd name="connsiteY0" fmla="*/ 0 h 829339"/>
                <a:gd name="connsiteX1" fmla="*/ 744279 w 1573619"/>
                <a:gd name="connsiteY1" fmla="*/ 0 h 829339"/>
                <a:gd name="connsiteX2" fmla="*/ 1573619 w 1573619"/>
                <a:gd name="connsiteY2" fmla="*/ 829339 h 829339"/>
                <a:gd name="connsiteX0" fmla="*/ 0 w 1703335"/>
                <a:gd name="connsiteY0" fmla="*/ 0 h 973467"/>
                <a:gd name="connsiteX1" fmla="*/ 744279 w 1703335"/>
                <a:gd name="connsiteY1" fmla="*/ 0 h 973467"/>
                <a:gd name="connsiteX2" fmla="*/ 1703335 w 1703335"/>
                <a:gd name="connsiteY2" fmla="*/ 973467 h 973467"/>
              </a:gdLst>
              <a:ahLst/>
              <a:cxnLst>
                <a:cxn ang="0">
                  <a:pos x="connsiteX0" y="connsiteY0"/>
                </a:cxn>
                <a:cxn ang="0">
                  <a:pos x="connsiteX1" y="connsiteY1"/>
                </a:cxn>
                <a:cxn ang="0">
                  <a:pos x="connsiteX2" y="connsiteY2"/>
                </a:cxn>
              </a:cxnLst>
              <a:rect l="l" t="t" r="r" b="b"/>
              <a:pathLst>
                <a:path w="1703335" h="973467">
                  <a:moveTo>
                    <a:pt x="0" y="0"/>
                  </a:moveTo>
                  <a:lnTo>
                    <a:pt x="744279" y="0"/>
                  </a:lnTo>
                  <a:cubicBezTo>
                    <a:pt x="1020726" y="276446"/>
                    <a:pt x="1426888" y="697021"/>
                    <a:pt x="1703335" y="973467"/>
                  </a:cubicBez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5" name="Freeform 134"/>
            <p:cNvSpPr/>
            <p:nvPr/>
          </p:nvSpPr>
          <p:spPr bwMode="auto">
            <a:xfrm>
              <a:off x="4914875" y="3358217"/>
              <a:ext cx="184025" cy="218219"/>
            </a:xfrm>
            <a:custGeom>
              <a:avLst/>
              <a:gdLst>
                <a:gd name="connsiteX0" fmla="*/ 0 w 382772"/>
                <a:gd name="connsiteY0" fmla="*/ 0 h 382772"/>
                <a:gd name="connsiteX1" fmla="*/ 382772 w 382772"/>
                <a:gd name="connsiteY1" fmla="*/ 382772 h 382772"/>
              </a:gdLst>
              <a:ahLst/>
              <a:cxnLst>
                <a:cxn ang="0">
                  <a:pos x="connsiteX0" y="connsiteY0"/>
                </a:cxn>
                <a:cxn ang="0">
                  <a:pos x="connsiteX1" y="connsiteY1"/>
                </a:cxn>
              </a:cxnLst>
              <a:rect l="l" t="t" r="r" b="b"/>
              <a:pathLst>
                <a:path w="382772" h="382772">
                  <a:moveTo>
                    <a:pt x="0" y="0"/>
                  </a:moveTo>
                  <a:lnTo>
                    <a:pt x="382772" y="38277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cxnSp>
          <p:nvCxnSpPr>
            <p:cNvPr id="136" name="Straight Connector 135"/>
            <p:cNvCxnSpPr/>
            <p:nvPr/>
          </p:nvCxnSpPr>
          <p:spPr>
            <a:xfrm flipV="1">
              <a:off x="5018884" y="4325210"/>
              <a:ext cx="119263" cy="130981"/>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cxnSp>
          <p:nvCxnSpPr>
            <p:cNvPr id="137" name="Straight Connector 136"/>
            <p:cNvCxnSpPr/>
            <p:nvPr/>
          </p:nvCxnSpPr>
          <p:spPr>
            <a:xfrm flipV="1">
              <a:off x="5665516" y="3452909"/>
              <a:ext cx="91073" cy="98255"/>
            </a:xfrm>
            <a:prstGeom prst="line">
              <a:avLst/>
            </a:pr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cxnSp>
        <p:sp>
          <p:nvSpPr>
            <p:cNvPr id="138" name="Freeform 137"/>
            <p:cNvSpPr/>
            <p:nvPr/>
          </p:nvSpPr>
          <p:spPr bwMode="auto">
            <a:xfrm>
              <a:off x="5791500" y="3223222"/>
              <a:ext cx="1808099" cy="500427"/>
            </a:xfrm>
            <a:custGeom>
              <a:avLst/>
              <a:gdLst>
                <a:gd name="connsiteX0" fmla="*/ 0 w 5103628"/>
                <a:gd name="connsiteY0" fmla="*/ 1573619 h 1573619"/>
                <a:gd name="connsiteX1" fmla="*/ 1573619 w 5103628"/>
                <a:gd name="connsiteY1" fmla="*/ 0 h 1573619"/>
                <a:gd name="connsiteX2" fmla="*/ 4933507 w 5103628"/>
                <a:gd name="connsiteY2" fmla="*/ 0 h 1573619"/>
                <a:gd name="connsiteX3" fmla="*/ 5103628 w 5103628"/>
                <a:gd name="connsiteY3" fmla="*/ 170121 h 1573619"/>
              </a:gdLst>
              <a:ahLst/>
              <a:cxnLst>
                <a:cxn ang="0">
                  <a:pos x="connsiteX0" y="connsiteY0"/>
                </a:cxn>
                <a:cxn ang="0">
                  <a:pos x="connsiteX1" y="connsiteY1"/>
                </a:cxn>
                <a:cxn ang="0">
                  <a:pos x="connsiteX2" y="connsiteY2"/>
                </a:cxn>
                <a:cxn ang="0">
                  <a:pos x="connsiteX3" y="connsiteY3"/>
                </a:cxn>
              </a:cxnLst>
              <a:rect l="l" t="t" r="r" b="b"/>
              <a:pathLst>
                <a:path w="5103628" h="1573619">
                  <a:moveTo>
                    <a:pt x="0" y="1573619"/>
                  </a:moveTo>
                  <a:lnTo>
                    <a:pt x="1573619" y="0"/>
                  </a:lnTo>
                  <a:lnTo>
                    <a:pt x="4933507" y="0"/>
                  </a:lnTo>
                  <a:lnTo>
                    <a:pt x="5103628"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39" name="Freeform 138"/>
            <p:cNvSpPr/>
            <p:nvPr/>
          </p:nvSpPr>
          <p:spPr bwMode="auto">
            <a:xfrm>
              <a:off x="5819043" y="3561044"/>
              <a:ext cx="590351" cy="202876"/>
            </a:xfrm>
            <a:custGeom>
              <a:avLst/>
              <a:gdLst>
                <a:gd name="connsiteX0" fmla="*/ 0 w 1828800"/>
                <a:gd name="connsiteY0" fmla="*/ 637954 h 637954"/>
                <a:gd name="connsiteX1" fmla="*/ 1190846 w 1828800"/>
                <a:gd name="connsiteY1" fmla="*/ 637954 h 637954"/>
                <a:gd name="connsiteX2" fmla="*/ 1828800 w 1828800"/>
                <a:gd name="connsiteY2" fmla="*/ 0 h 637954"/>
              </a:gdLst>
              <a:ahLst/>
              <a:cxnLst>
                <a:cxn ang="0">
                  <a:pos x="connsiteX0" y="connsiteY0"/>
                </a:cxn>
                <a:cxn ang="0">
                  <a:pos x="connsiteX1" y="connsiteY1"/>
                </a:cxn>
                <a:cxn ang="0">
                  <a:pos x="connsiteX2" y="connsiteY2"/>
                </a:cxn>
              </a:cxnLst>
              <a:rect l="l" t="t" r="r" b="b"/>
              <a:pathLst>
                <a:path w="1828800" h="637954">
                  <a:moveTo>
                    <a:pt x="0" y="637954"/>
                  </a:moveTo>
                  <a:lnTo>
                    <a:pt x="1190846" y="637954"/>
                  </a:lnTo>
                  <a:lnTo>
                    <a:pt x="1828800"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0" name="Freeform 139"/>
            <p:cNvSpPr/>
            <p:nvPr/>
          </p:nvSpPr>
          <p:spPr bwMode="auto">
            <a:xfrm>
              <a:off x="5868392" y="3770683"/>
              <a:ext cx="1054954" cy="142013"/>
            </a:xfrm>
            <a:custGeom>
              <a:avLst/>
              <a:gdLst>
                <a:gd name="connsiteX0" fmla="*/ 0 w 3317358"/>
                <a:gd name="connsiteY0" fmla="*/ 446567 h 446567"/>
                <a:gd name="connsiteX1" fmla="*/ 2700669 w 3317358"/>
                <a:gd name="connsiteY1" fmla="*/ 446567 h 446567"/>
                <a:gd name="connsiteX2" fmla="*/ 3317358 w 3317358"/>
                <a:gd name="connsiteY2" fmla="*/ 0 h 446567"/>
              </a:gdLst>
              <a:ahLst/>
              <a:cxnLst>
                <a:cxn ang="0">
                  <a:pos x="connsiteX0" y="connsiteY0"/>
                </a:cxn>
                <a:cxn ang="0">
                  <a:pos x="connsiteX1" y="connsiteY1"/>
                </a:cxn>
                <a:cxn ang="0">
                  <a:pos x="connsiteX2" y="connsiteY2"/>
                </a:cxn>
              </a:cxnLst>
              <a:rect l="l" t="t" r="r" b="b"/>
              <a:pathLst>
                <a:path w="3317358" h="446567">
                  <a:moveTo>
                    <a:pt x="0" y="446567"/>
                  </a:moveTo>
                  <a:lnTo>
                    <a:pt x="2700669" y="446567"/>
                  </a:lnTo>
                  <a:lnTo>
                    <a:pt x="3317358" y="0"/>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1" name="Freeform 140"/>
            <p:cNvSpPr/>
            <p:nvPr/>
          </p:nvSpPr>
          <p:spPr bwMode="auto">
            <a:xfrm>
              <a:off x="5862867" y="3993846"/>
              <a:ext cx="1736732" cy="54100"/>
            </a:xfrm>
            <a:custGeom>
              <a:avLst/>
              <a:gdLst>
                <a:gd name="connsiteX0" fmla="*/ 0 w 5380074"/>
                <a:gd name="connsiteY0" fmla="*/ 0 h 170121"/>
                <a:gd name="connsiteX1" fmla="*/ 5061098 w 5380074"/>
                <a:gd name="connsiteY1" fmla="*/ 0 h 170121"/>
                <a:gd name="connsiteX2" fmla="*/ 5380074 w 5380074"/>
                <a:gd name="connsiteY2" fmla="*/ 170121 h 170121"/>
              </a:gdLst>
              <a:ahLst/>
              <a:cxnLst>
                <a:cxn ang="0">
                  <a:pos x="connsiteX0" y="connsiteY0"/>
                </a:cxn>
                <a:cxn ang="0">
                  <a:pos x="connsiteX1" y="connsiteY1"/>
                </a:cxn>
                <a:cxn ang="0">
                  <a:pos x="connsiteX2" y="connsiteY2"/>
                </a:cxn>
              </a:cxnLst>
              <a:rect l="l" t="t" r="r" b="b"/>
              <a:pathLst>
                <a:path w="5380074" h="170121">
                  <a:moveTo>
                    <a:pt x="0" y="0"/>
                  </a:moveTo>
                  <a:lnTo>
                    <a:pt x="5061098" y="0"/>
                  </a:lnTo>
                  <a:lnTo>
                    <a:pt x="5380074" y="170121"/>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2" name="Freeform 141"/>
            <p:cNvSpPr/>
            <p:nvPr/>
          </p:nvSpPr>
          <p:spPr bwMode="auto">
            <a:xfrm>
              <a:off x="5819044" y="4074997"/>
              <a:ext cx="1165166" cy="148775"/>
            </a:xfrm>
            <a:custGeom>
              <a:avLst/>
              <a:gdLst>
                <a:gd name="connsiteX0" fmla="*/ 0 w 3487479"/>
                <a:gd name="connsiteY0" fmla="*/ 0 h 467832"/>
                <a:gd name="connsiteX1" fmla="*/ 2828260 w 3487479"/>
                <a:gd name="connsiteY1" fmla="*/ 0 h 467832"/>
                <a:gd name="connsiteX2" fmla="*/ 3487479 w 3487479"/>
                <a:gd name="connsiteY2" fmla="*/ 467832 h 467832"/>
              </a:gdLst>
              <a:ahLst/>
              <a:cxnLst>
                <a:cxn ang="0">
                  <a:pos x="connsiteX0" y="connsiteY0"/>
                </a:cxn>
                <a:cxn ang="0">
                  <a:pos x="connsiteX1" y="connsiteY1"/>
                </a:cxn>
                <a:cxn ang="0">
                  <a:pos x="connsiteX2" y="connsiteY2"/>
                </a:cxn>
              </a:cxnLst>
              <a:rect l="l" t="t" r="r" b="b"/>
              <a:pathLst>
                <a:path w="3487479" h="467832">
                  <a:moveTo>
                    <a:pt x="0" y="0"/>
                  </a:moveTo>
                  <a:lnTo>
                    <a:pt x="2828260" y="0"/>
                  </a:lnTo>
                  <a:lnTo>
                    <a:pt x="3487479" y="467832"/>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3" name="Freeform 142"/>
            <p:cNvSpPr/>
            <p:nvPr/>
          </p:nvSpPr>
          <p:spPr bwMode="auto">
            <a:xfrm>
              <a:off x="5435590" y="4406361"/>
              <a:ext cx="723591" cy="128488"/>
            </a:xfrm>
            <a:custGeom>
              <a:avLst/>
              <a:gdLst>
                <a:gd name="connsiteX0" fmla="*/ 0 w 2275368"/>
                <a:gd name="connsiteY0" fmla="*/ 0 h 404037"/>
                <a:gd name="connsiteX1" fmla="*/ 446568 w 2275368"/>
                <a:gd name="connsiteY1" fmla="*/ 404037 h 404037"/>
                <a:gd name="connsiteX2" fmla="*/ 1935126 w 2275368"/>
                <a:gd name="connsiteY2" fmla="*/ 404037 h 404037"/>
                <a:gd name="connsiteX3" fmla="*/ 2275368 w 2275368"/>
                <a:gd name="connsiteY3" fmla="*/ 21265 h 404037"/>
              </a:gdLst>
              <a:ahLst/>
              <a:cxnLst>
                <a:cxn ang="0">
                  <a:pos x="connsiteX0" y="connsiteY0"/>
                </a:cxn>
                <a:cxn ang="0">
                  <a:pos x="connsiteX1" y="connsiteY1"/>
                </a:cxn>
                <a:cxn ang="0">
                  <a:pos x="connsiteX2" y="connsiteY2"/>
                </a:cxn>
                <a:cxn ang="0">
                  <a:pos x="connsiteX3" y="connsiteY3"/>
                </a:cxn>
              </a:cxnLst>
              <a:rect l="l" t="t" r="r" b="b"/>
              <a:pathLst>
                <a:path w="2275368" h="404037">
                  <a:moveTo>
                    <a:pt x="0" y="0"/>
                  </a:moveTo>
                  <a:lnTo>
                    <a:pt x="446568" y="404037"/>
                  </a:lnTo>
                  <a:lnTo>
                    <a:pt x="1935126" y="404037"/>
                  </a:lnTo>
                  <a:lnTo>
                    <a:pt x="2275368" y="21265"/>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sp>
          <p:nvSpPr>
            <p:cNvPr id="144" name="Freeform 143"/>
            <p:cNvSpPr/>
            <p:nvPr/>
          </p:nvSpPr>
          <p:spPr bwMode="auto">
            <a:xfrm>
              <a:off x="5367965" y="4413123"/>
              <a:ext cx="1176680" cy="223163"/>
            </a:xfrm>
            <a:custGeom>
              <a:avLst/>
              <a:gdLst>
                <a:gd name="connsiteX0" fmla="*/ 0 w 3700130"/>
                <a:gd name="connsiteY0" fmla="*/ 0 h 701748"/>
                <a:gd name="connsiteX1" fmla="*/ 0 w 3700130"/>
                <a:gd name="connsiteY1" fmla="*/ 701748 h 701748"/>
                <a:gd name="connsiteX2" fmla="*/ 3551274 w 3700130"/>
                <a:gd name="connsiteY2" fmla="*/ 701748 h 701748"/>
                <a:gd name="connsiteX3" fmla="*/ 3700130 w 3700130"/>
                <a:gd name="connsiteY3" fmla="*/ 574158 h 701748"/>
              </a:gdLst>
              <a:ahLst/>
              <a:cxnLst>
                <a:cxn ang="0">
                  <a:pos x="connsiteX0" y="connsiteY0"/>
                </a:cxn>
                <a:cxn ang="0">
                  <a:pos x="connsiteX1" y="connsiteY1"/>
                </a:cxn>
                <a:cxn ang="0">
                  <a:pos x="connsiteX2" y="connsiteY2"/>
                </a:cxn>
                <a:cxn ang="0">
                  <a:pos x="connsiteX3" y="connsiteY3"/>
                </a:cxn>
              </a:cxnLst>
              <a:rect l="l" t="t" r="r" b="b"/>
              <a:pathLst>
                <a:path w="3700130" h="701748">
                  <a:moveTo>
                    <a:pt x="0" y="0"/>
                  </a:moveTo>
                  <a:lnTo>
                    <a:pt x="0" y="701748"/>
                  </a:lnTo>
                  <a:lnTo>
                    <a:pt x="3551274" y="701748"/>
                  </a:lnTo>
                  <a:lnTo>
                    <a:pt x="3700130" y="574158"/>
                  </a:lnTo>
                </a:path>
              </a:pathLst>
            </a:custGeom>
            <a:noFill/>
            <a:ln w="41275">
              <a:solidFill>
                <a:schemeClr val="tx2">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a:p>
          </p:txBody>
        </p:sp>
      </p:grpSp>
      <p:grpSp>
        <p:nvGrpSpPr>
          <p:cNvPr id="145" name="Group 144"/>
          <p:cNvGrpSpPr/>
          <p:nvPr/>
        </p:nvGrpSpPr>
        <p:grpSpPr>
          <a:xfrm>
            <a:off x="4058454" y="3441869"/>
            <a:ext cx="5421568" cy="1358892"/>
            <a:chOff x="2616512" y="3235470"/>
            <a:chExt cx="5421568" cy="1358892"/>
          </a:xfrm>
          <a:solidFill>
            <a:schemeClr val="bg1"/>
          </a:solidFill>
        </p:grpSpPr>
        <p:sp>
          <p:nvSpPr>
            <p:cNvPr id="146" name="Freeform 145"/>
            <p:cNvSpPr>
              <a:spLocks noChangeAspect="1" noEditPoints="1"/>
            </p:cNvSpPr>
            <p:nvPr/>
          </p:nvSpPr>
          <p:spPr bwMode="auto">
            <a:xfrm>
              <a:off x="5734989" y="3236376"/>
              <a:ext cx="194488" cy="243681"/>
            </a:xfrm>
            <a:custGeom>
              <a:avLst/>
              <a:gdLst>
                <a:gd name="T0" fmla="*/ 91 w 162"/>
                <a:gd name="T1" fmla="*/ 100 h 203"/>
                <a:gd name="T2" fmla="*/ 128 w 162"/>
                <a:gd name="T3" fmla="*/ 203 h 203"/>
                <a:gd name="T4" fmla="*/ 108 w 162"/>
                <a:gd name="T5" fmla="*/ 203 h 203"/>
                <a:gd name="T6" fmla="*/ 81 w 162"/>
                <a:gd name="T7" fmla="*/ 180 h 203"/>
                <a:gd name="T8" fmla="*/ 54 w 162"/>
                <a:gd name="T9" fmla="*/ 203 h 203"/>
                <a:gd name="T10" fmla="*/ 34 w 162"/>
                <a:gd name="T11" fmla="*/ 203 h 203"/>
                <a:gd name="T12" fmla="*/ 71 w 162"/>
                <a:gd name="T13" fmla="*/ 100 h 203"/>
                <a:gd name="T14" fmla="*/ 64 w 162"/>
                <a:gd name="T15" fmla="*/ 86 h 203"/>
                <a:gd name="T16" fmla="*/ 81 w 162"/>
                <a:gd name="T17" fmla="*/ 69 h 203"/>
                <a:gd name="T18" fmla="*/ 98 w 162"/>
                <a:gd name="T19" fmla="*/ 86 h 203"/>
                <a:gd name="T20" fmla="*/ 91 w 162"/>
                <a:gd name="T21" fmla="*/ 100 h 203"/>
                <a:gd name="T22" fmla="*/ 81 w 162"/>
                <a:gd name="T23" fmla="*/ 34 h 203"/>
                <a:gd name="T24" fmla="*/ 130 w 162"/>
                <a:gd name="T25" fmla="*/ 83 h 203"/>
                <a:gd name="T26" fmla="*/ 107 w 162"/>
                <a:gd name="T27" fmla="*/ 123 h 203"/>
                <a:gd name="T28" fmla="*/ 106 w 162"/>
                <a:gd name="T29" fmla="*/ 117 h 203"/>
                <a:gd name="T30" fmla="*/ 121 w 162"/>
                <a:gd name="T31" fmla="*/ 86 h 203"/>
                <a:gd name="T32" fmla="*/ 81 w 162"/>
                <a:gd name="T33" fmla="*/ 47 h 203"/>
                <a:gd name="T34" fmla="*/ 42 w 162"/>
                <a:gd name="T35" fmla="*/ 86 h 203"/>
                <a:gd name="T36" fmla="*/ 56 w 162"/>
                <a:gd name="T37" fmla="*/ 117 h 203"/>
                <a:gd name="T38" fmla="*/ 55 w 162"/>
                <a:gd name="T39" fmla="*/ 123 h 203"/>
                <a:gd name="T40" fmla="*/ 33 w 162"/>
                <a:gd name="T41" fmla="*/ 83 h 203"/>
                <a:gd name="T42" fmla="*/ 81 w 162"/>
                <a:gd name="T43" fmla="*/ 34 h 203"/>
                <a:gd name="T44" fmla="*/ 81 w 162"/>
                <a:gd name="T45" fmla="*/ 0 h 203"/>
                <a:gd name="T46" fmla="*/ 162 w 162"/>
                <a:gd name="T47" fmla="*/ 81 h 203"/>
                <a:gd name="T48" fmla="*/ 118 w 162"/>
                <a:gd name="T49" fmla="*/ 154 h 203"/>
                <a:gd name="T50" fmla="*/ 115 w 162"/>
                <a:gd name="T51" fmla="*/ 148 h 203"/>
                <a:gd name="T52" fmla="*/ 153 w 162"/>
                <a:gd name="T53" fmla="*/ 85 h 203"/>
                <a:gd name="T54" fmla="*/ 81 w 162"/>
                <a:gd name="T55" fmla="*/ 13 h 203"/>
                <a:gd name="T56" fmla="*/ 10 w 162"/>
                <a:gd name="T57" fmla="*/ 85 h 203"/>
                <a:gd name="T58" fmla="*/ 47 w 162"/>
                <a:gd name="T59" fmla="*/ 148 h 203"/>
                <a:gd name="T60" fmla="*/ 45 w 162"/>
                <a:gd name="T61" fmla="*/ 154 h 203"/>
                <a:gd name="T62" fmla="*/ 0 w 162"/>
                <a:gd name="T63" fmla="*/ 81 h 203"/>
                <a:gd name="T64" fmla="*/ 81 w 162"/>
                <a:gd name="T65" fmla="*/ 0 h 203"/>
                <a:gd name="T66" fmla="*/ 81 w 162"/>
                <a:gd name="T67" fmla="*/ 124 h 203"/>
                <a:gd name="T68" fmla="*/ 89 w 162"/>
                <a:gd name="T69" fmla="*/ 132 h 203"/>
                <a:gd name="T70" fmla="*/ 81 w 162"/>
                <a:gd name="T71" fmla="*/ 139 h 203"/>
                <a:gd name="T72" fmla="*/ 73 w 162"/>
                <a:gd name="T73" fmla="*/ 132 h 203"/>
                <a:gd name="T74" fmla="*/ 81 w 162"/>
                <a:gd name="T75" fmla="*/ 124 h 203"/>
                <a:gd name="T76" fmla="*/ 81 w 162"/>
                <a:gd name="T77" fmla="*/ 171 h 203"/>
                <a:gd name="T78" fmla="*/ 95 w 162"/>
                <a:gd name="T79" fmla="*/ 160 h 203"/>
                <a:gd name="T80" fmla="*/ 81 w 162"/>
                <a:gd name="T81" fmla="*/ 149 h 203"/>
                <a:gd name="T82" fmla="*/ 68 w 162"/>
                <a:gd name="T83" fmla="*/ 160 h 203"/>
                <a:gd name="T84" fmla="*/ 81 w 162"/>
                <a:gd name="T85" fmla="*/ 171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2" h="203">
                  <a:moveTo>
                    <a:pt x="91" y="100"/>
                  </a:moveTo>
                  <a:cubicBezTo>
                    <a:pt x="98" y="144"/>
                    <a:pt x="114" y="181"/>
                    <a:pt x="128" y="203"/>
                  </a:cubicBezTo>
                  <a:cubicBezTo>
                    <a:pt x="108" y="203"/>
                    <a:pt x="108" y="203"/>
                    <a:pt x="108" y="203"/>
                  </a:cubicBezTo>
                  <a:cubicBezTo>
                    <a:pt x="108" y="190"/>
                    <a:pt x="100" y="180"/>
                    <a:pt x="81" y="180"/>
                  </a:cubicBezTo>
                  <a:cubicBezTo>
                    <a:pt x="63" y="180"/>
                    <a:pt x="55" y="190"/>
                    <a:pt x="54" y="203"/>
                  </a:cubicBezTo>
                  <a:cubicBezTo>
                    <a:pt x="34" y="203"/>
                    <a:pt x="34" y="203"/>
                    <a:pt x="34" y="203"/>
                  </a:cubicBezTo>
                  <a:cubicBezTo>
                    <a:pt x="49" y="181"/>
                    <a:pt x="64" y="144"/>
                    <a:pt x="71" y="100"/>
                  </a:cubicBezTo>
                  <a:cubicBezTo>
                    <a:pt x="67" y="97"/>
                    <a:pt x="64" y="92"/>
                    <a:pt x="64" y="86"/>
                  </a:cubicBezTo>
                  <a:cubicBezTo>
                    <a:pt x="64" y="77"/>
                    <a:pt x="72" y="69"/>
                    <a:pt x="81" y="69"/>
                  </a:cubicBezTo>
                  <a:cubicBezTo>
                    <a:pt x="91" y="69"/>
                    <a:pt x="98" y="77"/>
                    <a:pt x="98" y="86"/>
                  </a:cubicBezTo>
                  <a:cubicBezTo>
                    <a:pt x="98" y="92"/>
                    <a:pt x="96" y="97"/>
                    <a:pt x="91" y="100"/>
                  </a:cubicBezTo>
                  <a:close/>
                  <a:moveTo>
                    <a:pt x="81" y="34"/>
                  </a:moveTo>
                  <a:cubicBezTo>
                    <a:pt x="108" y="34"/>
                    <a:pt x="130" y="56"/>
                    <a:pt x="130" y="83"/>
                  </a:cubicBezTo>
                  <a:cubicBezTo>
                    <a:pt x="130" y="100"/>
                    <a:pt x="121" y="115"/>
                    <a:pt x="107" y="123"/>
                  </a:cubicBezTo>
                  <a:cubicBezTo>
                    <a:pt x="107" y="121"/>
                    <a:pt x="106" y="119"/>
                    <a:pt x="106" y="117"/>
                  </a:cubicBezTo>
                  <a:cubicBezTo>
                    <a:pt x="115" y="110"/>
                    <a:pt x="121" y="99"/>
                    <a:pt x="121" y="86"/>
                  </a:cubicBezTo>
                  <a:cubicBezTo>
                    <a:pt x="121" y="64"/>
                    <a:pt x="103" y="47"/>
                    <a:pt x="81" y="47"/>
                  </a:cubicBezTo>
                  <a:cubicBezTo>
                    <a:pt x="59" y="47"/>
                    <a:pt x="42" y="64"/>
                    <a:pt x="42" y="86"/>
                  </a:cubicBezTo>
                  <a:cubicBezTo>
                    <a:pt x="42" y="99"/>
                    <a:pt x="47" y="110"/>
                    <a:pt x="56" y="117"/>
                  </a:cubicBezTo>
                  <a:cubicBezTo>
                    <a:pt x="56" y="119"/>
                    <a:pt x="55" y="121"/>
                    <a:pt x="55" y="123"/>
                  </a:cubicBezTo>
                  <a:cubicBezTo>
                    <a:pt x="42" y="115"/>
                    <a:pt x="33" y="100"/>
                    <a:pt x="33" y="83"/>
                  </a:cubicBezTo>
                  <a:cubicBezTo>
                    <a:pt x="33" y="56"/>
                    <a:pt x="54" y="34"/>
                    <a:pt x="81" y="34"/>
                  </a:cubicBezTo>
                  <a:close/>
                  <a:moveTo>
                    <a:pt x="81" y="0"/>
                  </a:moveTo>
                  <a:cubicBezTo>
                    <a:pt x="126" y="0"/>
                    <a:pt x="162" y="37"/>
                    <a:pt x="162" y="81"/>
                  </a:cubicBezTo>
                  <a:cubicBezTo>
                    <a:pt x="162" y="113"/>
                    <a:pt x="144" y="141"/>
                    <a:pt x="118" y="154"/>
                  </a:cubicBezTo>
                  <a:cubicBezTo>
                    <a:pt x="117" y="152"/>
                    <a:pt x="116" y="150"/>
                    <a:pt x="115" y="148"/>
                  </a:cubicBezTo>
                  <a:cubicBezTo>
                    <a:pt x="138" y="136"/>
                    <a:pt x="153" y="112"/>
                    <a:pt x="153" y="85"/>
                  </a:cubicBezTo>
                  <a:cubicBezTo>
                    <a:pt x="153" y="45"/>
                    <a:pt x="121" y="13"/>
                    <a:pt x="81" y="13"/>
                  </a:cubicBezTo>
                  <a:cubicBezTo>
                    <a:pt x="42" y="13"/>
                    <a:pt x="10" y="45"/>
                    <a:pt x="10" y="85"/>
                  </a:cubicBezTo>
                  <a:cubicBezTo>
                    <a:pt x="10" y="112"/>
                    <a:pt x="25" y="136"/>
                    <a:pt x="47" y="148"/>
                  </a:cubicBezTo>
                  <a:cubicBezTo>
                    <a:pt x="46" y="150"/>
                    <a:pt x="46" y="152"/>
                    <a:pt x="45" y="154"/>
                  </a:cubicBezTo>
                  <a:cubicBezTo>
                    <a:pt x="18" y="141"/>
                    <a:pt x="0" y="113"/>
                    <a:pt x="0" y="81"/>
                  </a:cubicBezTo>
                  <a:cubicBezTo>
                    <a:pt x="0" y="37"/>
                    <a:pt x="36" y="0"/>
                    <a:pt x="81" y="0"/>
                  </a:cubicBezTo>
                  <a:close/>
                  <a:moveTo>
                    <a:pt x="81" y="124"/>
                  </a:moveTo>
                  <a:cubicBezTo>
                    <a:pt x="87" y="124"/>
                    <a:pt x="89" y="128"/>
                    <a:pt x="89" y="132"/>
                  </a:cubicBezTo>
                  <a:cubicBezTo>
                    <a:pt x="89" y="135"/>
                    <a:pt x="87" y="139"/>
                    <a:pt x="81" y="139"/>
                  </a:cubicBezTo>
                  <a:cubicBezTo>
                    <a:pt x="75" y="139"/>
                    <a:pt x="73" y="135"/>
                    <a:pt x="73" y="132"/>
                  </a:cubicBezTo>
                  <a:cubicBezTo>
                    <a:pt x="73" y="128"/>
                    <a:pt x="75" y="124"/>
                    <a:pt x="81" y="124"/>
                  </a:cubicBezTo>
                  <a:close/>
                  <a:moveTo>
                    <a:pt x="81" y="171"/>
                  </a:moveTo>
                  <a:cubicBezTo>
                    <a:pt x="91" y="171"/>
                    <a:pt x="95" y="166"/>
                    <a:pt x="95" y="160"/>
                  </a:cubicBezTo>
                  <a:cubicBezTo>
                    <a:pt x="95" y="154"/>
                    <a:pt x="91" y="149"/>
                    <a:pt x="81" y="149"/>
                  </a:cubicBezTo>
                  <a:cubicBezTo>
                    <a:pt x="71" y="149"/>
                    <a:pt x="68" y="154"/>
                    <a:pt x="68" y="160"/>
                  </a:cubicBezTo>
                  <a:cubicBezTo>
                    <a:pt x="68" y="166"/>
                    <a:pt x="71" y="171"/>
                    <a:pt x="81" y="17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chemeClr val="accent2"/>
                </a:solidFill>
              </a:endParaRPr>
            </a:p>
          </p:txBody>
        </p:sp>
        <p:sp>
          <p:nvSpPr>
            <p:cNvPr id="147" name="Rectangle 105"/>
            <p:cNvSpPr>
              <a:spLocks noChangeAspect="1"/>
            </p:cNvSpPr>
            <p:nvPr/>
          </p:nvSpPr>
          <p:spPr bwMode="auto">
            <a:xfrm>
              <a:off x="6360624" y="3351594"/>
              <a:ext cx="314792" cy="243681"/>
            </a:xfrm>
            <a:custGeom>
              <a:avLst/>
              <a:gdLst/>
              <a:ahLst/>
              <a:cxnLst/>
              <a:rect l="l" t="t" r="r" b="b"/>
              <a:pathLst>
                <a:path w="4577581" h="3544438">
                  <a:moveTo>
                    <a:pt x="147597" y="2112675"/>
                  </a:moveTo>
                  <a:lnTo>
                    <a:pt x="147597" y="3391715"/>
                  </a:lnTo>
                  <a:lnTo>
                    <a:pt x="1452503" y="3391715"/>
                  </a:lnTo>
                  <a:lnTo>
                    <a:pt x="1452503" y="2112675"/>
                  </a:lnTo>
                  <a:close/>
                  <a:moveTo>
                    <a:pt x="2285892" y="1979339"/>
                  </a:moveTo>
                  <a:cubicBezTo>
                    <a:pt x="2285575" y="2296779"/>
                    <a:pt x="2285005" y="2615641"/>
                    <a:pt x="2283511" y="2941940"/>
                  </a:cubicBezTo>
                  <a:lnTo>
                    <a:pt x="2621785" y="2941940"/>
                  </a:lnTo>
                  <a:lnTo>
                    <a:pt x="2621785" y="1979339"/>
                  </a:lnTo>
                  <a:close/>
                  <a:moveTo>
                    <a:pt x="3191380" y="1953653"/>
                  </a:moveTo>
                  <a:cubicBezTo>
                    <a:pt x="3191135" y="2205346"/>
                    <a:pt x="3190634" y="2458747"/>
                    <a:pt x="3189242" y="2719130"/>
                  </a:cubicBezTo>
                  <a:lnTo>
                    <a:pt x="3358797" y="2719130"/>
                  </a:lnTo>
                  <a:lnTo>
                    <a:pt x="3358797" y="1953653"/>
                  </a:lnTo>
                  <a:close/>
                  <a:moveTo>
                    <a:pt x="3764347" y="1867915"/>
                  </a:moveTo>
                  <a:cubicBezTo>
                    <a:pt x="3764188" y="2062191"/>
                    <a:pt x="3763908" y="2257318"/>
                    <a:pt x="3763023" y="2457145"/>
                  </a:cubicBezTo>
                  <a:lnTo>
                    <a:pt x="3970564" y="2457145"/>
                  </a:lnTo>
                  <a:lnTo>
                    <a:pt x="3970564" y="1867915"/>
                  </a:lnTo>
                  <a:close/>
                  <a:moveTo>
                    <a:pt x="147597" y="1784055"/>
                  </a:moveTo>
                  <a:lnTo>
                    <a:pt x="147597" y="2025570"/>
                  </a:lnTo>
                  <a:lnTo>
                    <a:pt x="1452503" y="2025570"/>
                  </a:lnTo>
                  <a:lnTo>
                    <a:pt x="1452503" y="1784055"/>
                  </a:lnTo>
                  <a:close/>
                  <a:moveTo>
                    <a:pt x="4228653" y="1778151"/>
                  </a:moveTo>
                  <a:cubicBezTo>
                    <a:pt x="4228556" y="1922149"/>
                    <a:pt x="4228402" y="2066609"/>
                    <a:pt x="4227899" y="2214181"/>
                  </a:cubicBezTo>
                  <a:lnTo>
                    <a:pt x="4361222" y="2214181"/>
                  </a:lnTo>
                  <a:lnTo>
                    <a:pt x="4361222" y="1778151"/>
                  </a:lnTo>
                  <a:close/>
                  <a:moveTo>
                    <a:pt x="3191663" y="1756981"/>
                  </a:moveTo>
                  <a:lnTo>
                    <a:pt x="3191455" y="1901522"/>
                  </a:lnTo>
                  <a:lnTo>
                    <a:pt x="3358797" y="1901522"/>
                  </a:lnTo>
                  <a:lnTo>
                    <a:pt x="3358797" y="1756981"/>
                  </a:lnTo>
                  <a:close/>
                  <a:moveTo>
                    <a:pt x="2286284" y="1732021"/>
                  </a:moveTo>
                  <a:cubicBezTo>
                    <a:pt x="2286204" y="1792600"/>
                    <a:pt x="2286135" y="1853174"/>
                    <a:pt x="2285996" y="1913784"/>
                  </a:cubicBezTo>
                  <a:lnTo>
                    <a:pt x="2621785" y="1913784"/>
                  </a:lnTo>
                  <a:lnTo>
                    <a:pt x="2621785" y="1732021"/>
                  </a:lnTo>
                  <a:close/>
                  <a:moveTo>
                    <a:pt x="3764542" y="1716526"/>
                  </a:moveTo>
                  <a:cubicBezTo>
                    <a:pt x="3764499" y="1753609"/>
                    <a:pt x="3764465" y="1790688"/>
                    <a:pt x="3764399" y="1827787"/>
                  </a:cubicBezTo>
                  <a:lnTo>
                    <a:pt x="3970564" y="1827787"/>
                  </a:lnTo>
                  <a:lnTo>
                    <a:pt x="3970564" y="1716526"/>
                  </a:lnTo>
                  <a:close/>
                  <a:moveTo>
                    <a:pt x="4228772" y="1666123"/>
                  </a:moveTo>
                  <a:cubicBezTo>
                    <a:pt x="4228740" y="1693569"/>
                    <a:pt x="4228720" y="1721008"/>
                    <a:pt x="4228685" y="1748456"/>
                  </a:cubicBezTo>
                  <a:lnTo>
                    <a:pt x="4361222" y="1748456"/>
                  </a:lnTo>
                  <a:lnTo>
                    <a:pt x="4361222" y="1666123"/>
                  </a:lnTo>
                  <a:close/>
                  <a:moveTo>
                    <a:pt x="3764736" y="1565137"/>
                  </a:moveTo>
                  <a:lnTo>
                    <a:pt x="3764593" y="1676398"/>
                  </a:lnTo>
                  <a:lnTo>
                    <a:pt x="3970564" y="1676398"/>
                  </a:lnTo>
                  <a:lnTo>
                    <a:pt x="3970564" y="1565137"/>
                  </a:lnTo>
                  <a:close/>
                  <a:moveTo>
                    <a:pt x="3191945" y="1560310"/>
                  </a:moveTo>
                  <a:lnTo>
                    <a:pt x="3191738" y="1704850"/>
                  </a:lnTo>
                  <a:lnTo>
                    <a:pt x="3358797" y="1704850"/>
                  </a:lnTo>
                  <a:lnTo>
                    <a:pt x="3358797" y="1560310"/>
                  </a:lnTo>
                  <a:close/>
                  <a:moveTo>
                    <a:pt x="4228892" y="1554095"/>
                  </a:moveTo>
                  <a:lnTo>
                    <a:pt x="4228804" y="1636428"/>
                  </a:lnTo>
                  <a:lnTo>
                    <a:pt x="4361222" y="1636428"/>
                  </a:lnTo>
                  <a:lnTo>
                    <a:pt x="4361222" y="1554095"/>
                  </a:lnTo>
                  <a:close/>
                  <a:moveTo>
                    <a:pt x="2286675" y="1484703"/>
                  </a:moveTo>
                  <a:lnTo>
                    <a:pt x="2286387" y="1666466"/>
                  </a:lnTo>
                  <a:lnTo>
                    <a:pt x="2621785" y="1666466"/>
                  </a:lnTo>
                  <a:lnTo>
                    <a:pt x="2621785" y="1484703"/>
                  </a:lnTo>
                  <a:close/>
                  <a:moveTo>
                    <a:pt x="147597" y="1455436"/>
                  </a:moveTo>
                  <a:lnTo>
                    <a:pt x="147597" y="1696950"/>
                  </a:lnTo>
                  <a:lnTo>
                    <a:pt x="1452503" y="1696950"/>
                  </a:lnTo>
                  <a:lnTo>
                    <a:pt x="1452503" y="1455436"/>
                  </a:lnTo>
                  <a:close/>
                  <a:moveTo>
                    <a:pt x="4229011" y="1442067"/>
                  </a:moveTo>
                  <a:lnTo>
                    <a:pt x="4228923" y="1524400"/>
                  </a:lnTo>
                  <a:lnTo>
                    <a:pt x="4361222" y="1524400"/>
                  </a:lnTo>
                  <a:lnTo>
                    <a:pt x="4361222" y="1442067"/>
                  </a:lnTo>
                  <a:close/>
                  <a:moveTo>
                    <a:pt x="3764931" y="1413748"/>
                  </a:moveTo>
                  <a:lnTo>
                    <a:pt x="3764788" y="1525009"/>
                  </a:lnTo>
                  <a:lnTo>
                    <a:pt x="3970564" y="1525009"/>
                  </a:lnTo>
                  <a:lnTo>
                    <a:pt x="3970564" y="1413748"/>
                  </a:lnTo>
                  <a:close/>
                  <a:moveTo>
                    <a:pt x="3192228" y="1363638"/>
                  </a:moveTo>
                  <a:lnTo>
                    <a:pt x="3192020" y="1508179"/>
                  </a:lnTo>
                  <a:lnTo>
                    <a:pt x="3358797" y="1508179"/>
                  </a:lnTo>
                  <a:lnTo>
                    <a:pt x="3358797" y="1363638"/>
                  </a:lnTo>
                  <a:close/>
                  <a:moveTo>
                    <a:pt x="4229187" y="1330039"/>
                  </a:moveTo>
                  <a:cubicBezTo>
                    <a:pt x="4229102" y="1357559"/>
                    <a:pt x="4229059" y="1384997"/>
                    <a:pt x="4229042" y="1412372"/>
                  </a:cubicBezTo>
                  <a:lnTo>
                    <a:pt x="4361222" y="1412372"/>
                  </a:lnTo>
                  <a:lnTo>
                    <a:pt x="4361222" y="1330039"/>
                  </a:lnTo>
                  <a:close/>
                  <a:moveTo>
                    <a:pt x="3765200" y="1262359"/>
                  </a:moveTo>
                  <a:cubicBezTo>
                    <a:pt x="3765074" y="1299549"/>
                    <a:pt x="3765005" y="1336628"/>
                    <a:pt x="3764983" y="1373620"/>
                  </a:cubicBezTo>
                  <a:lnTo>
                    <a:pt x="3970564" y="1373620"/>
                  </a:lnTo>
                  <a:lnTo>
                    <a:pt x="3970564" y="1262359"/>
                  </a:lnTo>
                  <a:close/>
                  <a:moveTo>
                    <a:pt x="2287066" y="1237385"/>
                  </a:moveTo>
                  <a:lnTo>
                    <a:pt x="2286779" y="1419148"/>
                  </a:lnTo>
                  <a:lnTo>
                    <a:pt x="2621785" y="1419148"/>
                  </a:lnTo>
                  <a:lnTo>
                    <a:pt x="2621785" y="1237385"/>
                  </a:lnTo>
                  <a:close/>
                  <a:moveTo>
                    <a:pt x="4229495" y="1218011"/>
                  </a:moveTo>
                  <a:lnTo>
                    <a:pt x="4229268" y="1300344"/>
                  </a:lnTo>
                  <a:lnTo>
                    <a:pt x="4361222" y="1300344"/>
                  </a:lnTo>
                  <a:lnTo>
                    <a:pt x="4361222" y="1218011"/>
                  </a:lnTo>
                  <a:close/>
                  <a:moveTo>
                    <a:pt x="3192511" y="1166966"/>
                  </a:moveTo>
                  <a:lnTo>
                    <a:pt x="3192303" y="1311507"/>
                  </a:lnTo>
                  <a:lnTo>
                    <a:pt x="3358797" y="1311507"/>
                  </a:lnTo>
                  <a:lnTo>
                    <a:pt x="3358797" y="1166966"/>
                  </a:lnTo>
                  <a:close/>
                  <a:moveTo>
                    <a:pt x="147597" y="1126816"/>
                  </a:moveTo>
                  <a:lnTo>
                    <a:pt x="147597" y="1368331"/>
                  </a:lnTo>
                  <a:lnTo>
                    <a:pt x="1452503" y="1368331"/>
                  </a:lnTo>
                  <a:lnTo>
                    <a:pt x="1452503" y="1126816"/>
                  </a:lnTo>
                  <a:close/>
                  <a:moveTo>
                    <a:pt x="3765703" y="1110970"/>
                  </a:moveTo>
                  <a:lnTo>
                    <a:pt x="3765333" y="1222231"/>
                  </a:lnTo>
                  <a:lnTo>
                    <a:pt x="3970564" y="1222231"/>
                  </a:lnTo>
                  <a:lnTo>
                    <a:pt x="3970564" y="1110970"/>
                  </a:lnTo>
                  <a:close/>
                  <a:moveTo>
                    <a:pt x="4229803" y="1105983"/>
                  </a:moveTo>
                  <a:lnTo>
                    <a:pt x="4229576" y="1188317"/>
                  </a:lnTo>
                  <a:lnTo>
                    <a:pt x="4361222" y="1188317"/>
                  </a:lnTo>
                  <a:lnTo>
                    <a:pt x="4361222" y="1105983"/>
                  </a:lnTo>
                  <a:close/>
                  <a:moveTo>
                    <a:pt x="2287502" y="990067"/>
                  </a:moveTo>
                  <a:cubicBezTo>
                    <a:pt x="2287329" y="1050814"/>
                    <a:pt x="2287196" y="1111388"/>
                    <a:pt x="2287170" y="1171830"/>
                  </a:cubicBezTo>
                  <a:lnTo>
                    <a:pt x="2621785" y="1171830"/>
                  </a:lnTo>
                  <a:lnTo>
                    <a:pt x="2621785" y="990067"/>
                  </a:lnTo>
                  <a:close/>
                  <a:moveTo>
                    <a:pt x="3193216" y="970294"/>
                  </a:moveTo>
                  <a:lnTo>
                    <a:pt x="3192679" y="1114835"/>
                  </a:lnTo>
                  <a:lnTo>
                    <a:pt x="3358797" y="1114835"/>
                  </a:lnTo>
                  <a:lnTo>
                    <a:pt x="3358797" y="970294"/>
                  </a:lnTo>
                  <a:close/>
                  <a:moveTo>
                    <a:pt x="3766207" y="959581"/>
                  </a:moveTo>
                  <a:lnTo>
                    <a:pt x="3765837" y="1070842"/>
                  </a:lnTo>
                  <a:lnTo>
                    <a:pt x="3970564" y="1070842"/>
                  </a:lnTo>
                  <a:lnTo>
                    <a:pt x="3970564" y="959581"/>
                  </a:lnTo>
                  <a:close/>
                  <a:moveTo>
                    <a:pt x="147597" y="798197"/>
                  </a:moveTo>
                  <a:lnTo>
                    <a:pt x="147597" y="1039711"/>
                  </a:lnTo>
                  <a:lnTo>
                    <a:pt x="1452503" y="1039711"/>
                  </a:lnTo>
                  <a:lnTo>
                    <a:pt x="1452503" y="798197"/>
                  </a:lnTo>
                  <a:close/>
                  <a:moveTo>
                    <a:pt x="3193946" y="773623"/>
                  </a:moveTo>
                  <a:lnTo>
                    <a:pt x="3193409" y="918164"/>
                  </a:lnTo>
                  <a:lnTo>
                    <a:pt x="3358797" y="918164"/>
                  </a:lnTo>
                  <a:lnTo>
                    <a:pt x="3358797" y="773623"/>
                  </a:lnTo>
                  <a:close/>
                  <a:moveTo>
                    <a:pt x="2288285" y="742749"/>
                  </a:moveTo>
                  <a:lnTo>
                    <a:pt x="2287710" y="924512"/>
                  </a:lnTo>
                  <a:lnTo>
                    <a:pt x="2621785" y="924512"/>
                  </a:lnTo>
                  <a:lnTo>
                    <a:pt x="2621785" y="742749"/>
                  </a:lnTo>
                  <a:close/>
                  <a:moveTo>
                    <a:pt x="2289342" y="495431"/>
                  </a:moveTo>
                  <a:cubicBezTo>
                    <a:pt x="2288957" y="556278"/>
                    <a:pt x="2288699" y="616852"/>
                    <a:pt x="2288492" y="677194"/>
                  </a:cubicBezTo>
                  <a:lnTo>
                    <a:pt x="2621785" y="677194"/>
                  </a:lnTo>
                  <a:lnTo>
                    <a:pt x="2621785" y="495431"/>
                  </a:lnTo>
                  <a:close/>
                  <a:moveTo>
                    <a:pt x="147597" y="469577"/>
                  </a:moveTo>
                  <a:lnTo>
                    <a:pt x="147597" y="711091"/>
                  </a:lnTo>
                  <a:lnTo>
                    <a:pt x="1452503" y="711091"/>
                  </a:lnTo>
                  <a:lnTo>
                    <a:pt x="1452503" y="469577"/>
                  </a:lnTo>
                  <a:close/>
                  <a:moveTo>
                    <a:pt x="147597" y="140958"/>
                  </a:moveTo>
                  <a:lnTo>
                    <a:pt x="147597" y="382472"/>
                  </a:lnTo>
                  <a:lnTo>
                    <a:pt x="1452503" y="382472"/>
                  </a:lnTo>
                  <a:lnTo>
                    <a:pt x="1452503" y="140958"/>
                  </a:lnTo>
                  <a:close/>
                  <a:moveTo>
                    <a:pt x="1522088" y="137"/>
                  </a:moveTo>
                  <a:cubicBezTo>
                    <a:pt x="1523433" y="2421"/>
                    <a:pt x="1526034" y="32164"/>
                    <a:pt x="1525754" y="6990"/>
                  </a:cubicBezTo>
                  <a:lnTo>
                    <a:pt x="2290491" y="265714"/>
                  </a:lnTo>
                  <a:lnTo>
                    <a:pt x="2289835" y="396916"/>
                  </a:lnTo>
                  <a:lnTo>
                    <a:pt x="2668824" y="396916"/>
                  </a:lnTo>
                  <a:lnTo>
                    <a:pt x="2669354" y="389450"/>
                  </a:lnTo>
                  <a:cubicBezTo>
                    <a:pt x="2670273" y="391169"/>
                    <a:pt x="2672051" y="413554"/>
                    <a:pt x="2671860" y="394607"/>
                  </a:cubicBezTo>
                  <a:lnTo>
                    <a:pt x="3194631" y="589322"/>
                  </a:lnTo>
                  <a:lnTo>
                    <a:pt x="3194237" y="695282"/>
                  </a:lnTo>
                  <a:lnTo>
                    <a:pt x="3392281" y="695282"/>
                  </a:lnTo>
                  <a:lnTo>
                    <a:pt x="3392658" y="689345"/>
                  </a:lnTo>
                  <a:cubicBezTo>
                    <a:pt x="3393313" y="690712"/>
                    <a:pt x="3394579" y="708512"/>
                    <a:pt x="3394442" y="693446"/>
                  </a:cubicBezTo>
                  <a:lnTo>
                    <a:pt x="3766577" y="848287"/>
                  </a:lnTo>
                  <a:lnTo>
                    <a:pt x="3766415" y="896895"/>
                  </a:lnTo>
                  <a:lnTo>
                    <a:pt x="3992111" y="894707"/>
                  </a:lnTo>
                  <a:cubicBezTo>
                    <a:pt x="3992527" y="895759"/>
                    <a:pt x="3993332" y="909462"/>
                    <a:pt x="3993246" y="897864"/>
                  </a:cubicBezTo>
                  <a:lnTo>
                    <a:pt x="4230047" y="1017053"/>
                  </a:lnTo>
                  <a:lnTo>
                    <a:pt x="4229925" y="1061359"/>
                  </a:lnTo>
                  <a:lnTo>
                    <a:pt x="4378988" y="1061359"/>
                  </a:lnTo>
                  <a:cubicBezTo>
                    <a:pt x="4380140" y="1061052"/>
                    <a:pt x="4380138" y="1060702"/>
                    <a:pt x="4380135" y="1060313"/>
                  </a:cubicBezTo>
                  <a:lnTo>
                    <a:pt x="4577581" y="1148513"/>
                  </a:lnTo>
                  <a:cubicBezTo>
                    <a:pt x="4575973" y="1496802"/>
                    <a:pt x="4576999" y="1815055"/>
                    <a:pt x="4575391" y="2163344"/>
                  </a:cubicBezTo>
                  <a:lnTo>
                    <a:pt x="4381009" y="2265433"/>
                  </a:lnTo>
                  <a:cubicBezTo>
                    <a:pt x="4381046" y="2265704"/>
                    <a:pt x="4381083" y="2265974"/>
                    <a:pt x="4381120" y="2266245"/>
                  </a:cubicBezTo>
                  <a:lnTo>
                    <a:pt x="4227756" y="2266245"/>
                  </a:lnTo>
                  <a:cubicBezTo>
                    <a:pt x="4227732" y="2306707"/>
                    <a:pt x="4227588" y="2347422"/>
                    <a:pt x="4227420" y="2388447"/>
                  </a:cubicBezTo>
                  <a:lnTo>
                    <a:pt x="3994294" y="2526405"/>
                  </a:lnTo>
                  <a:cubicBezTo>
                    <a:pt x="3994339" y="2526771"/>
                    <a:pt x="3994383" y="2527136"/>
                    <a:pt x="3994428" y="2527502"/>
                  </a:cubicBezTo>
                  <a:lnTo>
                    <a:pt x="3762789" y="2527502"/>
                  </a:lnTo>
                  <a:cubicBezTo>
                    <a:pt x="3762773" y="2561476"/>
                    <a:pt x="3762619" y="2595596"/>
                    <a:pt x="3762449" y="2629882"/>
                  </a:cubicBezTo>
                  <a:lnTo>
                    <a:pt x="3396090" y="2809106"/>
                  </a:lnTo>
                  <a:cubicBezTo>
                    <a:pt x="3396159" y="2809581"/>
                    <a:pt x="3396230" y="2810056"/>
                    <a:pt x="3396300" y="2810531"/>
                  </a:cubicBezTo>
                  <a:lnTo>
                    <a:pt x="3188902" y="2810531"/>
                  </a:lnTo>
                  <a:cubicBezTo>
                    <a:pt x="3188901" y="2816920"/>
                    <a:pt x="3188866" y="2823313"/>
                    <a:pt x="3188831" y="2829710"/>
                  </a:cubicBezTo>
                  <a:lnTo>
                    <a:pt x="2674174" y="3055087"/>
                  </a:lnTo>
                  <a:cubicBezTo>
                    <a:pt x="2674272" y="3055685"/>
                    <a:pt x="2674371" y="3056282"/>
                    <a:pt x="2674469" y="3056879"/>
                  </a:cubicBezTo>
                  <a:lnTo>
                    <a:pt x="2282936" y="3056879"/>
                  </a:lnTo>
                  <a:cubicBezTo>
                    <a:pt x="2282728" y="3118483"/>
                    <a:pt x="2282386" y="3180374"/>
                    <a:pt x="2282007" y="3242591"/>
                  </a:cubicBezTo>
                  <a:lnTo>
                    <a:pt x="1529139" y="3542057"/>
                  </a:lnTo>
                  <a:cubicBezTo>
                    <a:pt x="1529283" y="3542851"/>
                    <a:pt x="1529427" y="3543644"/>
                    <a:pt x="1529571" y="3544438"/>
                  </a:cubicBezTo>
                  <a:lnTo>
                    <a:pt x="0" y="3544438"/>
                  </a:lnTo>
                  <a:lnTo>
                    <a:pt x="0" y="10057"/>
                  </a:lnTo>
                  <a:lnTo>
                    <a:pt x="1521313" y="10057"/>
                  </a:lnTo>
                  <a:lnTo>
                    <a:pt x="1521538" y="1664"/>
                  </a:lnTo>
                  <a:cubicBezTo>
                    <a:pt x="1521674" y="138"/>
                    <a:pt x="1521863" y="-244"/>
                    <a:pt x="1522088" y="13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500"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nvGrpSpPr>
            <p:cNvPr id="148" name="Group 147"/>
            <p:cNvGrpSpPr/>
            <p:nvPr/>
          </p:nvGrpSpPr>
          <p:grpSpPr>
            <a:xfrm>
              <a:off x="2616512" y="3235470"/>
              <a:ext cx="5421568" cy="1358892"/>
              <a:chOff x="2616512" y="3235470"/>
              <a:chExt cx="5421568" cy="1358892"/>
            </a:xfrm>
            <a:grpFill/>
          </p:grpSpPr>
          <p:sp>
            <p:nvSpPr>
              <p:cNvPr id="149" name="Rectangle 25"/>
              <p:cNvSpPr>
                <a:spLocks noChangeAspect="1"/>
              </p:cNvSpPr>
              <p:nvPr/>
            </p:nvSpPr>
            <p:spPr bwMode="auto">
              <a:xfrm>
                <a:off x="2616512" y="3338709"/>
                <a:ext cx="301457" cy="208780"/>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z="1500" spc="-50" dirty="0" err="1" smtClean="0">
                  <a:solidFill>
                    <a:schemeClr val="accent2"/>
                  </a:solidFill>
                  <a:latin typeface="Segoe UI" pitchFamily="34" charset="0"/>
                  <a:ea typeface="Segoe UI" pitchFamily="34" charset="0"/>
                  <a:cs typeface="Segoe UI" pitchFamily="34" charset="0"/>
                </a:endParaRPr>
              </a:p>
            </p:txBody>
          </p:sp>
          <p:sp>
            <p:nvSpPr>
              <p:cNvPr id="150" name="Rectangle 138"/>
              <p:cNvSpPr>
                <a:spLocks noChangeAspect="1"/>
              </p:cNvSpPr>
              <p:nvPr/>
            </p:nvSpPr>
            <p:spPr bwMode="auto">
              <a:xfrm rot="5400000">
                <a:off x="7612747" y="4099710"/>
                <a:ext cx="425278" cy="425389"/>
              </a:xfrm>
              <a:custGeom>
                <a:avLst/>
                <a:gdLst/>
                <a:ahLst/>
                <a:cxnLst/>
                <a:rect l="l" t="t" r="r" b="b"/>
                <a:pathLst>
                  <a:path w="3221975" h="3221974">
                    <a:moveTo>
                      <a:pt x="695463" y="1877687"/>
                    </a:moveTo>
                    <a:lnTo>
                      <a:pt x="1344288" y="1877687"/>
                    </a:lnTo>
                    <a:lnTo>
                      <a:pt x="1344288" y="2526511"/>
                    </a:lnTo>
                    <a:lnTo>
                      <a:pt x="1877688" y="2526511"/>
                    </a:lnTo>
                    <a:lnTo>
                      <a:pt x="1877688" y="1877687"/>
                    </a:lnTo>
                    <a:lnTo>
                      <a:pt x="2526513" y="1877687"/>
                    </a:lnTo>
                    <a:lnTo>
                      <a:pt x="2526513" y="1344287"/>
                    </a:lnTo>
                    <a:lnTo>
                      <a:pt x="1877688" y="1344287"/>
                    </a:lnTo>
                    <a:lnTo>
                      <a:pt x="1877688" y="695462"/>
                    </a:lnTo>
                    <a:lnTo>
                      <a:pt x="1344288" y="695462"/>
                    </a:lnTo>
                    <a:lnTo>
                      <a:pt x="1344288" y="1344287"/>
                    </a:lnTo>
                    <a:lnTo>
                      <a:pt x="695463" y="1344287"/>
                    </a:lnTo>
                    <a:close/>
                    <a:moveTo>
                      <a:pt x="0" y="1610987"/>
                    </a:moveTo>
                    <a:cubicBezTo>
                      <a:pt x="0" y="721263"/>
                      <a:pt x="721264" y="0"/>
                      <a:pt x="1610988" y="0"/>
                    </a:cubicBezTo>
                    <a:cubicBezTo>
                      <a:pt x="2500712" y="0"/>
                      <a:pt x="3221975" y="721263"/>
                      <a:pt x="3221975" y="1610987"/>
                    </a:cubicBezTo>
                    <a:cubicBezTo>
                      <a:pt x="3221975" y="2500711"/>
                      <a:pt x="2500712" y="3221974"/>
                      <a:pt x="1610988" y="3221974"/>
                    </a:cubicBezTo>
                    <a:cubicBezTo>
                      <a:pt x="721264" y="3221974"/>
                      <a:pt x="0" y="2500711"/>
                      <a:pt x="0" y="1610987"/>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sp>
            <p:nvSpPr>
              <p:cNvPr id="151" name="Freeform 150"/>
              <p:cNvSpPr>
                <a:spLocks noChangeAspect="1"/>
              </p:cNvSpPr>
              <p:nvPr/>
            </p:nvSpPr>
            <p:spPr bwMode="auto">
              <a:xfrm flipH="1">
                <a:off x="4228186" y="4188200"/>
                <a:ext cx="253695" cy="381858"/>
              </a:xfrm>
              <a:custGeom>
                <a:avLst/>
                <a:gdLst/>
                <a:ahLst/>
                <a:cxnLst/>
                <a:rect l="l" t="t" r="r" b="b"/>
                <a:pathLst>
                  <a:path w="739747" h="1113745">
                    <a:moveTo>
                      <a:pt x="580449" y="183754"/>
                    </a:moveTo>
                    <a:lnTo>
                      <a:pt x="608377" y="183754"/>
                    </a:lnTo>
                    <a:cubicBezTo>
                      <a:pt x="612233" y="183754"/>
                      <a:pt x="615359" y="186880"/>
                      <a:pt x="615359" y="190736"/>
                    </a:cubicBezTo>
                    <a:lnTo>
                      <a:pt x="615359" y="243798"/>
                    </a:lnTo>
                    <a:cubicBezTo>
                      <a:pt x="615359" y="247654"/>
                      <a:pt x="612233" y="250780"/>
                      <a:pt x="608377" y="250780"/>
                    </a:cubicBezTo>
                    <a:lnTo>
                      <a:pt x="580449" y="250780"/>
                    </a:lnTo>
                    <a:cubicBezTo>
                      <a:pt x="576593" y="250780"/>
                      <a:pt x="573467" y="247654"/>
                      <a:pt x="573467" y="243798"/>
                    </a:cubicBezTo>
                    <a:lnTo>
                      <a:pt x="573467" y="190736"/>
                    </a:lnTo>
                    <a:cubicBezTo>
                      <a:pt x="573467" y="186880"/>
                      <a:pt x="576593" y="183754"/>
                      <a:pt x="580449" y="183754"/>
                    </a:cubicBezTo>
                    <a:close/>
                    <a:moveTo>
                      <a:pt x="425201" y="49190"/>
                    </a:moveTo>
                    <a:lnTo>
                      <a:pt x="413467" y="958610"/>
                    </a:lnTo>
                    <a:lnTo>
                      <a:pt x="51654" y="872558"/>
                    </a:lnTo>
                    <a:lnTo>
                      <a:pt x="55565" y="51146"/>
                    </a:lnTo>
                    <a:close/>
                    <a:moveTo>
                      <a:pt x="565200" y="20779"/>
                    </a:moveTo>
                    <a:lnTo>
                      <a:pt x="565200" y="995333"/>
                    </a:lnTo>
                    <a:lnTo>
                      <a:pt x="621304" y="987021"/>
                    </a:lnTo>
                    <a:lnTo>
                      <a:pt x="625460" y="20779"/>
                    </a:lnTo>
                    <a:close/>
                    <a:moveTo>
                      <a:pt x="681565" y="0"/>
                    </a:moveTo>
                    <a:lnTo>
                      <a:pt x="677409" y="1005723"/>
                    </a:lnTo>
                    <a:lnTo>
                      <a:pt x="627538" y="1011957"/>
                    </a:lnTo>
                    <a:lnTo>
                      <a:pt x="627538" y="1022346"/>
                    </a:lnTo>
                    <a:lnTo>
                      <a:pt x="739747" y="1061827"/>
                    </a:lnTo>
                    <a:lnTo>
                      <a:pt x="669097" y="1070139"/>
                    </a:lnTo>
                    <a:cubicBezTo>
                      <a:pt x="592617" y="1050415"/>
                      <a:pt x="552151" y="1057209"/>
                      <a:pt x="515329" y="1090918"/>
                    </a:cubicBezTo>
                    <a:lnTo>
                      <a:pt x="422658" y="1113745"/>
                    </a:lnTo>
                    <a:lnTo>
                      <a:pt x="409354" y="1068061"/>
                    </a:lnTo>
                    <a:cubicBezTo>
                      <a:pt x="306312" y="1018127"/>
                      <a:pt x="187349" y="984387"/>
                      <a:pt x="81040" y="978710"/>
                    </a:cubicBezTo>
                    <a:lnTo>
                      <a:pt x="0" y="984943"/>
                    </a:lnTo>
                    <a:lnTo>
                      <a:pt x="72728" y="945463"/>
                    </a:lnTo>
                    <a:lnTo>
                      <a:pt x="108053" y="937151"/>
                    </a:lnTo>
                    <a:lnTo>
                      <a:pt x="108053" y="922605"/>
                    </a:lnTo>
                    <a:lnTo>
                      <a:pt x="64416" y="912216"/>
                    </a:lnTo>
                    <a:lnTo>
                      <a:pt x="64483" y="897455"/>
                    </a:lnTo>
                    <a:lnTo>
                      <a:pt x="441070" y="987021"/>
                    </a:lnTo>
                    <a:lnTo>
                      <a:pt x="453538" y="20779"/>
                    </a:lnTo>
                    <a:lnTo>
                      <a:pt x="68477" y="22817"/>
                    </a:lnTo>
                    <a:lnTo>
                      <a:pt x="68572" y="2078"/>
                    </a:lnTo>
                    <a:close/>
                  </a:path>
                </a:pathLst>
              </a:custGeom>
              <a:grpFill/>
              <a:ln w="12700">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non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dirty="0" smtClean="0"/>
              </a:p>
            </p:txBody>
          </p:sp>
          <p:sp>
            <p:nvSpPr>
              <p:cNvPr id="152" name="Freeform 151"/>
              <p:cNvSpPr>
                <a:spLocks noChangeAspect="1"/>
              </p:cNvSpPr>
              <p:nvPr/>
            </p:nvSpPr>
            <p:spPr bwMode="auto">
              <a:xfrm>
                <a:off x="7722164" y="3264273"/>
                <a:ext cx="206443" cy="448150"/>
              </a:xfrm>
              <a:custGeom>
                <a:avLst/>
                <a:gdLst/>
                <a:ahLst/>
                <a:cxnLst/>
                <a:rect l="l" t="t" r="r" b="b"/>
                <a:pathLst>
                  <a:path w="3071644" h="6669704">
                    <a:moveTo>
                      <a:pt x="860406" y="4841277"/>
                    </a:moveTo>
                    <a:cubicBezTo>
                      <a:pt x="876771" y="5049420"/>
                      <a:pt x="904898" y="5401782"/>
                      <a:pt x="927912" y="5547022"/>
                    </a:cubicBezTo>
                    <a:lnTo>
                      <a:pt x="298878" y="5013110"/>
                    </a:lnTo>
                    <a:close/>
                    <a:moveTo>
                      <a:pt x="2888783" y="2603830"/>
                    </a:moveTo>
                    <a:lnTo>
                      <a:pt x="2869766" y="2761484"/>
                    </a:lnTo>
                    <a:lnTo>
                      <a:pt x="1477181" y="2960684"/>
                    </a:lnTo>
                    <a:cubicBezTo>
                      <a:pt x="1478211" y="2909198"/>
                      <a:pt x="1480809" y="2821309"/>
                      <a:pt x="1481839" y="2769823"/>
                    </a:cubicBezTo>
                    <a:close/>
                    <a:moveTo>
                      <a:pt x="1060895" y="2540585"/>
                    </a:moveTo>
                    <a:lnTo>
                      <a:pt x="1462560" y="2769786"/>
                    </a:lnTo>
                    <a:cubicBezTo>
                      <a:pt x="1463590" y="2821272"/>
                      <a:pt x="1458813" y="2901787"/>
                      <a:pt x="1459843" y="2953273"/>
                    </a:cubicBezTo>
                    <a:lnTo>
                      <a:pt x="1060035" y="2733754"/>
                    </a:lnTo>
                    <a:cubicBezTo>
                      <a:pt x="1060322" y="2669364"/>
                      <a:pt x="1060608" y="2604975"/>
                      <a:pt x="1060895" y="2540585"/>
                    </a:cubicBezTo>
                    <a:close/>
                    <a:moveTo>
                      <a:pt x="2453306" y="2418107"/>
                    </a:moveTo>
                    <a:lnTo>
                      <a:pt x="2874878" y="2588611"/>
                    </a:lnTo>
                    <a:lnTo>
                      <a:pt x="1471343" y="2758029"/>
                    </a:lnTo>
                    <a:lnTo>
                      <a:pt x="1077043" y="2535568"/>
                    </a:lnTo>
                    <a:close/>
                    <a:moveTo>
                      <a:pt x="915637" y="549838"/>
                    </a:moveTo>
                    <a:lnTo>
                      <a:pt x="1072299" y="1688042"/>
                    </a:lnTo>
                    <a:lnTo>
                      <a:pt x="2223293" y="1710422"/>
                    </a:lnTo>
                    <a:lnTo>
                      <a:pt x="2066629" y="648952"/>
                    </a:lnTo>
                    <a:close/>
                    <a:moveTo>
                      <a:pt x="544162" y="135800"/>
                    </a:moveTo>
                    <a:cubicBezTo>
                      <a:pt x="886245" y="2248264"/>
                      <a:pt x="1137978" y="4212682"/>
                      <a:pt x="1096884" y="6277248"/>
                    </a:cubicBezTo>
                    <a:lnTo>
                      <a:pt x="258412" y="5469800"/>
                    </a:lnTo>
                    <a:lnTo>
                      <a:pt x="239362" y="5022125"/>
                    </a:lnTo>
                    <a:lnTo>
                      <a:pt x="953737" y="5612675"/>
                    </a:lnTo>
                    <a:lnTo>
                      <a:pt x="391490" y="255815"/>
                    </a:lnTo>
                    <a:close/>
                    <a:moveTo>
                      <a:pt x="504792" y="0"/>
                    </a:moveTo>
                    <a:lnTo>
                      <a:pt x="2087212" y="192950"/>
                    </a:lnTo>
                    <a:cubicBezTo>
                      <a:pt x="2235439" y="221344"/>
                      <a:pt x="2238523" y="258446"/>
                      <a:pt x="2264831" y="371022"/>
                    </a:cubicBezTo>
                    <a:cubicBezTo>
                      <a:pt x="2373931" y="1119500"/>
                      <a:pt x="2475964" y="1783285"/>
                      <a:pt x="2556820" y="2435034"/>
                    </a:cubicBezTo>
                    <a:lnTo>
                      <a:pt x="2466852" y="2395673"/>
                    </a:lnTo>
                    <a:lnTo>
                      <a:pt x="1029938" y="2519770"/>
                    </a:lnTo>
                    <a:lnTo>
                      <a:pt x="1036469" y="2725510"/>
                    </a:lnTo>
                    <a:lnTo>
                      <a:pt x="1464278" y="2970439"/>
                    </a:lnTo>
                    <a:lnTo>
                      <a:pt x="2601940" y="2812795"/>
                    </a:lnTo>
                    <a:cubicBezTo>
                      <a:pt x="2699015" y="3663122"/>
                      <a:pt x="2756062" y="4516807"/>
                      <a:pt x="2744437" y="5536475"/>
                    </a:cubicBezTo>
                    <a:lnTo>
                      <a:pt x="3034646" y="5733861"/>
                    </a:lnTo>
                    <a:cubicBezTo>
                      <a:pt x="3111682" y="5796350"/>
                      <a:pt x="3054469" y="5889234"/>
                      <a:pt x="2989659" y="5936525"/>
                    </a:cubicBezTo>
                    <a:cubicBezTo>
                      <a:pt x="2537516" y="6397551"/>
                      <a:pt x="2006852" y="6506495"/>
                      <a:pt x="1420462" y="6650900"/>
                    </a:cubicBezTo>
                    <a:cubicBezTo>
                      <a:pt x="1257253" y="6680012"/>
                      <a:pt x="1094044" y="6681261"/>
                      <a:pt x="938434" y="6611587"/>
                    </a:cubicBezTo>
                    <a:cubicBezTo>
                      <a:pt x="610230" y="6325564"/>
                      <a:pt x="332686" y="6009146"/>
                      <a:pt x="29812" y="5707925"/>
                    </a:cubicBezTo>
                    <a:cubicBezTo>
                      <a:pt x="-18315" y="5643853"/>
                      <a:pt x="-584" y="5602578"/>
                      <a:pt x="29812" y="5584100"/>
                    </a:cubicBezTo>
                    <a:cubicBezTo>
                      <a:pt x="121209" y="5539078"/>
                      <a:pt x="182212" y="5529518"/>
                      <a:pt x="258412" y="5507293"/>
                    </a:cubicBezTo>
                    <a:lnTo>
                      <a:pt x="1106137" y="6336575"/>
                    </a:lnTo>
                    <a:cubicBezTo>
                      <a:pt x="1260894" y="4582981"/>
                      <a:pt x="772285" y="1192312"/>
                      <a:pt x="568362" y="151255"/>
                    </a:cubicBezTo>
                    <a:cubicBezTo>
                      <a:pt x="563521" y="121327"/>
                      <a:pt x="566348" y="126886"/>
                      <a:pt x="50479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lvl="1"/>
                <a:endParaRPr lang="en-US" dirty="0"/>
              </a:p>
            </p:txBody>
          </p:sp>
          <p:sp>
            <p:nvSpPr>
              <p:cNvPr id="153" name="Rectangle 19"/>
              <p:cNvSpPr>
                <a:spLocks noChangeAspect="1"/>
              </p:cNvSpPr>
              <p:nvPr/>
            </p:nvSpPr>
            <p:spPr bwMode="auto">
              <a:xfrm>
                <a:off x="3292277" y="3387614"/>
                <a:ext cx="478985" cy="470426"/>
              </a:xfrm>
              <a:custGeom>
                <a:avLst/>
                <a:gdLst/>
                <a:ahLst/>
                <a:cxnLst/>
                <a:rect l="l" t="t" r="r" b="b"/>
                <a:pathLst>
                  <a:path w="4318246" h="4242185">
                    <a:moveTo>
                      <a:pt x="341993" y="2164765"/>
                    </a:moveTo>
                    <a:lnTo>
                      <a:pt x="797381" y="2439279"/>
                    </a:lnTo>
                    <a:lnTo>
                      <a:pt x="798646" y="2164765"/>
                    </a:lnTo>
                    <a:close/>
                    <a:moveTo>
                      <a:pt x="801460" y="1554075"/>
                    </a:moveTo>
                    <a:lnTo>
                      <a:pt x="1884317" y="1708652"/>
                    </a:lnTo>
                    <a:cubicBezTo>
                      <a:pt x="1880053" y="2439084"/>
                      <a:pt x="1872524" y="3185843"/>
                      <a:pt x="1868260" y="3916275"/>
                    </a:cubicBezTo>
                    <a:lnTo>
                      <a:pt x="791935" y="3621000"/>
                    </a:lnTo>
                    <a:lnTo>
                      <a:pt x="796859" y="2552606"/>
                    </a:lnTo>
                    <a:lnTo>
                      <a:pt x="153476" y="2164765"/>
                    </a:lnTo>
                    <a:lnTo>
                      <a:pt x="0" y="2164765"/>
                    </a:lnTo>
                    <a:lnTo>
                      <a:pt x="0" y="1994948"/>
                    </a:lnTo>
                    <a:lnTo>
                      <a:pt x="799428" y="1994948"/>
                    </a:lnTo>
                    <a:close/>
                    <a:moveTo>
                      <a:pt x="2601684" y="1506451"/>
                    </a:moveTo>
                    <a:lnTo>
                      <a:pt x="2630259" y="2708363"/>
                    </a:lnTo>
                    <a:lnTo>
                      <a:pt x="1923394" y="3008076"/>
                    </a:lnTo>
                    <a:cubicBezTo>
                      <a:pt x="1921398" y="2576713"/>
                      <a:pt x="1922729" y="2145351"/>
                      <a:pt x="1920733" y="1713988"/>
                    </a:cubicBezTo>
                    <a:close/>
                    <a:moveTo>
                      <a:pt x="1673900" y="1376706"/>
                    </a:moveTo>
                    <a:lnTo>
                      <a:pt x="2580211" y="1489805"/>
                    </a:lnTo>
                    <a:cubicBezTo>
                      <a:pt x="2260996" y="1610712"/>
                      <a:pt x="2161818" y="1605197"/>
                      <a:pt x="1929100" y="1695212"/>
                    </a:cubicBezTo>
                    <a:lnTo>
                      <a:pt x="814183" y="1540776"/>
                    </a:lnTo>
                    <a:close/>
                    <a:moveTo>
                      <a:pt x="1778588" y="878064"/>
                    </a:moveTo>
                    <a:lnTo>
                      <a:pt x="2354849" y="942701"/>
                    </a:lnTo>
                    <a:cubicBezTo>
                      <a:pt x="2357649" y="1096870"/>
                      <a:pt x="2347148" y="1237740"/>
                      <a:pt x="2349948" y="1391909"/>
                    </a:cubicBezTo>
                    <a:lnTo>
                      <a:pt x="2353906" y="1424677"/>
                    </a:lnTo>
                    <a:lnTo>
                      <a:pt x="1778588" y="1338180"/>
                    </a:lnTo>
                    <a:close/>
                    <a:moveTo>
                      <a:pt x="2951461" y="527541"/>
                    </a:moveTo>
                    <a:cubicBezTo>
                      <a:pt x="2907654" y="520554"/>
                      <a:pt x="2866480" y="550402"/>
                      <a:pt x="2859493" y="594208"/>
                    </a:cubicBezTo>
                    <a:lnTo>
                      <a:pt x="2808895" y="911472"/>
                    </a:lnTo>
                    <a:cubicBezTo>
                      <a:pt x="2801908" y="955278"/>
                      <a:pt x="2831756" y="996453"/>
                      <a:pt x="2875562" y="1003440"/>
                    </a:cubicBezTo>
                    <a:lnTo>
                      <a:pt x="3318707" y="1074114"/>
                    </a:lnTo>
                    <a:cubicBezTo>
                      <a:pt x="3362513" y="1081101"/>
                      <a:pt x="3403688" y="1051253"/>
                      <a:pt x="3410674" y="1007447"/>
                    </a:cubicBezTo>
                    <a:lnTo>
                      <a:pt x="3461273" y="690183"/>
                    </a:lnTo>
                    <a:cubicBezTo>
                      <a:pt x="3468260" y="646377"/>
                      <a:pt x="3438412" y="605202"/>
                      <a:pt x="3394605" y="598216"/>
                    </a:cubicBezTo>
                    <a:close/>
                    <a:moveTo>
                      <a:pt x="4318246" y="368343"/>
                    </a:moveTo>
                    <a:lnTo>
                      <a:pt x="4261872" y="3327785"/>
                    </a:lnTo>
                    <a:lnTo>
                      <a:pt x="3222088" y="4242185"/>
                    </a:lnTo>
                    <a:lnTo>
                      <a:pt x="1919228" y="3914731"/>
                    </a:lnTo>
                    <a:lnTo>
                      <a:pt x="1919473" y="3320806"/>
                    </a:lnTo>
                    <a:lnTo>
                      <a:pt x="3334836" y="3630526"/>
                    </a:lnTo>
                    <a:lnTo>
                      <a:pt x="4067695" y="3130077"/>
                    </a:lnTo>
                    <a:lnTo>
                      <a:pt x="4067695" y="423948"/>
                    </a:lnTo>
                    <a:close/>
                    <a:moveTo>
                      <a:pt x="2736579" y="368342"/>
                    </a:moveTo>
                    <a:lnTo>
                      <a:pt x="3990789" y="417769"/>
                    </a:lnTo>
                    <a:lnTo>
                      <a:pt x="3990789" y="3074472"/>
                    </a:lnTo>
                    <a:lnTo>
                      <a:pt x="3317346" y="3562564"/>
                    </a:lnTo>
                    <a:lnTo>
                      <a:pt x="1919793" y="3260416"/>
                    </a:lnTo>
                    <a:cubicBezTo>
                      <a:pt x="1920799" y="3194323"/>
                      <a:pt x="1918481" y="3121579"/>
                      <a:pt x="1919487" y="3055486"/>
                    </a:cubicBezTo>
                    <a:cubicBezTo>
                      <a:pt x="2158384" y="2933978"/>
                      <a:pt x="2491503" y="2806742"/>
                      <a:pt x="2730400" y="2685234"/>
                    </a:cubicBezTo>
                    <a:cubicBezTo>
                      <a:pt x="2732460" y="1912937"/>
                      <a:pt x="2734519" y="1140639"/>
                      <a:pt x="2736579" y="368342"/>
                    </a:cubicBezTo>
                    <a:close/>
                    <a:moveTo>
                      <a:pt x="1768680" y="108305"/>
                    </a:moveTo>
                    <a:lnTo>
                      <a:pt x="1682767" y="646920"/>
                    </a:lnTo>
                    <a:lnTo>
                      <a:pt x="2457966" y="770570"/>
                    </a:lnTo>
                    <a:lnTo>
                      <a:pt x="2543879" y="231954"/>
                    </a:lnTo>
                    <a:close/>
                    <a:moveTo>
                      <a:pt x="1739342" y="1062"/>
                    </a:moveTo>
                    <a:lnTo>
                      <a:pt x="2617052" y="132810"/>
                    </a:lnTo>
                    <a:cubicBezTo>
                      <a:pt x="2668797" y="140577"/>
                      <a:pt x="2704448" y="188821"/>
                      <a:pt x="2696681" y="240566"/>
                    </a:cubicBezTo>
                    <a:lnTo>
                      <a:pt x="2607416" y="835252"/>
                    </a:lnTo>
                    <a:cubicBezTo>
                      <a:pt x="2599648" y="886997"/>
                      <a:pt x="2551405" y="922648"/>
                      <a:pt x="2499659" y="914880"/>
                    </a:cubicBezTo>
                    <a:lnTo>
                      <a:pt x="1621950" y="783132"/>
                    </a:lnTo>
                    <a:cubicBezTo>
                      <a:pt x="1570205" y="775365"/>
                      <a:pt x="1534554" y="727121"/>
                      <a:pt x="1542321" y="675376"/>
                    </a:cubicBezTo>
                    <a:lnTo>
                      <a:pt x="1631586" y="80690"/>
                    </a:lnTo>
                    <a:cubicBezTo>
                      <a:pt x="1639354" y="28945"/>
                      <a:pt x="1687597" y="-6706"/>
                      <a:pt x="1739342" y="1062"/>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4" name="Trapezoid 14"/>
              <p:cNvSpPr>
                <a:spLocks noChangeAspect="1"/>
              </p:cNvSpPr>
              <p:nvPr/>
            </p:nvSpPr>
            <p:spPr bwMode="auto">
              <a:xfrm>
                <a:off x="3492011" y="4323355"/>
                <a:ext cx="245209" cy="201349"/>
              </a:xfrm>
              <a:custGeom>
                <a:avLst/>
                <a:gdLst/>
                <a:ahLst/>
                <a:cxnLst/>
                <a:rect l="l" t="t" r="r" b="b"/>
                <a:pathLst>
                  <a:path w="920437" h="755997">
                    <a:moveTo>
                      <a:pt x="218877" y="579309"/>
                    </a:moveTo>
                    <a:cubicBezTo>
                      <a:pt x="211545" y="579309"/>
                      <a:pt x="205601" y="585252"/>
                      <a:pt x="205601" y="592584"/>
                    </a:cubicBezTo>
                    <a:lnTo>
                      <a:pt x="205601" y="645686"/>
                    </a:lnTo>
                    <a:cubicBezTo>
                      <a:pt x="205601" y="653018"/>
                      <a:pt x="211545" y="658962"/>
                      <a:pt x="218877" y="658962"/>
                    </a:cubicBezTo>
                    <a:lnTo>
                      <a:pt x="303295" y="658962"/>
                    </a:lnTo>
                    <a:cubicBezTo>
                      <a:pt x="310627" y="658962"/>
                      <a:pt x="316571" y="653018"/>
                      <a:pt x="316571" y="645686"/>
                    </a:cubicBezTo>
                    <a:lnTo>
                      <a:pt x="316571" y="592584"/>
                    </a:lnTo>
                    <a:cubicBezTo>
                      <a:pt x="316571" y="585252"/>
                      <a:pt x="310627" y="579309"/>
                      <a:pt x="303295" y="579309"/>
                    </a:cubicBezTo>
                    <a:close/>
                    <a:moveTo>
                      <a:pt x="71144" y="579309"/>
                    </a:moveTo>
                    <a:cubicBezTo>
                      <a:pt x="63812" y="579309"/>
                      <a:pt x="57868" y="585252"/>
                      <a:pt x="57868" y="592584"/>
                    </a:cubicBezTo>
                    <a:lnTo>
                      <a:pt x="57868" y="645686"/>
                    </a:lnTo>
                    <a:cubicBezTo>
                      <a:pt x="57868" y="653018"/>
                      <a:pt x="63812" y="658962"/>
                      <a:pt x="71144" y="658962"/>
                    </a:cubicBezTo>
                    <a:lnTo>
                      <a:pt x="155562" y="658962"/>
                    </a:lnTo>
                    <a:cubicBezTo>
                      <a:pt x="162894" y="658962"/>
                      <a:pt x="168838" y="653018"/>
                      <a:pt x="168838" y="645686"/>
                    </a:cubicBezTo>
                    <a:lnTo>
                      <a:pt x="168838" y="592584"/>
                    </a:lnTo>
                    <a:cubicBezTo>
                      <a:pt x="168838" y="585252"/>
                      <a:pt x="162894" y="579309"/>
                      <a:pt x="155562" y="579309"/>
                    </a:cubicBezTo>
                    <a:close/>
                    <a:moveTo>
                      <a:pt x="382550" y="513749"/>
                    </a:moveTo>
                    <a:cubicBezTo>
                      <a:pt x="374310" y="513749"/>
                      <a:pt x="367630" y="520429"/>
                      <a:pt x="367630" y="528669"/>
                    </a:cubicBezTo>
                    <a:cubicBezTo>
                      <a:pt x="367630" y="536909"/>
                      <a:pt x="374310" y="543588"/>
                      <a:pt x="382550" y="543588"/>
                    </a:cubicBezTo>
                    <a:lnTo>
                      <a:pt x="798148" y="543589"/>
                    </a:lnTo>
                    <a:cubicBezTo>
                      <a:pt x="806388" y="543589"/>
                      <a:pt x="813068" y="536909"/>
                      <a:pt x="813068" y="528669"/>
                    </a:cubicBezTo>
                    <a:cubicBezTo>
                      <a:pt x="813068" y="520429"/>
                      <a:pt x="806388" y="513749"/>
                      <a:pt x="798148" y="513749"/>
                    </a:cubicBezTo>
                    <a:close/>
                    <a:moveTo>
                      <a:pt x="382550" y="450435"/>
                    </a:moveTo>
                    <a:cubicBezTo>
                      <a:pt x="374310" y="450435"/>
                      <a:pt x="367630" y="457115"/>
                      <a:pt x="367630" y="465355"/>
                    </a:cubicBezTo>
                    <a:cubicBezTo>
                      <a:pt x="367630" y="473595"/>
                      <a:pt x="374310" y="480274"/>
                      <a:pt x="382550" y="480274"/>
                    </a:cubicBezTo>
                    <a:lnTo>
                      <a:pt x="798148" y="480275"/>
                    </a:lnTo>
                    <a:cubicBezTo>
                      <a:pt x="806388" y="480275"/>
                      <a:pt x="813068" y="473595"/>
                      <a:pt x="813068" y="465355"/>
                    </a:cubicBezTo>
                    <a:cubicBezTo>
                      <a:pt x="813068" y="457115"/>
                      <a:pt x="806388" y="450435"/>
                      <a:pt x="798148" y="450435"/>
                    </a:cubicBezTo>
                    <a:close/>
                    <a:moveTo>
                      <a:pt x="218877" y="449015"/>
                    </a:moveTo>
                    <a:cubicBezTo>
                      <a:pt x="211545" y="449015"/>
                      <a:pt x="205601" y="454959"/>
                      <a:pt x="205601" y="462291"/>
                    </a:cubicBezTo>
                    <a:lnTo>
                      <a:pt x="205601" y="515393"/>
                    </a:lnTo>
                    <a:cubicBezTo>
                      <a:pt x="205601" y="522725"/>
                      <a:pt x="211545" y="528669"/>
                      <a:pt x="218877" y="528669"/>
                    </a:cubicBezTo>
                    <a:lnTo>
                      <a:pt x="303295" y="528669"/>
                    </a:lnTo>
                    <a:cubicBezTo>
                      <a:pt x="310627" y="528669"/>
                      <a:pt x="316571" y="522725"/>
                      <a:pt x="316571" y="515393"/>
                    </a:cubicBezTo>
                    <a:lnTo>
                      <a:pt x="316571" y="462291"/>
                    </a:lnTo>
                    <a:cubicBezTo>
                      <a:pt x="316571" y="454959"/>
                      <a:pt x="310627" y="449015"/>
                      <a:pt x="303295" y="449015"/>
                    </a:cubicBezTo>
                    <a:close/>
                    <a:moveTo>
                      <a:pt x="71144" y="449015"/>
                    </a:moveTo>
                    <a:cubicBezTo>
                      <a:pt x="63812" y="449015"/>
                      <a:pt x="57868" y="454959"/>
                      <a:pt x="57868" y="462291"/>
                    </a:cubicBezTo>
                    <a:lnTo>
                      <a:pt x="57868" y="515393"/>
                    </a:lnTo>
                    <a:cubicBezTo>
                      <a:pt x="57868" y="522725"/>
                      <a:pt x="63812" y="528669"/>
                      <a:pt x="71144" y="528669"/>
                    </a:cubicBezTo>
                    <a:lnTo>
                      <a:pt x="155562" y="528669"/>
                    </a:lnTo>
                    <a:cubicBezTo>
                      <a:pt x="162894" y="528669"/>
                      <a:pt x="168838" y="522725"/>
                      <a:pt x="168838" y="515393"/>
                    </a:cubicBezTo>
                    <a:lnTo>
                      <a:pt x="168838" y="462291"/>
                    </a:lnTo>
                    <a:cubicBezTo>
                      <a:pt x="168838" y="454959"/>
                      <a:pt x="162894" y="449015"/>
                      <a:pt x="155562" y="449015"/>
                    </a:cubicBezTo>
                    <a:close/>
                    <a:moveTo>
                      <a:pt x="218877" y="310075"/>
                    </a:moveTo>
                    <a:cubicBezTo>
                      <a:pt x="211545" y="310075"/>
                      <a:pt x="205601" y="316019"/>
                      <a:pt x="205601" y="323351"/>
                    </a:cubicBezTo>
                    <a:lnTo>
                      <a:pt x="205601" y="376453"/>
                    </a:lnTo>
                    <a:cubicBezTo>
                      <a:pt x="205601" y="383785"/>
                      <a:pt x="211545" y="389729"/>
                      <a:pt x="218877" y="389729"/>
                    </a:cubicBezTo>
                    <a:lnTo>
                      <a:pt x="303295" y="389729"/>
                    </a:lnTo>
                    <a:cubicBezTo>
                      <a:pt x="310627" y="389729"/>
                      <a:pt x="316571" y="383785"/>
                      <a:pt x="316571" y="376453"/>
                    </a:cubicBezTo>
                    <a:lnTo>
                      <a:pt x="316571" y="323351"/>
                    </a:lnTo>
                    <a:cubicBezTo>
                      <a:pt x="316571" y="316019"/>
                      <a:pt x="310627" y="310075"/>
                      <a:pt x="303295" y="310075"/>
                    </a:cubicBezTo>
                    <a:close/>
                    <a:moveTo>
                      <a:pt x="71144" y="310075"/>
                    </a:moveTo>
                    <a:cubicBezTo>
                      <a:pt x="63812" y="310075"/>
                      <a:pt x="57868" y="316019"/>
                      <a:pt x="57868" y="323351"/>
                    </a:cubicBezTo>
                    <a:lnTo>
                      <a:pt x="57868" y="376453"/>
                    </a:lnTo>
                    <a:cubicBezTo>
                      <a:pt x="57868" y="383785"/>
                      <a:pt x="63812" y="389729"/>
                      <a:pt x="71144" y="389729"/>
                    </a:cubicBezTo>
                    <a:lnTo>
                      <a:pt x="155562" y="389729"/>
                    </a:lnTo>
                    <a:cubicBezTo>
                      <a:pt x="162894" y="389729"/>
                      <a:pt x="168838" y="383785"/>
                      <a:pt x="168838" y="376453"/>
                    </a:cubicBezTo>
                    <a:lnTo>
                      <a:pt x="168838" y="323351"/>
                    </a:lnTo>
                    <a:cubicBezTo>
                      <a:pt x="168838" y="316019"/>
                      <a:pt x="162894" y="310075"/>
                      <a:pt x="155562" y="310075"/>
                    </a:cubicBezTo>
                    <a:close/>
                    <a:moveTo>
                      <a:pt x="90752" y="0"/>
                    </a:moveTo>
                    <a:lnTo>
                      <a:pt x="138377" y="0"/>
                    </a:lnTo>
                    <a:lnTo>
                      <a:pt x="161924" y="255819"/>
                    </a:lnTo>
                    <a:lnTo>
                      <a:pt x="162416" y="255813"/>
                    </a:lnTo>
                    <a:lnTo>
                      <a:pt x="193412" y="255813"/>
                    </a:lnTo>
                    <a:lnTo>
                      <a:pt x="216959" y="0"/>
                    </a:lnTo>
                    <a:lnTo>
                      <a:pt x="264584" y="0"/>
                    </a:lnTo>
                    <a:lnTo>
                      <a:pt x="288130" y="255813"/>
                    </a:lnTo>
                    <a:lnTo>
                      <a:pt x="367630" y="255813"/>
                    </a:lnTo>
                    <a:lnTo>
                      <a:pt x="367630" y="344796"/>
                    </a:lnTo>
                    <a:lnTo>
                      <a:pt x="920437" y="344796"/>
                    </a:lnTo>
                    <a:lnTo>
                      <a:pt x="920437" y="755997"/>
                    </a:lnTo>
                    <a:lnTo>
                      <a:pt x="484727" y="755997"/>
                    </a:lnTo>
                    <a:lnTo>
                      <a:pt x="484727" y="570820"/>
                    </a:lnTo>
                    <a:lnTo>
                      <a:pt x="364907" y="570820"/>
                    </a:lnTo>
                    <a:lnTo>
                      <a:pt x="364907" y="753274"/>
                    </a:lnTo>
                    <a:lnTo>
                      <a:pt x="0" y="753274"/>
                    </a:lnTo>
                    <a:lnTo>
                      <a:pt x="0" y="257654"/>
                    </a:lnTo>
                    <a:lnTo>
                      <a:pt x="67106" y="256893"/>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18288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5" name="Freeform 154"/>
              <p:cNvSpPr>
                <a:spLocks noChangeAspect="1" noEditPoints="1"/>
              </p:cNvSpPr>
              <p:nvPr/>
            </p:nvSpPr>
            <p:spPr bwMode="auto">
              <a:xfrm>
                <a:off x="6932731" y="4198337"/>
                <a:ext cx="262379" cy="262310"/>
              </a:xfrm>
              <a:custGeom>
                <a:avLst/>
                <a:gdLst>
                  <a:gd name="T0" fmla="*/ 0 w 300"/>
                  <a:gd name="T1" fmla="*/ 150 h 300"/>
                  <a:gd name="T2" fmla="*/ 300 w 300"/>
                  <a:gd name="T3" fmla="*/ 150 h 300"/>
                  <a:gd name="T4" fmla="*/ 217 w 300"/>
                  <a:gd name="T5" fmla="*/ 258 h 300"/>
                  <a:gd name="T6" fmla="*/ 207 w 300"/>
                  <a:gd name="T7" fmla="*/ 256 h 300"/>
                  <a:gd name="T8" fmla="*/ 154 w 300"/>
                  <a:gd name="T9" fmla="*/ 277 h 300"/>
                  <a:gd name="T10" fmla="*/ 146 w 300"/>
                  <a:gd name="T11" fmla="*/ 255 h 300"/>
                  <a:gd name="T12" fmla="*/ 89 w 300"/>
                  <a:gd name="T13" fmla="*/ 262 h 300"/>
                  <a:gd name="T14" fmla="*/ 87 w 300"/>
                  <a:gd name="T15" fmla="*/ 252 h 300"/>
                  <a:gd name="T16" fmla="*/ 41 w 300"/>
                  <a:gd name="T17" fmla="*/ 217 h 300"/>
                  <a:gd name="T18" fmla="*/ 44 w 300"/>
                  <a:gd name="T19" fmla="*/ 206 h 300"/>
                  <a:gd name="T20" fmla="*/ 22 w 300"/>
                  <a:gd name="T21" fmla="*/ 153 h 300"/>
                  <a:gd name="T22" fmla="*/ 51 w 300"/>
                  <a:gd name="T23" fmla="*/ 146 h 300"/>
                  <a:gd name="T24" fmla="*/ 38 w 300"/>
                  <a:gd name="T25" fmla="*/ 89 h 300"/>
                  <a:gd name="T26" fmla="*/ 48 w 300"/>
                  <a:gd name="T27" fmla="*/ 86 h 300"/>
                  <a:gd name="T28" fmla="*/ 83 w 300"/>
                  <a:gd name="T29" fmla="*/ 41 h 300"/>
                  <a:gd name="T30" fmla="*/ 93 w 300"/>
                  <a:gd name="T31" fmla="*/ 44 h 300"/>
                  <a:gd name="T32" fmla="*/ 146 w 300"/>
                  <a:gd name="T33" fmla="*/ 22 h 300"/>
                  <a:gd name="T34" fmla="*/ 154 w 300"/>
                  <a:gd name="T35" fmla="*/ 45 h 300"/>
                  <a:gd name="T36" fmla="*/ 210 w 300"/>
                  <a:gd name="T37" fmla="*/ 37 h 300"/>
                  <a:gd name="T38" fmla="*/ 213 w 300"/>
                  <a:gd name="T39" fmla="*/ 48 h 300"/>
                  <a:gd name="T40" fmla="*/ 258 w 300"/>
                  <a:gd name="T41" fmla="*/ 83 h 300"/>
                  <a:gd name="T42" fmla="*/ 256 w 300"/>
                  <a:gd name="T43" fmla="*/ 93 h 300"/>
                  <a:gd name="T44" fmla="*/ 277 w 300"/>
                  <a:gd name="T45" fmla="*/ 146 h 300"/>
                  <a:gd name="T46" fmla="*/ 255 w 300"/>
                  <a:gd name="T47" fmla="*/ 153 h 300"/>
                  <a:gd name="T48" fmla="*/ 262 w 300"/>
                  <a:gd name="T49" fmla="*/ 210 h 300"/>
                  <a:gd name="T50" fmla="*/ 252 w 300"/>
                  <a:gd name="T51" fmla="*/ 213 h 300"/>
                  <a:gd name="T52" fmla="*/ 217 w 300"/>
                  <a:gd name="T53" fmla="*/ 258 h 300"/>
                  <a:gd name="T54" fmla="*/ 141 w 300"/>
                  <a:gd name="T55" fmla="*/ 158 h 300"/>
                  <a:gd name="T56" fmla="*/ 158 w 300"/>
                  <a:gd name="T57" fmla="*/ 141 h 300"/>
                  <a:gd name="T58" fmla="*/ 211 w 300"/>
                  <a:gd name="T59" fmla="*/ 88 h 300"/>
                  <a:gd name="T60" fmla="*/ 125 w 300"/>
                  <a:gd name="T61" fmla="*/ 132 h 300"/>
                  <a:gd name="T62" fmla="*/ 168 w 300"/>
                  <a:gd name="T63" fmla="*/ 174 h 300"/>
                  <a:gd name="T64" fmla="*/ 211 w 300"/>
                  <a:gd name="T65" fmla="*/ 88 h 300"/>
                  <a:gd name="T66" fmla="*/ 135 w 300"/>
                  <a:gd name="T67" fmla="*/ 135 h 300"/>
                  <a:gd name="T68" fmla="*/ 165 w 300"/>
                  <a:gd name="T69" fmla="*/ 1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00" h="300">
                    <a:moveTo>
                      <a:pt x="150" y="0"/>
                    </a:moveTo>
                    <a:cubicBezTo>
                      <a:pt x="67" y="0"/>
                      <a:pt x="0" y="67"/>
                      <a:pt x="0" y="150"/>
                    </a:cubicBezTo>
                    <a:cubicBezTo>
                      <a:pt x="0" y="233"/>
                      <a:pt x="67" y="300"/>
                      <a:pt x="150" y="300"/>
                    </a:cubicBezTo>
                    <a:cubicBezTo>
                      <a:pt x="233" y="300"/>
                      <a:pt x="300" y="233"/>
                      <a:pt x="300" y="150"/>
                    </a:cubicBezTo>
                    <a:cubicBezTo>
                      <a:pt x="300" y="67"/>
                      <a:pt x="233" y="0"/>
                      <a:pt x="150" y="0"/>
                    </a:cubicBezTo>
                    <a:close/>
                    <a:moveTo>
                      <a:pt x="217" y="258"/>
                    </a:moveTo>
                    <a:cubicBezTo>
                      <a:pt x="213" y="252"/>
                      <a:pt x="213" y="252"/>
                      <a:pt x="213" y="252"/>
                    </a:cubicBezTo>
                    <a:cubicBezTo>
                      <a:pt x="207" y="256"/>
                      <a:pt x="207" y="256"/>
                      <a:pt x="207" y="256"/>
                    </a:cubicBezTo>
                    <a:cubicBezTo>
                      <a:pt x="210" y="262"/>
                      <a:pt x="210" y="262"/>
                      <a:pt x="210" y="262"/>
                    </a:cubicBezTo>
                    <a:cubicBezTo>
                      <a:pt x="193" y="271"/>
                      <a:pt x="174" y="276"/>
                      <a:pt x="154" y="277"/>
                    </a:cubicBezTo>
                    <a:cubicBezTo>
                      <a:pt x="154" y="255"/>
                      <a:pt x="154" y="255"/>
                      <a:pt x="154" y="255"/>
                    </a:cubicBezTo>
                    <a:cubicBezTo>
                      <a:pt x="146" y="255"/>
                      <a:pt x="146" y="255"/>
                      <a:pt x="146" y="255"/>
                    </a:cubicBezTo>
                    <a:cubicBezTo>
                      <a:pt x="146" y="277"/>
                      <a:pt x="146" y="277"/>
                      <a:pt x="146" y="277"/>
                    </a:cubicBezTo>
                    <a:cubicBezTo>
                      <a:pt x="126" y="276"/>
                      <a:pt x="106" y="271"/>
                      <a:pt x="89" y="262"/>
                    </a:cubicBezTo>
                    <a:cubicBezTo>
                      <a:pt x="93" y="256"/>
                      <a:pt x="93" y="256"/>
                      <a:pt x="93" y="256"/>
                    </a:cubicBezTo>
                    <a:cubicBezTo>
                      <a:pt x="87" y="252"/>
                      <a:pt x="87" y="252"/>
                      <a:pt x="87" y="252"/>
                    </a:cubicBezTo>
                    <a:cubicBezTo>
                      <a:pt x="83" y="258"/>
                      <a:pt x="83" y="258"/>
                      <a:pt x="83" y="258"/>
                    </a:cubicBezTo>
                    <a:cubicBezTo>
                      <a:pt x="66" y="248"/>
                      <a:pt x="52" y="233"/>
                      <a:pt x="41" y="217"/>
                    </a:cubicBezTo>
                    <a:cubicBezTo>
                      <a:pt x="48" y="213"/>
                      <a:pt x="48" y="213"/>
                      <a:pt x="48" y="213"/>
                    </a:cubicBezTo>
                    <a:cubicBezTo>
                      <a:pt x="44" y="206"/>
                      <a:pt x="44" y="206"/>
                      <a:pt x="44" y="206"/>
                    </a:cubicBezTo>
                    <a:cubicBezTo>
                      <a:pt x="38" y="210"/>
                      <a:pt x="38" y="210"/>
                      <a:pt x="38" y="210"/>
                    </a:cubicBezTo>
                    <a:cubicBezTo>
                      <a:pt x="28" y="193"/>
                      <a:pt x="23" y="174"/>
                      <a:pt x="22" y="153"/>
                    </a:cubicBezTo>
                    <a:cubicBezTo>
                      <a:pt x="51" y="153"/>
                      <a:pt x="51" y="153"/>
                      <a:pt x="51" y="153"/>
                    </a:cubicBezTo>
                    <a:cubicBezTo>
                      <a:pt x="51" y="146"/>
                      <a:pt x="51" y="146"/>
                      <a:pt x="51" y="146"/>
                    </a:cubicBezTo>
                    <a:cubicBezTo>
                      <a:pt x="22" y="146"/>
                      <a:pt x="22" y="146"/>
                      <a:pt x="22" y="146"/>
                    </a:cubicBezTo>
                    <a:cubicBezTo>
                      <a:pt x="23" y="125"/>
                      <a:pt x="28" y="106"/>
                      <a:pt x="38" y="89"/>
                    </a:cubicBezTo>
                    <a:cubicBezTo>
                      <a:pt x="44" y="93"/>
                      <a:pt x="44" y="93"/>
                      <a:pt x="44" y="93"/>
                    </a:cubicBezTo>
                    <a:cubicBezTo>
                      <a:pt x="48" y="86"/>
                      <a:pt x="48" y="86"/>
                      <a:pt x="48" y="86"/>
                    </a:cubicBezTo>
                    <a:cubicBezTo>
                      <a:pt x="41" y="83"/>
                      <a:pt x="41" y="83"/>
                      <a:pt x="41" y="83"/>
                    </a:cubicBezTo>
                    <a:cubicBezTo>
                      <a:pt x="52" y="66"/>
                      <a:pt x="66" y="52"/>
                      <a:pt x="83" y="41"/>
                    </a:cubicBezTo>
                    <a:cubicBezTo>
                      <a:pt x="87" y="48"/>
                      <a:pt x="87" y="48"/>
                      <a:pt x="87" y="48"/>
                    </a:cubicBezTo>
                    <a:cubicBezTo>
                      <a:pt x="93" y="44"/>
                      <a:pt x="93" y="44"/>
                      <a:pt x="93" y="44"/>
                    </a:cubicBezTo>
                    <a:cubicBezTo>
                      <a:pt x="89" y="37"/>
                      <a:pt x="89" y="37"/>
                      <a:pt x="89" y="37"/>
                    </a:cubicBezTo>
                    <a:cubicBezTo>
                      <a:pt x="106" y="28"/>
                      <a:pt x="126" y="23"/>
                      <a:pt x="146" y="22"/>
                    </a:cubicBezTo>
                    <a:cubicBezTo>
                      <a:pt x="146" y="45"/>
                      <a:pt x="146" y="45"/>
                      <a:pt x="146" y="45"/>
                    </a:cubicBezTo>
                    <a:cubicBezTo>
                      <a:pt x="154" y="45"/>
                      <a:pt x="154" y="45"/>
                      <a:pt x="154" y="45"/>
                    </a:cubicBezTo>
                    <a:cubicBezTo>
                      <a:pt x="154" y="22"/>
                      <a:pt x="154" y="22"/>
                      <a:pt x="154" y="22"/>
                    </a:cubicBezTo>
                    <a:cubicBezTo>
                      <a:pt x="174" y="23"/>
                      <a:pt x="193" y="28"/>
                      <a:pt x="210" y="37"/>
                    </a:cubicBezTo>
                    <a:cubicBezTo>
                      <a:pt x="207" y="44"/>
                      <a:pt x="207" y="44"/>
                      <a:pt x="207" y="44"/>
                    </a:cubicBezTo>
                    <a:cubicBezTo>
                      <a:pt x="213" y="48"/>
                      <a:pt x="213" y="48"/>
                      <a:pt x="213" y="48"/>
                    </a:cubicBezTo>
                    <a:cubicBezTo>
                      <a:pt x="217" y="41"/>
                      <a:pt x="217" y="41"/>
                      <a:pt x="217" y="41"/>
                    </a:cubicBezTo>
                    <a:cubicBezTo>
                      <a:pt x="234" y="52"/>
                      <a:pt x="248" y="66"/>
                      <a:pt x="258" y="83"/>
                    </a:cubicBezTo>
                    <a:cubicBezTo>
                      <a:pt x="252" y="86"/>
                      <a:pt x="252" y="86"/>
                      <a:pt x="252" y="86"/>
                    </a:cubicBezTo>
                    <a:cubicBezTo>
                      <a:pt x="256" y="93"/>
                      <a:pt x="256" y="93"/>
                      <a:pt x="256" y="93"/>
                    </a:cubicBezTo>
                    <a:cubicBezTo>
                      <a:pt x="262" y="89"/>
                      <a:pt x="262" y="89"/>
                      <a:pt x="262" y="89"/>
                    </a:cubicBezTo>
                    <a:cubicBezTo>
                      <a:pt x="271" y="106"/>
                      <a:pt x="277" y="125"/>
                      <a:pt x="277" y="146"/>
                    </a:cubicBezTo>
                    <a:cubicBezTo>
                      <a:pt x="255" y="146"/>
                      <a:pt x="255" y="146"/>
                      <a:pt x="255" y="146"/>
                    </a:cubicBezTo>
                    <a:cubicBezTo>
                      <a:pt x="255" y="153"/>
                      <a:pt x="255" y="153"/>
                      <a:pt x="255" y="153"/>
                    </a:cubicBezTo>
                    <a:cubicBezTo>
                      <a:pt x="277" y="153"/>
                      <a:pt x="277" y="153"/>
                      <a:pt x="277" y="153"/>
                    </a:cubicBezTo>
                    <a:cubicBezTo>
                      <a:pt x="276" y="174"/>
                      <a:pt x="271" y="193"/>
                      <a:pt x="262" y="210"/>
                    </a:cubicBezTo>
                    <a:cubicBezTo>
                      <a:pt x="256" y="206"/>
                      <a:pt x="256" y="206"/>
                      <a:pt x="256" y="206"/>
                    </a:cubicBezTo>
                    <a:cubicBezTo>
                      <a:pt x="252" y="213"/>
                      <a:pt x="252" y="213"/>
                      <a:pt x="252" y="213"/>
                    </a:cubicBezTo>
                    <a:cubicBezTo>
                      <a:pt x="258" y="217"/>
                      <a:pt x="258" y="217"/>
                      <a:pt x="258" y="217"/>
                    </a:cubicBezTo>
                    <a:cubicBezTo>
                      <a:pt x="248" y="233"/>
                      <a:pt x="234" y="248"/>
                      <a:pt x="217" y="258"/>
                    </a:cubicBezTo>
                    <a:close/>
                    <a:moveTo>
                      <a:pt x="158" y="158"/>
                    </a:moveTo>
                    <a:cubicBezTo>
                      <a:pt x="154" y="163"/>
                      <a:pt x="146" y="163"/>
                      <a:pt x="141" y="158"/>
                    </a:cubicBezTo>
                    <a:cubicBezTo>
                      <a:pt x="137" y="154"/>
                      <a:pt x="137" y="146"/>
                      <a:pt x="141" y="141"/>
                    </a:cubicBezTo>
                    <a:cubicBezTo>
                      <a:pt x="146" y="137"/>
                      <a:pt x="154" y="137"/>
                      <a:pt x="158" y="141"/>
                    </a:cubicBezTo>
                    <a:cubicBezTo>
                      <a:pt x="163" y="146"/>
                      <a:pt x="163" y="154"/>
                      <a:pt x="158" y="158"/>
                    </a:cubicBezTo>
                    <a:close/>
                    <a:moveTo>
                      <a:pt x="211" y="88"/>
                    </a:moveTo>
                    <a:cubicBezTo>
                      <a:pt x="134" y="123"/>
                      <a:pt x="134" y="123"/>
                      <a:pt x="134" y="123"/>
                    </a:cubicBezTo>
                    <a:cubicBezTo>
                      <a:pt x="125" y="132"/>
                      <a:pt x="125" y="132"/>
                      <a:pt x="125" y="132"/>
                    </a:cubicBezTo>
                    <a:cubicBezTo>
                      <a:pt x="88" y="211"/>
                      <a:pt x="88" y="211"/>
                      <a:pt x="88" y="211"/>
                    </a:cubicBezTo>
                    <a:cubicBezTo>
                      <a:pt x="168" y="174"/>
                      <a:pt x="168" y="174"/>
                      <a:pt x="168" y="174"/>
                    </a:cubicBezTo>
                    <a:cubicBezTo>
                      <a:pt x="176" y="166"/>
                      <a:pt x="176" y="166"/>
                      <a:pt x="176" y="166"/>
                    </a:cubicBezTo>
                    <a:lnTo>
                      <a:pt x="211" y="88"/>
                    </a:lnTo>
                    <a:close/>
                    <a:moveTo>
                      <a:pt x="135" y="165"/>
                    </a:moveTo>
                    <a:cubicBezTo>
                      <a:pt x="127" y="156"/>
                      <a:pt x="127" y="143"/>
                      <a:pt x="135" y="135"/>
                    </a:cubicBezTo>
                    <a:cubicBezTo>
                      <a:pt x="143" y="127"/>
                      <a:pt x="156" y="127"/>
                      <a:pt x="165" y="135"/>
                    </a:cubicBezTo>
                    <a:cubicBezTo>
                      <a:pt x="173" y="143"/>
                      <a:pt x="173" y="156"/>
                      <a:pt x="165" y="165"/>
                    </a:cubicBezTo>
                    <a:cubicBezTo>
                      <a:pt x="156" y="173"/>
                      <a:pt x="143" y="173"/>
                      <a:pt x="135" y="165"/>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accent2"/>
                  </a:solidFill>
                </a:endParaRPr>
              </a:p>
            </p:txBody>
          </p:sp>
          <p:sp>
            <p:nvSpPr>
              <p:cNvPr id="156" name="Trapezoid 35"/>
              <p:cNvSpPr>
                <a:spLocks noChangeAspect="1"/>
              </p:cNvSpPr>
              <p:nvPr/>
            </p:nvSpPr>
            <p:spPr bwMode="auto">
              <a:xfrm>
                <a:off x="4890116" y="4426141"/>
                <a:ext cx="116771" cy="143577"/>
              </a:xfrm>
              <a:custGeom>
                <a:avLst/>
                <a:gdLst/>
                <a:ahLst/>
                <a:cxnLst/>
                <a:rect l="l" t="t" r="r" b="b"/>
                <a:pathLst>
                  <a:path w="498727" h="613376">
                    <a:moveTo>
                      <a:pt x="248588" y="85168"/>
                    </a:moveTo>
                    <a:cubicBezTo>
                      <a:pt x="222130" y="85168"/>
                      <a:pt x="200681" y="106618"/>
                      <a:pt x="200681" y="133076"/>
                    </a:cubicBezTo>
                    <a:cubicBezTo>
                      <a:pt x="200681" y="159535"/>
                      <a:pt x="222130" y="180984"/>
                      <a:pt x="248588" y="180984"/>
                    </a:cubicBezTo>
                    <a:cubicBezTo>
                      <a:pt x="275047" y="180984"/>
                      <a:pt x="296496" y="159535"/>
                      <a:pt x="296496" y="133076"/>
                    </a:cubicBezTo>
                    <a:cubicBezTo>
                      <a:pt x="296496" y="106618"/>
                      <a:pt x="275047" y="85168"/>
                      <a:pt x="248588" y="85168"/>
                    </a:cubicBezTo>
                    <a:close/>
                    <a:moveTo>
                      <a:pt x="247841" y="0"/>
                    </a:moveTo>
                    <a:cubicBezTo>
                      <a:pt x="330545" y="0"/>
                      <a:pt x="397998" y="67110"/>
                      <a:pt x="397998" y="150114"/>
                    </a:cubicBezTo>
                    <a:cubicBezTo>
                      <a:pt x="397998" y="151880"/>
                      <a:pt x="397998" y="153646"/>
                      <a:pt x="397998" y="155412"/>
                    </a:cubicBezTo>
                    <a:cubicBezTo>
                      <a:pt x="397998" y="165420"/>
                      <a:pt x="396825" y="176016"/>
                      <a:pt x="394479" y="187201"/>
                    </a:cubicBezTo>
                    <a:cubicBezTo>
                      <a:pt x="394475" y="187211"/>
                      <a:pt x="393802" y="188969"/>
                      <a:pt x="274544" y="500358"/>
                    </a:cubicBezTo>
                    <a:lnTo>
                      <a:pt x="470473" y="500358"/>
                    </a:lnTo>
                    <a:lnTo>
                      <a:pt x="498727" y="613376"/>
                    </a:lnTo>
                    <a:lnTo>
                      <a:pt x="0" y="613376"/>
                    </a:lnTo>
                    <a:lnTo>
                      <a:pt x="28255" y="500358"/>
                    </a:lnTo>
                    <a:lnTo>
                      <a:pt x="220183" y="500358"/>
                    </a:lnTo>
                    <a:cubicBezTo>
                      <a:pt x="199775" y="446642"/>
                      <a:pt x="163981" y="352432"/>
                      <a:pt x="101204" y="187201"/>
                    </a:cubicBezTo>
                    <a:cubicBezTo>
                      <a:pt x="99444" y="178371"/>
                      <a:pt x="98271" y="169541"/>
                      <a:pt x="98271" y="161299"/>
                    </a:cubicBezTo>
                    <a:cubicBezTo>
                      <a:pt x="98271" y="157767"/>
                      <a:pt x="98271" y="154235"/>
                      <a:pt x="98271" y="150114"/>
                    </a:cubicBezTo>
                    <a:cubicBezTo>
                      <a:pt x="98271" y="67110"/>
                      <a:pt x="165138" y="0"/>
                      <a:pt x="247841" y="0"/>
                    </a:cubicBezTo>
                    <a:close/>
                  </a:path>
                </a:pathLst>
              </a:custGeom>
              <a:grpFill/>
              <a:ln w="25400" cap="sq" cmpd="sng" algn="ctr">
                <a:noFill/>
                <a:prstDash val="solid"/>
                <a:miter lim="800000"/>
                <a:headEnd type="none" w="med" len="med"/>
                <a:tailEnd type="none" w="med" len="med"/>
              </a:ln>
              <a:effectLst/>
            </p:spPr>
            <p:txBody>
              <a:bodyPr vert="horz" wrap="square" lIns="91436" tIns="45718" rIns="91436" bIns="45718" numCol="1" rtlCol="0" anchor="ctr"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099" eaLnBrk="1" fontAlgn="base" latinLnBrk="0" hangingPunct="1">
                  <a:lnSpc>
                    <a:spcPct val="100000"/>
                  </a:lnSpc>
                  <a:spcBef>
                    <a:spcPct val="0"/>
                  </a:spcBef>
                  <a:spcAft>
                    <a:spcPct val="0"/>
                  </a:spcAft>
                  <a:buClrTx/>
                  <a:buSzTx/>
                  <a:buFontTx/>
                  <a:buNone/>
                  <a:tabLst/>
                  <a:defRPr/>
                </a:pPr>
                <a:endParaRPr kumimoji="0" lang="en-US" sz="2200" b="0" i="0" u="none" strike="noStrike" kern="0" cap="none" spc="-150" normalizeH="0" baseline="0" noProof="0" dirty="0" smtClean="0">
                  <a:ln>
                    <a:noFill/>
                  </a:ln>
                  <a:solidFill>
                    <a:schemeClr val="accent2"/>
                  </a:solidFill>
                  <a:effectLst/>
                  <a:uLnTx/>
                  <a:uFillTx/>
                  <a:latin typeface="Segoe Light" pitchFamily="34" charset="0"/>
                  <a:ea typeface="+mn-ea"/>
                  <a:cs typeface="+mn-cs"/>
                </a:endParaRPr>
              </a:p>
            </p:txBody>
          </p:sp>
          <p:sp>
            <p:nvSpPr>
              <p:cNvPr id="157" name="Rectangle 34"/>
              <p:cNvSpPr>
                <a:spLocks noChangeAspect="1"/>
              </p:cNvSpPr>
              <p:nvPr/>
            </p:nvSpPr>
            <p:spPr bwMode="auto">
              <a:xfrm>
                <a:off x="4236748" y="3402704"/>
                <a:ext cx="97385" cy="171288"/>
              </a:xfrm>
              <a:custGeom>
                <a:avLst/>
                <a:gdLst/>
                <a:ahLst/>
                <a:cxnLst/>
                <a:rect l="l" t="t" r="r" b="b"/>
                <a:pathLst>
                  <a:path w="1171885" h="2061737">
                    <a:moveTo>
                      <a:pt x="143419" y="1960615"/>
                    </a:moveTo>
                    <a:cubicBezTo>
                      <a:pt x="138369" y="1960615"/>
                      <a:pt x="134275" y="1964709"/>
                      <a:pt x="134275" y="1969759"/>
                    </a:cubicBezTo>
                    <a:cubicBezTo>
                      <a:pt x="134275" y="1974809"/>
                      <a:pt x="138369" y="1978903"/>
                      <a:pt x="143419" y="1978903"/>
                    </a:cubicBezTo>
                    <a:lnTo>
                      <a:pt x="579179" y="1978903"/>
                    </a:lnTo>
                    <a:cubicBezTo>
                      <a:pt x="584229" y="1978903"/>
                      <a:pt x="588323" y="1974809"/>
                      <a:pt x="588323" y="1969759"/>
                    </a:cubicBezTo>
                    <a:cubicBezTo>
                      <a:pt x="588323" y="1964709"/>
                      <a:pt x="584229" y="1960615"/>
                      <a:pt x="579179" y="1960615"/>
                    </a:cubicBezTo>
                    <a:close/>
                    <a:moveTo>
                      <a:pt x="143419" y="1910375"/>
                    </a:moveTo>
                    <a:cubicBezTo>
                      <a:pt x="138369" y="1910375"/>
                      <a:pt x="134275" y="1914469"/>
                      <a:pt x="134275" y="1919519"/>
                    </a:cubicBezTo>
                    <a:cubicBezTo>
                      <a:pt x="134275" y="1924569"/>
                      <a:pt x="138369" y="1928663"/>
                      <a:pt x="143419" y="1928663"/>
                    </a:cubicBezTo>
                    <a:lnTo>
                      <a:pt x="579179" y="1928663"/>
                    </a:lnTo>
                    <a:cubicBezTo>
                      <a:pt x="584229" y="1928663"/>
                      <a:pt x="588323" y="1924569"/>
                      <a:pt x="588323" y="1919519"/>
                    </a:cubicBezTo>
                    <a:cubicBezTo>
                      <a:pt x="588323" y="1914469"/>
                      <a:pt x="584229" y="1910375"/>
                      <a:pt x="579179" y="1910375"/>
                    </a:cubicBezTo>
                    <a:close/>
                    <a:moveTo>
                      <a:pt x="636962" y="1860134"/>
                    </a:moveTo>
                    <a:cubicBezTo>
                      <a:pt x="626871" y="1860134"/>
                      <a:pt x="618691" y="1868314"/>
                      <a:pt x="618691" y="1878405"/>
                    </a:cubicBezTo>
                    <a:lnTo>
                      <a:pt x="618691" y="1951488"/>
                    </a:lnTo>
                    <a:cubicBezTo>
                      <a:pt x="618691" y="1961579"/>
                      <a:pt x="626871" y="1969759"/>
                      <a:pt x="636962" y="1969759"/>
                    </a:cubicBezTo>
                    <a:lnTo>
                      <a:pt x="1027491" y="1969759"/>
                    </a:lnTo>
                    <a:cubicBezTo>
                      <a:pt x="1037582" y="1969759"/>
                      <a:pt x="1045762" y="1961579"/>
                      <a:pt x="1045762" y="1951488"/>
                    </a:cubicBezTo>
                    <a:lnTo>
                      <a:pt x="1045762" y="1878405"/>
                    </a:lnTo>
                    <a:cubicBezTo>
                      <a:pt x="1045762" y="1868314"/>
                      <a:pt x="1037582" y="1860134"/>
                      <a:pt x="1027491" y="1860134"/>
                    </a:cubicBezTo>
                    <a:close/>
                    <a:moveTo>
                      <a:pt x="143419" y="1860134"/>
                    </a:moveTo>
                    <a:cubicBezTo>
                      <a:pt x="138369" y="1860134"/>
                      <a:pt x="134275" y="1864228"/>
                      <a:pt x="134275" y="1869278"/>
                    </a:cubicBezTo>
                    <a:cubicBezTo>
                      <a:pt x="134275" y="1874328"/>
                      <a:pt x="138369" y="1878422"/>
                      <a:pt x="143419" y="1878422"/>
                    </a:cubicBezTo>
                    <a:lnTo>
                      <a:pt x="579179" y="1878422"/>
                    </a:lnTo>
                    <a:cubicBezTo>
                      <a:pt x="584229" y="1878422"/>
                      <a:pt x="588323" y="1874328"/>
                      <a:pt x="588323" y="1869278"/>
                    </a:cubicBezTo>
                    <a:cubicBezTo>
                      <a:pt x="588323" y="1864228"/>
                      <a:pt x="584229" y="1860134"/>
                      <a:pt x="579179" y="1860134"/>
                    </a:cubicBezTo>
                    <a:close/>
                    <a:moveTo>
                      <a:pt x="849158" y="653609"/>
                    </a:moveTo>
                    <a:lnTo>
                      <a:pt x="948122" y="653609"/>
                    </a:lnTo>
                    <a:lnTo>
                      <a:pt x="948122" y="1054223"/>
                    </a:lnTo>
                    <a:lnTo>
                      <a:pt x="849158" y="1054223"/>
                    </a:lnTo>
                    <a:close/>
                    <a:moveTo>
                      <a:pt x="773632" y="653609"/>
                    </a:moveTo>
                    <a:lnTo>
                      <a:pt x="821706" y="653609"/>
                    </a:lnTo>
                    <a:lnTo>
                      <a:pt x="821706" y="1054223"/>
                    </a:lnTo>
                    <a:lnTo>
                      <a:pt x="773632" y="1054223"/>
                    </a:lnTo>
                    <a:close/>
                    <a:moveTo>
                      <a:pt x="565313" y="653609"/>
                    </a:moveTo>
                    <a:lnTo>
                      <a:pt x="613386" y="653609"/>
                    </a:lnTo>
                    <a:lnTo>
                      <a:pt x="613386" y="1054223"/>
                    </a:lnTo>
                    <a:lnTo>
                      <a:pt x="565313" y="1054223"/>
                    </a:lnTo>
                    <a:close/>
                    <a:moveTo>
                      <a:pt x="408629" y="653609"/>
                    </a:moveTo>
                    <a:lnTo>
                      <a:pt x="456702" y="653609"/>
                    </a:lnTo>
                    <a:lnTo>
                      <a:pt x="456702" y="1054223"/>
                    </a:lnTo>
                    <a:lnTo>
                      <a:pt x="408629" y="1054223"/>
                    </a:lnTo>
                    <a:close/>
                    <a:moveTo>
                      <a:pt x="264406" y="653609"/>
                    </a:moveTo>
                    <a:lnTo>
                      <a:pt x="380140" y="653609"/>
                    </a:lnTo>
                    <a:lnTo>
                      <a:pt x="380140" y="1054223"/>
                    </a:lnTo>
                    <a:lnTo>
                      <a:pt x="264406" y="1054223"/>
                    </a:lnTo>
                    <a:close/>
                    <a:moveTo>
                      <a:pt x="203108" y="653609"/>
                    </a:moveTo>
                    <a:lnTo>
                      <a:pt x="250162" y="653609"/>
                    </a:lnTo>
                    <a:lnTo>
                      <a:pt x="250162" y="1054223"/>
                    </a:lnTo>
                    <a:lnTo>
                      <a:pt x="203108" y="1054223"/>
                    </a:lnTo>
                    <a:close/>
                    <a:moveTo>
                      <a:pt x="117669" y="194556"/>
                    </a:moveTo>
                    <a:lnTo>
                      <a:pt x="117669" y="1775970"/>
                    </a:lnTo>
                    <a:lnTo>
                      <a:pt x="1054217" y="1775970"/>
                    </a:lnTo>
                    <a:lnTo>
                      <a:pt x="1054217" y="194556"/>
                    </a:lnTo>
                    <a:close/>
                    <a:moveTo>
                      <a:pt x="195318" y="0"/>
                    </a:moveTo>
                    <a:lnTo>
                      <a:pt x="976567" y="0"/>
                    </a:lnTo>
                    <a:cubicBezTo>
                      <a:pt x="1084438" y="0"/>
                      <a:pt x="1171885" y="87447"/>
                      <a:pt x="1171885" y="195318"/>
                    </a:cubicBezTo>
                    <a:lnTo>
                      <a:pt x="1171885" y="1866419"/>
                    </a:lnTo>
                    <a:cubicBezTo>
                      <a:pt x="1171885" y="1974290"/>
                      <a:pt x="1084438" y="2061737"/>
                      <a:pt x="976567" y="2061737"/>
                    </a:cubicBezTo>
                    <a:lnTo>
                      <a:pt x="195318" y="2061737"/>
                    </a:lnTo>
                    <a:cubicBezTo>
                      <a:pt x="87447" y="2061737"/>
                      <a:pt x="0" y="1974290"/>
                      <a:pt x="0" y="1866419"/>
                    </a:cubicBezTo>
                    <a:lnTo>
                      <a:pt x="0" y="195318"/>
                    </a:lnTo>
                    <a:cubicBezTo>
                      <a:pt x="0" y="87447"/>
                      <a:pt x="87447" y="0"/>
                      <a:pt x="195318"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solidFill>
                    <a:schemeClr val="accent2"/>
                  </a:solidFill>
                  <a:latin typeface="Segoe UI" pitchFamily="34" charset="0"/>
                  <a:ea typeface="Segoe UI" pitchFamily="34" charset="0"/>
                  <a:cs typeface="Segoe UI" pitchFamily="34" charset="0"/>
                </a:endParaRPr>
              </a:p>
            </p:txBody>
          </p:sp>
          <p:sp>
            <p:nvSpPr>
              <p:cNvPr id="158" name="Freeform 157"/>
              <p:cNvSpPr>
                <a:spLocks noChangeAspect="1"/>
              </p:cNvSpPr>
              <p:nvPr/>
            </p:nvSpPr>
            <p:spPr bwMode="auto">
              <a:xfrm>
                <a:off x="4750003" y="3235470"/>
                <a:ext cx="146372" cy="143347"/>
              </a:xfrm>
              <a:custGeom>
                <a:avLst/>
                <a:gdLst/>
                <a:ahLst/>
                <a:cxnLst/>
                <a:rect l="l" t="t" r="r" b="b"/>
                <a:pathLst>
                  <a:path w="2765779" h="2709334">
                    <a:moveTo>
                      <a:pt x="2665062" y="2328296"/>
                    </a:moveTo>
                    <a:lnTo>
                      <a:pt x="1426344" y="2380683"/>
                    </a:lnTo>
                    <a:lnTo>
                      <a:pt x="1426344" y="2538426"/>
                    </a:lnTo>
                    <a:lnTo>
                      <a:pt x="2660300" y="2481276"/>
                    </a:lnTo>
                    <a:close/>
                    <a:moveTo>
                      <a:pt x="1789156" y="1884445"/>
                    </a:moveTo>
                    <a:lnTo>
                      <a:pt x="1621278" y="2052323"/>
                    </a:lnTo>
                    <a:lnTo>
                      <a:pt x="1705217" y="2052323"/>
                    </a:lnTo>
                    <a:lnTo>
                      <a:pt x="1705217" y="2320356"/>
                    </a:lnTo>
                    <a:lnTo>
                      <a:pt x="1873095" y="2320356"/>
                    </a:lnTo>
                    <a:lnTo>
                      <a:pt x="1873095" y="2052323"/>
                    </a:lnTo>
                    <a:lnTo>
                      <a:pt x="1957034" y="2052323"/>
                    </a:lnTo>
                    <a:close/>
                    <a:moveTo>
                      <a:pt x="2343988" y="1864924"/>
                    </a:moveTo>
                    <a:lnTo>
                      <a:pt x="2176110" y="2032802"/>
                    </a:lnTo>
                    <a:lnTo>
                      <a:pt x="2260049" y="2032802"/>
                    </a:lnTo>
                    <a:lnTo>
                      <a:pt x="2260049" y="2300835"/>
                    </a:lnTo>
                    <a:lnTo>
                      <a:pt x="2427927" y="2300835"/>
                    </a:lnTo>
                    <a:lnTo>
                      <a:pt x="2427927" y="2032802"/>
                    </a:lnTo>
                    <a:lnTo>
                      <a:pt x="2511866" y="2032802"/>
                    </a:lnTo>
                    <a:close/>
                    <a:moveTo>
                      <a:pt x="1242561" y="310092"/>
                    </a:moveTo>
                    <a:lnTo>
                      <a:pt x="831090" y="497124"/>
                    </a:lnTo>
                    <a:cubicBezTo>
                      <a:pt x="834825" y="502719"/>
                      <a:pt x="836419" y="509232"/>
                      <a:pt x="837189" y="516038"/>
                    </a:cubicBezTo>
                    <a:lnTo>
                      <a:pt x="883745" y="927318"/>
                    </a:lnTo>
                    <a:lnTo>
                      <a:pt x="401403" y="981917"/>
                    </a:lnTo>
                    <a:lnTo>
                      <a:pt x="370238" y="706603"/>
                    </a:lnTo>
                    <a:lnTo>
                      <a:pt x="123395" y="818804"/>
                    </a:lnTo>
                    <a:lnTo>
                      <a:pt x="123395" y="2474429"/>
                    </a:lnTo>
                    <a:lnTo>
                      <a:pt x="1242561" y="2529925"/>
                    </a:lnTo>
                    <a:close/>
                    <a:moveTo>
                      <a:pt x="1399823" y="0"/>
                    </a:moveTo>
                    <a:lnTo>
                      <a:pt x="2765779" y="620889"/>
                    </a:lnTo>
                    <a:lnTo>
                      <a:pt x="2765779" y="2641600"/>
                    </a:lnTo>
                    <a:lnTo>
                      <a:pt x="1399823" y="2709334"/>
                    </a:lnTo>
                    <a:close/>
                    <a:moveTo>
                      <a:pt x="1365956" y="0"/>
                    </a:moveTo>
                    <a:lnTo>
                      <a:pt x="1365956" y="2709334"/>
                    </a:lnTo>
                    <a:lnTo>
                      <a:pt x="0" y="2641600"/>
                    </a:lnTo>
                    <a:lnTo>
                      <a:pt x="0" y="620889"/>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59" name="Trapezoid 17"/>
              <p:cNvSpPr>
                <a:spLocks noChangeAspect="1"/>
              </p:cNvSpPr>
              <p:nvPr/>
            </p:nvSpPr>
            <p:spPr bwMode="auto">
              <a:xfrm>
                <a:off x="6549080" y="4418832"/>
                <a:ext cx="201186" cy="175530"/>
              </a:xfrm>
              <a:custGeom>
                <a:avLst/>
                <a:gdLst/>
                <a:ahLst/>
                <a:cxnLst/>
                <a:rect l="l" t="t" r="r" b="b"/>
                <a:pathLst>
                  <a:path w="2415166" h="2107724">
                    <a:moveTo>
                      <a:pt x="1796255" y="1279229"/>
                    </a:moveTo>
                    <a:lnTo>
                      <a:pt x="1796255" y="1282118"/>
                    </a:lnTo>
                    <a:lnTo>
                      <a:pt x="1794238" y="1282118"/>
                    </a:lnTo>
                    <a:close/>
                    <a:moveTo>
                      <a:pt x="2133091" y="1277023"/>
                    </a:moveTo>
                    <a:lnTo>
                      <a:pt x="2133091" y="1282118"/>
                    </a:lnTo>
                    <a:lnTo>
                      <a:pt x="2126573" y="1282118"/>
                    </a:lnTo>
                    <a:cubicBezTo>
                      <a:pt x="2129409" y="1281204"/>
                      <a:pt x="2131293" y="1279159"/>
                      <a:pt x="2133091" y="1277023"/>
                    </a:cubicBezTo>
                    <a:close/>
                    <a:moveTo>
                      <a:pt x="1528177" y="1124425"/>
                    </a:moveTo>
                    <a:lnTo>
                      <a:pt x="1666244" y="1124425"/>
                    </a:lnTo>
                    <a:cubicBezTo>
                      <a:pt x="1639905" y="1142636"/>
                      <a:pt x="1623644" y="1173286"/>
                      <a:pt x="1623644" y="1207734"/>
                    </a:cubicBezTo>
                    <a:cubicBezTo>
                      <a:pt x="1623644" y="1266891"/>
                      <a:pt x="1671599" y="1314846"/>
                      <a:pt x="1730755" y="1314846"/>
                    </a:cubicBezTo>
                    <a:cubicBezTo>
                      <a:pt x="1789912" y="1314846"/>
                      <a:pt x="1837867" y="1266891"/>
                      <a:pt x="1837867" y="1207734"/>
                    </a:cubicBezTo>
                    <a:cubicBezTo>
                      <a:pt x="1837867" y="1173286"/>
                      <a:pt x="1821606" y="1142636"/>
                      <a:pt x="1795268" y="1124425"/>
                    </a:cubicBezTo>
                    <a:lnTo>
                      <a:pt x="1996506" y="1124425"/>
                    </a:lnTo>
                    <a:cubicBezTo>
                      <a:pt x="1970168" y="1142636"/>
                      <a:pt x="1953906" y="1173286"/>
                      <a:pt x="1953906" y="1207734"/>
                    </a:cubicBezTo>
                    <a:cubicBezTo>
                      <a:pt x="1953906" y="1266891"/>
                      <a:pt x="2001861" y="1314846"/>
                      <a:pt x="2061018" y="1314846"/>
                    </a:cubicBezTo>
                    <a:cubicBezTo>
                      <a:pt x="2120174" y="1314846"/>
                      <a:pt x="2168130" y="1266891"/>
                      <a:pt x="2168130" y="1207734"/>
                    </a:cubicBezTo>
                    <a:cubicBezTo>
                      <a:pt x="2168130" y="1173286"/>
                      <a:pt x="2151868" y="1142636"/>
                      <a:pt x="2125530" y="1124425"/>
                    </a:cubicBezTo>
                    <a:lnTo>
                      <a:pt x="2277932" y="1124425"/>
                    </a:lnTo>
                    <a:cubicBezTo>
                      <a:pt x="2318820" y="1124425"/>
                      <a:pt x="2337090" y="1154596"/>
                      <a:pt x="2337090" y="1195484"/>
                    </a:cubicBezTo>
                    <a:lnTo>
                      <a:pt x="2411473" y="2012863"/>
                    </a:lnTo>
                    <a:cubicBezTo>
                      <a:pt x="2411473" y="2053751"/>
                      <a:pt x="2428908" y="2104749"/>
                      <a:pt x="2388020" y="2104749"/>
                    </a:cubicBezTo>
                    <a:lnTo>
                      <a:pt x="1435941" y="2107724"/>
                    </a:lnTo>
                    <a:cubicBezTo>
                      <a:pt x="1395052" y="2107724"/>
                      <a:pt x="1403562" y="2056726"/>
                      <a:pt x="1403562" y="2015838"/>
                    </a:cubicBezTo>
                    <a:cubicBezTo>
                      <a:pt x="1430339" y="1703707"/>
                      <a:pt x="1439266" y="1465959"/>
                      <a:pt x="1466044" y="1180607"/>
                    </a:cubicBezTo>
                    <a:cubicBezTo>
                      <a:pt x="1466044" y="1139719"/>
                      <a:pt x="1487289" y="1124425"/>
                      <a:pt x="1528177" y="1124425"/>
                    </a:cubicBezTo>
                    <a:close/>
                    <a:moveTo>
                      <a:pt x="1629022" y="1112189"/>
                    </a:moveTo>
                    <a:lnTo>
                      <a:pt x="1629322" y="1115479"/>
                    </a:lnTo>
                    <a:lnTo>
                      <a:pt x="1626238" y="1115479"/>
                    </a:lnTo>
                    <a:cubicBezTo>
                      <a:pt x="1626748" y="1113852"/>
                      <a:pt x="1627875" y="1113009"/>
                      <a:pt x="1629022" y="1112189"/>
                    </a:cubicBezTo>
                    <a:close/>
                    <a:moveTo>
                      <a:pt x="1880693" y="871455"/>
                    </a:moveTo>
                    <a:lnTo>
                      <a:pt x="1912922" y="871455"/>
                    </a:lnTo>
                    <a:cubicBezTo>
                      <a:pt x="2009224" y="871455"/>
                      <a:pt x="2087292" y="956275"/>
                      <a:pt x="2087292" y="1060906"/>
                    </a:cubicBezTo>
                    <a:lnTo>
                      <a:pt x="2087292" y="1163088"/>
                    </a:lnTo>
                    <a:lnTo>
                      <a:pt x="2094786" y="1170211"/>
                    </a:lnTo>
                    <a:cubicBezTo>
                      <a:pt x="2096259" y="1170936"/>
                      <a:pt x="2097383" y="1172047"/>
                      <a:pt x="2098192" y="1173449"/>
                    </a:cubicBezTo>
                    <a:cubicBezTo>
                      <a:pt x="2108281" y="1181292"/>
                      <a:pt x="2113666" y="1194209"/>
                      <a:pt x="2113666" y="1208493"/>
                    </a:cubicBezTo>
                    <a:cubicBezTo>
                      <a:pt x="2113666" y="1236761"/>
                      <a:pt x="2092574" y="1259677"/>
                      <a:pt x="2066556" y="1259677"/>
                    </a:cubicBezTo>
                    <a:lnTo>
                      <a:pt x="2061491" y="1258566"/>
                    </a:lnTo>
                    <a:cubicBezTo>
                      <a:pt x="2061334" y="1258661"/>
                      <a:pt x="2061176" y="1258661"/>
                      <a:pt x="2061018" y="1258661"/>
                    </a:cubicBezTo>
                    <a:cubicBezTo>
                      <a:pt x="2032891" y="1258661"/>
                      <a:pt x="2010090" y="1235860"/>
                      <a:pt x="2010090" y="1207734"/>
                    </a:cubicBezTo>
                    <a:cubicBezTo>
                      <a:pt x="2010090" y="1184535"/>
                      <a:pt x="2025603" y="1164959"/>
                      <a:pt x="2047056" y="1159626"/>
                    </a:cubicBezTo>
                    <a:lnTo>
                      <a:pt x="2047056" y="1084250"/>
                    </a:lnTo>
                    <a:cubicBezTo>
                      <a:pt x="2047056" y="1003331"/>
                      <a:pt x="1986681" y="937734"/>
                      <a:pt x="1912204" y="937734"/>
                    </a:cubicBezTo>
                    <a:lnTo>
                      <a:pt x="1887277" y="937734"/>
                    </a:lnTo>
                    <a:cubicBezTo>
                      <a:pt x="1812801" y="937734"/>
                      <a:pt x="1752425" y="1003331"/>
                      <a:pt x="1752425" y="1084250"/>
                    </a:cubicBezTo>
                    <a:lnTo>
                      <a:pt x="1752425" y="1162054"/>
                    </a:lnTo>
                    <a:cubicBezTo>
                      <a:pt x="1769791" y="1169886"/>
                      <a:pt x="1781683" y="1187422"/>
                      <a:pt x="1781683" y="1207734"/>
                    </a:cubicBezTo>
                    <a:cubicBezTo>
                      <a:pt x="1781683" y="1220866"/>
                      <a:pt x="1776712" y="1232838"/>
                      <a:pt x="1768228" y="1241578"/>
                    </a:cubicBezTo>
                    <a:cubicBezTo>
                      <a:pt x="1760023" y="1252796"/>
                      <a:pt x="1747245" y="1259677"/>
                      <a:pt x="1732987" y="1259677"/>
                    </a:cubicBezTo>
                    <a:cubicBezTo>
                      <a:pt x="1726287" y="1259677"/>
                      <a:pt x="1719912" y="1258157"/>
                      <a:pt x="1714189" y="1255317"/>
                    </a:cubicBezTo>
                    <a:cubicBezTo>
                      <a:pt x="1694108" y="1248915"/>
                      <a:pt x="1679828" y="1229993"/>
                      <a:pt x="1679828" y="1207734"/>
                    </a:cubicBezTo>
                    <a:cubicBezTo>
                      <a:pt x="1679828" y="1188615"/>
                      <a:pt x="1690365" y="1171956"/>
                      <a:pt x="1706322" y="1163918"/>
                    </a:cubicBezTo>
                    <a:lnTo>
                      <a:pt x="1706322" y="1060906"/>
                    </a:lnTo>
                    <a:cubicBezTo>
                      <a:pt x="1706322" y="956275"/>
                      <a:pt x="1784391" y="871455"/>
                      <a:pt x="1880693" y="871455"/>
                    </a:cubicBezTo>
                    <a:close/>
                    <a:moveTo>
                      <a:pt x="664345" y="688570"/>
                    </a:moveTo>
                    <a:lnTo>
                      <a:pt x="664345" y="693448"/>
                    </a:lnTo>
                    <a:lnTo>
                      <a:pt x="660939" y="693448"/>
                    </a:lnTo>
                    <a:close/>
                    <a:moveTo>
                      <a:pt x="1233128" y="684844"/>
                    </a:moveTo>
                    <a:lnTo>
                      <a:pt x="1233128" y="693448"/>
                    </a:lnTo>
                    <a:lnTo>
                      <a:pt x="1222123" y="693448"/>
                    </a:lnTo>
                    <a:cubicBezTo>
                      <a:pt x="1226911" y="691905"/>
                      <a:pt x="1230093" y="688451"/>
                      <a:pt x="1233128" y="684844"/>
                    </a:cubicBezTo>
                    <a:close/>
                    <a:moveTo>
                      <a:pt x="211666" y="427166"/>
                    </a:moveTo>
                    <a:lnTo>
                      <a:pt x="444807" y="427166"/>
                    </a:lnTo>
                    <a:cubicBezTo>
                      <a:pt x="400332" y="457918"/>
                      <a:pt x="372872" y="509674"/>
                      <a:pt x="372872" y="567843"/>
                    </a:cubicBezTo>
                    <a:cubicBezTo>
                      <a:pt x="372872" y="667735"/>
                      <a:pt x="453850" y="748713"/>
                      <a:pt x="553742" y="748713"/>
                    </a:cubicBezTo>
                    <a:cubicBezTo>
                      <a:pt x="653634" y="748713"/>
                      <a:pt x="734612" y="667735"/>
                      <a:pt x="734612" y="567843"/>
                    </a:cubicBezTo>
                    <a:cubicBezTo>
                      <a:pt x="734612" y="509674"/>
                      <a:pt x="707152" y="457918"/>
                      <a:pt x="662678" y="427166"/>
                    </a:cubicBezTo>
                    <a:lnTo>
                      <a:pt x="1002490" y="427166"/>
                    </a:lnTo>
                    <a:cubicBezTo>
                      <a:pt x="958015" y="457918"/>
                      <a:pt x="930555" y="509674"/>
                      <a:pt x="930555" y="567843"/>
                    </a:cubicBezTo>
                    <a:cubicBezTo>
                      <a:pt x="930555" y="667735"/>
                      <a:pt x="1011533" y="748713"/>
                      <a:pt x="1111425" y="748713"/>
                    </a:cubicBezTo>
                    <a:cubicBezTo>
                      <a:pt x="1211317" y="748713"/>
                      <a:pt x="1292295" y="667735"/>
                      <a:pt x="1292295" y="567843"/>
                    </a:cubicBezTo>
                    <a:cubicBezTo>
                      <a:pt x="1292295" y="509674"/>
                      <a:pt x="1264835" y="457918"/>
                      <a:pt x="1220361" y="427166"/>
                    </a:cubicBezTo>
                    <a:lnTo>
                      <a:pt x="1477708" y="427166"/>
                    </a:lnTo>
                    <a:cubicBezTo>
                      <a:pt x="1546752" y="427166"/>
                      <a:pt x="1577603" y="478113"/>
                      <a:pt x="1577603" y="547157"/>
                    </a:cubicBezTo>
                    <a:lnTo>
                      <a:pt x="1628646" y="1108061"/>
                    </a:lnTo>
                    <a:lnTo>
                      <a:pt x="1484635" y="1108061"/>
                    </a:lnTo>
                    <a:cubicBezTo>
                      <a:pt x="1440804" y="1108061"/>
                      <a:pt x="1418030" y="1124456"/>
                      <a:pt x="1418030" y="1168288"/>
                    </a:cubicBezTo>
                    <a:cubicBezTo>
                      <a:pt x="1389324" y="1474179"/>
                      <a:pt x="1379756" y="1729040"/>
                      <a:pt x="1351050" y="2063638"/>
                    </a:cubicBezTo>
                    <a:cubicBezTo>
                      <a:pt x="1351050" y="2070102"/>
                      <a:pt x="1350852" y="2076803"/>
                      <a:pt x="1350616" y="2083527"/>
                    </a:cubicBezTo>
                    <a:lnTo>
                      <a:pt x="55916" y="2087573"/>
                    </a:lnTo>
                    <a:cubicBezTo>
                      <a:pt x="-13128" y="2087573"/>
                      <a:pt x="1240" y="2001457"/>
                      <a:pt x="1240" y="1932413"/>
                    </a:cubicBezTo>
                    <a:cubicBezTo>
                      <a:pt x="46457" y="1405347"/>
                      <a:pt x="61530" y="1003884"/>
                      <a:pt x="106748" y="522036"/>
                    </a:cubicBezTo>
                    <a:cubicBezTo>
                      <a:pt x="106748" y="452992"/>
                      <a:pt x="142622" y="427166"/>
                      <a:pt x="211666" y="427166"/>
                    </a:cubicBezTo>
                    <a:close/>
                    <a:moveTo>
                      <a:pt x="806927" y="0"/>
                    </a:moveTo>
                    <a:lnTo>
                      <a:pt x="861350" y="0"/>
                    </a:lnTo>
                    <a:cubicBezTo>
                      <a:pt x="1023966" y="0"/>
                      <a:pt x="1155793" y="143228"/>
                      <a:pt x="1155793" y="319908"/>
                    </a:cubicBezTo>
                    <a:lnTo>
                      <a:pt x="1155793" y="492453"/>
                    </a:lnTo>
                    <a:lnTo>
                      <a:pt x="1168447" y="504482"/>
                    </a:lnTo>
                    <a:cubicBezTo>
                      <a:pt x="1170934" y="505706"/>
                      <a:pt x="1172832" y="507581"/>
                      <a:pt x="1174198" y="509949"/>
                    </a:cubicBezTo>
                    <a:cubicBezTo>
                      <a:pt x="1191235" y="523193"/>
                      <a:pt x="1200328" y="545005"/>
                      <a:pt x="1200328" y="569124"/>
                    </a:cubicBezTo>
                    <a:cubicBezTo>
                      <a:pt x="1200328" y="616858"/>
                      <a:pt x="1164712" y="655554"/>
                      <a:pt x="1120778" y="655554"/>
                    </a:cubicBezTo>
                    <a:lnTo>
                      <a:pt x="1112224" y="653678"/>
                    </a:lnTo>
                    <a:cubicBezTo>
                      <a:pt x="1111959" y="653838"/>
                      <a:pt x="1111692" y="653839"/>
                      <a:pt x="1111425" y="653839"/>
                    </a:cubicBezTo>
                    <a:cubicBezTo>
                      <a:pt x="1063931" y="653839"/>
                      <a:pt x="1025429" y="615337"/>
                      <a:pt x="1025429" y="567843"/>
                    </a:cubicBezTo>
                    <a:cubicBezTo>
                      <a:pt x="1025429" y="528669"/>
                      <a:pt x="1051623" y="495613"/>
                      <a:pt x="1087850" y="486607"/>
                    </a:cubicBezTo>
                    <a:lnTo>
                      <a:pt x="1087850" y="359326"/>
                    </a:lnTo>
                    <a:cubicBezTo>
                      <a:pt x="1087850" y="222687"/>
                      <a:pt x="985899" y="111919"/>
                      <a:pt x="860137" y="111919"/>
                    </a:cubicBezTo>
                    <a:lnTo>
                      <a:pt x="818046" y="111919"/>
                    </a:lnTo>
                    <a:cubicBezTo>
                      <a:pt x="692284" y="111919"/>
                      <a:pt x="590334" y="222687"/>
                      <a:pt x="590334" y="359326"/>
                    </a:cubicBezTo>
                    <a:lnTo>
                      <a:pt x="590334" y="490708"/>
                    </a:lnTo>
                    <a:cubicBezTo>
                      <a:pt x="619657" y="503933"/>
                      <a:pt x="639738" y="533543"/>
                      <a:pt x="639738" y="567843"/>
                    </a:cubicBezTo>
                    <a:cubicBezTo>
                      <a:pt x="639738" y="590018"/>
                      <a:pt x="631345" y="610233"/>
                      <a:pt x="617018" y="624992"/>
                    </a:cubicBezTo>
                    <a:cubicBezTo>
                      <a:pt x="603164" y="643934"/>
                      <a:pt x="581587" y="655554"/>
                      <a:pt x="557511" y="655554"/>
                    </a:cubicBezTo>
                    <a:cubicBezTo>
                      <a:pt x="546196" y="655554"/>
                      <a:pt x="535432" y="652987"/>
                      <a:pt x="525767" y="648191"/>
                    </a:cubicBezTo>
                    <a:cubicBezTo>
                      <a:pt x="491859" y="637382"/>
                      <a:pt x="467746" y="605429"/>
                      <a:pt x="467746" y="567843"/>
                    </a:cubicBezTo>
                    <a:cubicBezTo>
                      <a:pt x="467746" y="535558"/>
                      <a:pt x="485538" y="507427"/>
                      <a:pt x="512484" y="493854"/>
                    </a:cubicBezTo>
                    <a:lnTo>
                      <a:pt x="512484" y="319908"/>
                    </a:lnTo>
                    <a:cubicBezTo>
                      <a:pt x="512484" y="143228"/>
                      <a:pt x="644311" y="0"/>
                      <a:pt x="8069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0" name="SMART BUILDING AUTOMATION"/>
              <p:cNvSpPr>
                <a:spLocks noChangeAspect="1"/>
              </p:cNvSpPr>
              <p:nvPr/>
            </p:nvSpPr>
            <p:spPr bwMode="auto">
              <a:xfrm>
                <a:off x="6914305" y="3405889"/>
                <a:ext cx="290606" cy="327917"/>
              </a:xfrm>
              <a:custGeom>
                <a:avLst/>
                <a:gdLst/>
                <a:ahLst/>
                <a:cxnLst/>
                <a:rect l="l" t="t" r="r" b="b"/>
                <a:pathLst>
                  <a:path w="1120405" h="937223">
                    <a:moveTo>
                      <a:pt x="31668" y="603983"/>
                    </a:moveTo>
                    <a:lnTo>
                      <a:pt x="31668" y="658598"/>
                    </a:lnTo>
                    <a:lnTo>
                      <a:pt x="94207" y="658598"/>
                    </a:lnTo>
                    <a:lnTo>
                      <a:pt x="94207" y="603983"/>
                    </a:lnTo>
                    <a:close/>
                    <a:moveTo>
                      <a:pt x="31668" y="531947"/>
                    </a:moveTo>
                    <a:lnTo>
                      <a:pt x="31668" y="586562"/>
                    </a:lnTo>
                    <a:lnTo>
                      <a:pt x="344364" y="586562"/>
                    </a:lnTo>
                    <a:lnTo>
                      <a:pt x="344364" y="531947"/>
                    </a:lnTo>
                    <a:close/>
                    <a:moveTo>
                      <a:pt x="31668" y="454381"/>
                    </a:moveTo>
                    <a:lnTo>
                      <a:pt x="31668" y="508996"/>
                    </a:lnTo>
                    <a:lnTo>
                      <a:pt x="539092" y="508996"/>
                    </a:lnTo>
                    <a:lnTo>
                      <a:pt x="539092" y="454381"/>
                    </a:lnTo>
                    <a:close/>
                    <a:moveTo>
                      <a:pt x="57391" y="419995"/>
                    </a:moveTo>
                    <a:lnTo>
                      <a:pt x="586675" y="419995"/>
                    </a:lnTo>
                    <a:cubicBezTo>
                      <a:pt x="618372" y="419995"/>
                      <a:pt x="644065" y="445689"/>
                      <a:pt x="644065" y="477385"/>
                    </a:cubicBezTo>
                    <a:lnTo>
                      <a:pt x="644065" y="937223"/>
                    </a:lnTo>
                    <a:lnTo>
                      <a:pt x="0" y="937223"/>
                    </a:lnTo>
                    <a:lnTo>
                      <a:pt x="0" y="477385"/>
                    </a:lnTo>
                    <a:cubicBezTo>
                      <a:pt x="0" y="445689"/>
                      <a:pt x="25694" y="419995"/>
                      <a:pt x="57391" y="419995"/>
                    </a:cubicBezTo>
                    <a:close/>
                    <a:moveTo>
                      <a:pt x="606057" y="181167"/>
                    </a:moveTo>
                    <a:lnTo>
                      <a:pt x="606057" y="223387"/>
                    </a:lnTo>
                    <a:lnTo>
                      <a:pt x="701920" y="223387"/>
                    </a:lnTo>
                    <a:lnTo>
                      <a:pt x="701920" y="181167"/>
                    </a:lnTo>
                    <a:close/>
                    <a:moveTo>
                      <a:pt x="474118" y="181167"/>
                    </a:moveTo>
                    <a:lnTo>
                      <a:pt x="474118" y="223387"/>
                    </a:lnTo>
                    <a:lnTo>
                      <a:pt x="569981" y="223387"/>
                    </a:lnTo>
                    <a:lnTo>
                      <a:pt x="569981" y="181167"/>
                    </a:lnTo>
                    <a:close/>
                    <a:moveTo>
                      <a:pt x="606057" y="120765"/>
                    </a:moveTo>
                    <a:lnTo>
                      <a:pt x="606057" y="162985"/>
                    </a:lnTo>
                    <a:lnTo>
                      <a:pt x="701920" y="162985"/>
                    </a:lnTo>
                    <a:lnTo>
                      <a:pt x="701920" y="120765"/>
                    </a:lnTo>
                    <a:close/>
                    <a:moveTo>
                      <a:pt x="474118" y="120765"/>
                    </a:moveTo>
                    <a:lnTo>
                      <a:pt x="474118" y="162985"/>
                    </a:lnTo>
                    <a:lnTo>
                      <a:pt x="569981" y="162985"/>
                    </a:lnTo>
                    <a:lnTo>
                      <a:pt x="569981" y="120765"/>
                    </a:lnTo>
                    <a:close/>
                    <a:moveTo>
                      <a:pt x="737996" y="60363"/>
                    </a:moveTo>
                    <a:lnTo>
                      <a:pt x="737996" y="102583"/>
                    </a:lnTo>
                    <a:lnTo>
                      <a:pt x="833859" y="102583"/>
                    </a:lnTo>
                    <a:lnTo>
                      <a:pt x="833859" y="60363"/>
                    </a:lnTo>
                    <a:close/>
                    <a:moveTo>
                      <a:pt x="606057" y="60362"/>
                    </a:moveTo>
                    <a:lnTo>
                      <a:pt x="606057" y="102582"/>
                    </a:lnTo>
                    <a:lnTo>
                      <a:pt x="701920" y="102582"/>
                    </a:lnTo>
                    <a:lnTo>
                      <a:pt x="701920" y="60362"/>
                    </a:lnTo>
                    <a:close/>
                    <a:moveTo>
                      <a:pt x="474118" y="60362"/>
                    </a:moveTo>
                    <a:lnTo>
                      <a:pt x="474118" y="102582"/>
                    </a:lnTo>
                    <a:lnTo>
                      <a:pt x="569981" y="102582"/>
                    </a:lnTo>
                    <a:lnTo>
                      <a:pt x="569981" y="60362"/>
                    </a:lnTo>
                    <a:close/>
                    <a:moveTo>
                      <a:pt x="503122" y="0"/>
                    </a:moveTo>
                    <a:lnTo>
                      <a:pt x="1053370" y="0"/>
                    </a:lnTo>
                    <a:cubicBezTo>
                      <a:pt x="1090392" y="0"/>
                      <a:pt x="1120405" y="30013"/>
                      <a:pt x="1120405" y="67036"/>
                    </a:cubicBezTo>
                    <a:lnTo>
                      <a:pt x="1120405" y="815871"/>
                    </a:lnTo>
                    <a:cubicBezTo>
                      <a:pt x="1120405" y="852894"/>
                      <a:pt x="1090392" y="882907"/>
                      <a:pt x="1053370" y="882907"/>
                    </a:cubicBezTo>
                    <a:lnTo>
                      <a:pt x="684319" y="882907"/>
                    </a:lnTo>
                    <a:lnTo>
                      <a:pt x="684319" y="415736"/>
                    </a:lnTo>
                    <a:cubicBezTo>
                      <a:pt x="684319" y="378714"/>
                      <a:pt x="654306" y="348700"/>
                      <a:pt x="617284" y="348700"/>
                    </a:cubicBezTo>
                    <a:lnTo>
                      <a:pt x="436086" y="348700"/>
                    </a:lnTo>
                    <a:lnTo>
                      <a:pt x="436086" y="67036"/>
                    </a:lnTo>
                    <a:cubicBezTo>
                      <a:pt x="436086" y="30013"/>
                      <a:pt x="466099" y="0"/>
                      <a:pt x="503122"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1" name="SMART HOME AUTOMATION"/>
              <p:cNvSpPr>
                <a:spLocks noChangeAspect="1"/>
              </p:cNvSpPr>
              <p:nvPr/>
            </p:nvSpPr>
            <p:spPr bwMode="auto">
              <a:xfrm>
                <a:off x="6142810" y="4141917"/>
                <a:ext cx="275253" cy="234875"/>
              </a:xfrm>
              <a:custGeom>
                <a:avLst/>
                <a:gdLst/>
                <a:ahLst/>
                <a:cxnLst/>
                <a:rect l="l" t="t" r="r" b="b"/>
                <a:pathLst>
                  <a:path w="3961748" h="3381467">
                    <a:moveTo>
                      <a:pt x="541147" y="1565297"/>
                    </a:moveTo>
                    <a:lnTo>
                      <a:pt x="3479089" y="1565297"/>
                    </a:lnTo>
                    <a:lnTo>
                      <a:pt x="3479089" y="3381467"/>
                    </a:lnTo>
                    <a:lnTo>
                      <a:pt x="2442856" y="3381467"/>
                    </a:lnTo>
                    <a:lnTo>
                      <a:pt x="2442856" y="2176803"/>
                    </a:lnTo>
                    <a:cubicBezTo>
                      <a:pt x="2442856" y="2097134"/>
                      <a:pt x="2378275" y="2032554"/>
                      <a:pt x="2298607" y="2032554"/>
                    </a:cubicBezTo>
                    <a:lnTo>
                      <a:pt x="1721629" y="2032554"/>
                    </a:lnTo>
                    <a:cubicBezTo>
                      <a:pt x="1641961" y="2032554"/>
                      <a:pt x="1577381" y="2097134"/>
                      <a:pt x="1577381" y="2176803"/>
                    </a:cubicBezTo>
                    <a:lnTo>
                      <a:pt x="1577381" y="3381467"/>
                    </a:lnTo>
                    <a:lnTo>
                      <a:pt x="541147" y="3381467"/>
                    </a:lnTo>
                    <a:close/>
                    <a:moveTo>
                      <a:pt x="2010118" y="719918"/>
                    </a:moveTo>
                    <a:lnTo>
                      <a:pt x="3479089" y="1564763"/>
                    </a:lnTo>
                    <a:lnTo>
                      <a:pt x="541147" y="1564763"/>
                    </a:lnTo>
                    <a:close/>
                    <a:moveTo>
                      <a:pt x="2012261" y="0"/>
                    </a:moveTo>
                    <a:lnTo>
                      <a:pt x="2790841" y="472939"/>
                    </a:lnTo>
                    <a:lnTo>
                      <a:pt x="2790841" y="267921"/>
                    </a:lnTo>
                    <a:lnTo>
                      <a:pt x="3376760" y="267921"/>
                    </a:lnTo>
                    <a:lnTo>
                      <a:pt x="3376760" y="828849"/>
                    </a:lnTo>
                    <a:lnTo>
                      <a:pt x="3856301" y="1120140"/>
                    </a:lnTo>
                    <a:cubicBezTo>
                      <a:pt x="3999811" y="1333500"/>
                      <a:pt x="3979491" y="1501140"/>
                      <a:pt x="3898211" y="1691640"/>
                    </a:cubicBezTo>
                    <a:lnTo>
                      <a:pt x="2035121" y="556260"/>
                    </a:lnTo>
                    <a:lnTo>
                      <a:pt x="57731" y="1687830"/>
                    </a:lnTo>
                    <a:cubicBezTo>
                      <a:pt x="10741" y="1578610"/>
                      <a:pt x="-70539" y="1362710"/>
                      <a:pt x="122501" y="112014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162" name="VEHICLE TRACKING"/>
              <p:cNvSpPr/>
              <p:nvPr/>
            </p:nvSpPr>
            <p:spPr bwMode="auto">
              <a:xfrm>
                <a:off x="2669780" y="4025543"/>
                <a:ext cx="371333" cy="353457"/>
              </a:xfrm>
              <a:custGeom>
                <a:avLst/>
                <a:gdLst/>
                <a:ahLst/>
                <a:cxnLst/>
                <a:rect l="l" t="t" r="r" b="b"/>
                <a:pathLst>
                  <a:path w="779174" h="582906">
                    <a:moveTo>
                      <a:pt x="640768" y="456982"/>
                    </a:moveTo>
                    <a:lnTo>
                      <a:pt x="711568" y="456982"/>
                    </a:lnTo>
                    <a:cubicBezTo>
                      <a:pt x="726718" y="456982"/>
                      <a:pt x="739000" y="469264"/>
                      <a:pt x="739000" y="484414"/>
                    </a:cubicBezTo>
                    <a:cubicBezTo>
                      <a:pt x="739000" y="499564"/>
                      <a:pt x="726718" y="511846"/>
                      <a:pt x="711568" y="511846"/>
                    </a:cubicBezTo>
                    <a:lnTo>
                      <a:pt x="640768" y="511846"/>
                    </a:lnTo>
                    <a:cubicBezTo>
                      <a:pt x="625618" y="511846"/>
                      <a:pt x="613336" y="499564"/>
                      <a:pt x="613336" y="484414"/>
                    </a:cubicBezTo>
                    <a:cubicBezTo>
                      <a:pt x="613336" y="469264"/>
                      <a:pt x="625618" y="456982"/>
                      <a:pt x="640768" y="456982"/>
                    </a:cubicBezTo>
                    <a:close/>
                    <a:moveTo>
                      <a:pt x="440533" y="392281"/>
                    </a:moveTo>
                    <a:cubicBezTo>
                      <a:pt x="423466" y="392281"/>
                      <a:pt x="409629" y="405409"/>
                      <a:pt x="409629" y="421602"/>
                    </a:cubicBezTo>
                    <a:cubicBezTo>
                      <a:pt x="409629" y="437795"/>
                      <a:pt x="423466" y="450923"/>
                      <a:pt x="440533" y="450923"/>
                    </a:cubicBezTo>
                    <a:cubicBezTo>
                      <a:pt x="457600" y="450923"/>
                      <a:pt x="471435" y="437795"/>
                      <a:pt x="471435" y="421602"/>
                    </a:cubicBezTo>
                    <a:cubicBezTo>
                      <a:pt x="471435" y="405409"/>
                      <a:pt x="457600" y="392281"/>
                      <a:pt x="440533" y="392281"/>
                    </a:cubicBezTo>
                    <a:close/>
                    <a:moveTo>
                      <a:pt x="74716" y="392281"/>
                    </a:moveTo>
                    <a:cubicBezTo>
                      <a:pt x="57649" y="392281"/>
                      <a:pt x="43813" y="405409"/>
                      <a:pt x="43813" y="421602"/>
                    </a:cubicBezTo>
                    <a:cubicBezTo>
                      <a:pt x="43813" y="437795"/>
                      <a:pt x="57649" y="450923"/>
                      <a:pt x="74716" y="450923"/>
                    </a:cubicBezTo>
                    <a:cubicBezTo>
                      <a:pt x="91783" y="450923"/>
                      <a:pt x="105619" y="437795"/>
                      <a:pt x="105619" y="421602"/>
                    </a:cubicBezTo>
                    <a:cubicBezTo>
                      <a:pt x="105619" y="405409"/>
                      <a:pt x="91783" y="392281"/>
                      <a:pt x="74716" y="392281"/>
                    </a:cubicBezTo>
                    <a:close/>
                    <a:moveTo>
                      <a:pt x="680516" y="320756"/>
                    </a:moveTo>
                    <a:cubicBezTo>
                      <a:pt x="655266" y="320756"/>
                      <a:pt x="634796" y="341226"/>
                      <a:pt x="634796" y="366476"/>
                    </a:cubicBezTo>
                    <a:cubicBezTo>
                      <a:pt x="634796" y="391726"/>
                      <a:pt x="655266" y="412196"/>
                      <a:pt x="680516" y="412196"/>
                    </a:cubicBezTo>
                    <a:cubicBezTo>
                      <a:pt x="705766" y="412196"/>
                      <a:pt x="726236" y="391726"/>
                      <a:pt x="726236" y="366476"/>
                    </a:cubicBezTo>
                    <a:cubicBezTo>
                      <a:pt x="726236" y="341226"/>
                      <a:pt x="705766" y="320756"/>
                      <a:pt x="680516" y="320756"/>
                    </a:cubicBezTo>
                    <a:close/>
                    <a:moveTo>
                      <a:pt x="133583" y="194372"/>
                    </a:moveTo>
                    <a:cubicBezTo>
                      <a:pt x="123760" y="195437"/>
                      <a:pt x="107202" y="197301"/>
                      <a:pt x="99063" y="219136"/>
                    </a:cubicBezTo>
                    <a:lnTo>
                      <a:pt x="60670" y="331331"/>
                    </a:lnTo>
                    <a:lnTo>
                      <a:pt x="454632" y="331331"/>
                    </a:lnTo>
                    <a:lnTo>
                      <a:pt x="458839" y="332137"/>
                    </a:lnTo>
                    <a:lnTo>
                      <a:pt x="418166" y="220734"/>
                    </a:lnTo>
                    <a:cubicBezTo>
                      <a:pt x="410307" y="203958"/>
                      <a:pt x="408343" y="195171"/>
                      <a:pt x="379436" y="194372"/>
                    </a:cubicBezTo>
                    <a:close/>
                    <a:moveTo>
                      <a:pt x="136109" y="172004"/>
                    </a:moveTo>
                    <a:lnTo>
                      <a:pt x="384488" y="172004"/>
                    </a:lnTo>
                    <a:cubicBezTo>
                      <a:pt x="419008" y="175200"/>
                      <a:pt x="423218" y="191975"/>
                      <a:pt x="432479" y="207952"/>
                    </a:cubicBezTo>
                    <a:lnTo>
                      <a:pt x="489525" y="343266"/>
                    </a:lnTo>
                    <a:cubicBezTo>
                      <a:pt x="504729" y="352772"/>
                      <a:pt x="514176" y="369253"/>
                      <a:pt x="514176" y="387826"/>
                    </a:cubicBezTo>
                    <a:lnTo>
                      <a:pt x="514176" y="450205"/>
                    </a:lnTo>
                    <a:cubicBezTo>
                      <a:pt x="514176" y="476177"/>
                      <a:pt x="495706" y="498055"/>
                      <a:pt x="470268" y="503705"/>
                    </a:cubicBezTo>
                    <a:lnTo>
                      <a:pt x="470268" y="559252"/>
                    </a:lnTo>
                    <a:cubicBezTo>
                      <a:pt x="470268" y="572315"/>
                      <a:pt x="459107" y="582906"/>
                      <a:pt x="445338" y="582906"/>
                    </a:cubicBezTo>
                    <a:lnTo>
                      <a:pt x="417811" y="582906"/>
                    </a:lnTo>
                    <a:cubicBezTo>
                      <a:pt x="404043" y="582906"/>
                      <a:pt x="392881" y="572315"/>
                      <a:pt x="392881" y="559252"/>
                    </a:cubicBezTo>
                    <a:lnTo>
                      <a:pt x="392881" y="506700"/>
                    </a:lnTo>
                    <a:lnTo>
                      <a:pt x="124415" y="506700"/>
                    </a:lnTo>
                    <a:lnTo>
                      <a:pt x="124415" y="559253"/>
                    </a:lnTo>
                    <a:cubicBezTo>
                      <a:pt x="124415" y="572316"/>
                      <a:pt x="113253" y="582906"/>
                      <a:pt x="99485" y="582906"/>
                    </a:cubicBezTo>
                    <a:lnTo>
                      <a:pt x="71958" y="582906"/>
                    </a:lnTo>
                    <a:cubicBezTo>
                      <a:pt x="58189" y="582906"/>
                      <a:pt x="47028" y="572316"/>
                      <a:pt x="47028" y="559253"/>
                    </a:cubicBezTo>
                    <a:lnTo>
                      <a:pt x="47028" y="504302"/>
                    </a:lnTo>
                    <a:cubicBezTo>
                      <a:pt x="20025" y="499853"/>
                      <a:pt x="0" y="477248"/>
                      <a:pt x="0" y="450205"/>
                    </a:cubicBezTo>
                    <a:lnTo>
                      <a:pt x="0" y="387826"/>
                    </a:lnTo>
                    <a:cubicBezTo>
                      <a:pt x="0" y="368466"/>
                      <a:pt x="10264" y="351380"/>
                      <a:pt x="26534" y="342061"/>
                    </a:cubicBezTo>
                    <a:lnTo>
                      <a:pt x="85592" y="202360"/>
                    </a:lnTo>
                    <a:cubicBezTo>
                      <a:pt x="97379" y="186650"/>
                      <a:pt x="106640" y="173335"/>
                      <a:pt x="136109" y="172004"/>
                    </a:cubicBezTo>
                    <a:close/>
                    <a:moveTo>
                      <a:pt x="344827" y="0"/>
                    </a:moveTo>
                    <a:lnTo>
                      <a:pt x="748300" y="0"/>
                    </a:lnTo>
                    <a:cubicBezTo>
                      <a:pt x="759814" y="0"/>
                      <a:pt x="769148" y="9334"/>
                      <a:pt x="769148" y="20848"/>
                    </a:cubicBezTo>
                    <a:lnTo>
                      <a:pt x="769148" y="268862"/>
                    </a:lnTo>
                    <a:cubicBezTo>
                      <a:pt x="774898" y="269223"/>
                      <a:pt x="779174" y="274149"/>
                      <a:pt x="779174" y="280073"/>
                    </a:cubicBezTo>
                    <a:lnTo>
                      <a:pt x="779174" y="443168"/>
                    </a:lnTo>
                    <a:cubicBezTo>
                      <a:pt x="779174" y="449823"/>
                      <a:pt x="773779" y="455218"/>
                      <a:pt x="767124" y="455218"/>
                    </a:cubicBezTo>
                    <a:lnTo>
                      <a:pt x="523551" y="455218"/>
                    </a:lnTo>
                    <a:cubicBezTo>
                      <a:pt x="522461" y="437854"/>
                      <a:pt x="521167" y="424811"/>
                      <a:pt x="521167" y="369749"/>
                    </a:cubicBezTo>
                    <a:cubicBezTo>
                      <a:pt x="518187" y="352715"/>
                      <a:pt x="510532" y="348310"/>
                      <a:pt x="497199" y="338488"/>
                    </a:cubicBezTo>
                    <a:cubicBezTo>
                      <a:pt x="484856" y="310893"/>
                      <a:pt x="474350" y="284477"/>
                      <a:pt x="464289" y="260833"/>
                    </a:cubicBezTo>
                    <a:lnTo>
                      <a:pt x="710995" y="260833"/>
                    </a:lnTo>
                    <a:lnTo>
                      <a:pt x="693825" y="115562"/>
                    </a:lnTo>
                    <a:lnTo>
                      <a:pt x="384033" y="115562"/>
                    </a:lnTo>
                    <a:lnTo>
                      <a:pt x="379179" y="156629"/>
                    </a:lnTo>
                    <a:lnTo>
                      <a:pt x="323979" y="156629"/>
                    </a:lnTo>
                    <a:lnTo>
                      <a:pt x="323979" y="20848"/>
                    </a:lnTo>
                    <a:cubicBezTo>
                      <a:pt x="323979" y="9334"/>
                      <a:pt x="333313" y="0"/>
                      <a:pt x="344827"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horz" wrap="square" lIns="91440" tIns="45720" rIns="45720" bIns="91440" numCol="1" spcCol="0" rtlCol="0" fromWordArt="0" anchor="b"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grpSp>
        <p:nvGrpSpPr>
          <p:cNvPr id="90" name="andriod"/>
          <p:cNvGrpSpPr/>
          <p:nvPr/>
        </p:nvGrpSpPr>
        <p:grpSpPr>
          <a:xfrm>
            <a:off x="4630686" y="5153402"/>
            <a:ext cx="1022413" cy="972061"/>
            <a:chOff x="5392393" y="4336961"/>
            <a:chExt cx="744699" cy="708024"/>
          </a:xfrm>
          <a:solidFill>
            <a:schemeClr val="accent6"/>
          </a:solidFill>
        </p:grpSpPr>
        <p:sp>
          <p:nvSpPr>
            <p:cNvPr id="91" name="Freeform 11"/>
            <p:cNvSpPr>
              <a:spLocks noEditPoints="1"/>
            </p:cNvSpPr>
            <p:nvPr/>
          </p:nvSpPr>
          <p:spPr bwMode="black">
            <a:xfrm>
              <a:off x="5551973" y="4336961"/>
              <a:ext cx="430776" cy="530359"/>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669900"/>
            </a:solidFill>
            <a:ln>
              <a:noFill/>
            </a:ln>
          </p:spPr>
          <p:txBody>
            <a:bodyPr vert="horz" wrap="square" lIns="91440" tIns="45720" rIns="91440" bIns="45720" numCol="1" anchor="t" anchorCtr="0" compatLnSpc="1">
              <a:prstTxWarp prst="textNoShape">
                <a:avLst/>
              </a:prstTxWarp>
            </a:bodyPr>
            <a:lstStyle/>
            <a:p>
              <a:endParaRPr lang="en-US"/>
            </a:p>
          </p:txBody>
        </p:sp>
        <p:sp>
          <p:nvSpPr>
            <p:cNvPr id="92" name="Freeform 15"/>
            <p:cNvSpPr>
              <a:spLocks noEditPoints="1"/>
            </p:cNvSpPr>
            <p:nvPr/>
          </p:nvSpPr>
          <p:spPr bwMode="black">
            <a:xfrm>
              <a:off x="5392393" y="4939286"/>
              <a:ext cx="744699" cy="105699"/>
            </a:xfrm>
            <a:custGeom>
              <a:avLst/>
              <a:gdLst>
                <a:gd name="T0" fmla="*/ 125 w 1047"/>
                <a:gd name="T1" fmla="*/ 35 h 146"/>
                <a:gd name="T2" fmla="*/ 32 w 1047"/>
                <a:gd name="T3" fmla="*/ 75 h 146"/>
                <a:gd name="T4" fmla="*/ 100 w 1047"/>
                <a:gd name="T5" fmla="*/ 115 h 146"/>
                <a:gd name="T6" fmla="*/ 76 w 1047"/>
                <a:gd name="T7" fmla="*/ 146 h 146"/>
                <a:gd name="T8" fmla="*/ 76 w 1047"/>
                <a:gd name="T9" fmla="*/ 5 h 146"/>
                <a:gd name="T10" fmla="*/ 155 w 1047"/>
                <a:gd name="T11" fmla="*/ 146 h 146"/>
                <a:gd name="T12" fmla="*/ 256 w 1047"/>
                <a:gd name="T13" fmla="*/ 0 h 146"/>
                <a:gd name="T14" fmla="*/ 182 w 1047"/>
                <a:gd name="T15" fmla="*/ 146 h 146"/>
                <a:gd name="T16" fmla="*/ 212 w 1047"/>
                <a:gd name="T17" fmla="*/ 68 h 146"/>
                <a:gd name="T18" fmla="*/ 298 w 1047"/>
                <a:gd name="T19" fmla="*/ 68 h 146"/>
                <a:gd name="T20" fmla="*/ 329 w 1047"/>
                <a:gd name="T21" fmla="*/ 146 h 146"/>
                <a:gd name="T22" fmla="*/ 256 w 1047"/>
                <a:gd name="T23" fmla="*/ 0 h 146"/>
                <a:gd name="T24" fmla="*/ 426 w 1047"/>
                <a:gd name="T25" fmla="*/ 5 h 146"/>
                <a:gd name="T26" fmla="*/ 359 w 1047"/>
                <a:gd name="T27" fmla="*/ 35 h 146"/>
                <a:gd name="T28" fmla="*/ 464 w 1047"/>
                <a:gd name="T29" fmla="*/ 74 h 146"/>
                <a:gd name="T30" fmla="*/ 359 w 1047"/>
                <a:gd name="T31" fmla="*/ 115 h 146"/>
                <a:gd name="T32" fmla="*/ 426 w 1047"/>
                <a:gd name="T33" fmla="*/ 145 h 146"/>
                <a:gd name="T34" fmla="*/ 1047 w 1047"/>
                <a:gd name="T35" fmla="*/ 74 h 146"/>
                <a:gd name="T36" fmla="*/ 913 w 1047"/>
                <a:gd name="T37" fmla="*/ 5 h 146"/>
                <a:gd name="T38" fmla="*/ 982 w 1047"/>
                <a:gd name="T39" fmla="*/ 35 h 146"/>
                <a:gd name="T40" fmla="*/ 981 w 1047"/>
                <a:gd name="T41" fmla="*/ 115 h 146"/>
                <a:gd name="T42" fmla="*/ 913 w 1047"/>
                <a:gd name="T43" fmla="*/ 145 h 146"/>
                <a:gd name="T44" fmla="*/ 1047 w 1047"/>
                <a:gd name="T45" fmla="*/ 74 h 146"/>
                <a:gd name="T46" fmla="*/ 652 w 1047"/>
                <a:gd name="T47" fmla="*/ 56 h 146"/>
                <a:gd name="T48" fmla="*/ 524 w 1047"/>
                <a:gd name="T49" fmla="*/ 5 h 146"/>
                <a:gd name="T50" fmla="*/ 592 w 1047"/>
                <a:gd name="T51" fmla="*/ 35 h 146"/>
                <a:gd name="T52" fmla="*/ 593 w 1047"/>
                <a:gd name="T53" fmla="*/ 77 h 146"/>
                <a:gd name="T54" fmla="*/ 524 w 1047"/>
                <a:gd name="T55" fmla="*/ 105 h 146"/>
                <a:gd name="T56" fmla="*/ 593 w 1047"/>
                <a:gd name="T57" fmla="*/ 105 h 146"/>
                <a:gd name="T58" fmla="*/ 616 w 1047"/>
                <a:gd name="T59" fmla="*/ 144 h 146"/>
                <a:gd name="T60" fmla="*/ 645 w 1047"/>
                <a:gd name="T61" fmla="*/ 146 h 146"/>
                <a:gd name="T62" fmla="*/ 749 w 1047"/>
                <a:gd name="T63" fmla="*/ 1 h 146"/>
                <a:gd name="T64" fmla="*/ 749 w 1047"/>
                <a:gd name="T65" fmla="*/ 146 h 146"/>
                <a:gd name="T66" fmla="*/ 749 w 1047"/>
                <a:gd name="T67" fmla="*/ 1 h 146"/>
                <a:gd name="T68" fmla="*/ 790 w 1047"/>
                <a:gd name="T69" fmla="*/ 73 h 146"/>
                <a:gd name="T70" fmla="*/ 707 w 1047"/>
                <a:gd name="T71" fmla="*/ 73 h 146"/>
                <a:gd name="T72" fmla="*/ 852 w 1047"/>
                <a:gd name="T73" fmla="*/ 146 h 146"/>
                <a:gd name="T74" fmla="*/ 883 w 1047"/>
                <a:gd name="T75" fmla="*/ 5 h 146"/>
                <a:gd name="T76" fmla="*/ 852 w 1047"/>
                <a:gd name="T77" fmla="*/ 14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047" h="146">
                  <a:moveTo>
                    <a:pt x="125" y="146"/>
                  </a:moveTo>
                  <a:cubicBezTo>
                    <a:pt x="125" y="35"/>
                    <a:pt x="125" y="35"/>
                    <a:pt x="125" y="35"/>
                  </a:cubicBezTo>
                  <a:cubicBezTo>
                    <a:pt x="75" y="35"/>
                    <a:pt x="75" y="35"/>
                    <a:pt x="75" y="35"/>
                  </a:cubicBezTo>
                  <a:cubicBezTo>
                    <a:pt x="51" y="35"/>
                    <a:pt x="32" y="53"/>
                    <a:pt x="32" y="75"/>
                  </a:cubicBezTo>
                  <a:cubicBezTo>
                    <a:pt x="32" y="98"/>
                    <a:pt x="52" y="115"/>
                    <a:pt x="76" y="115"/>
                  </a:cubicBezTo>
                  <a:cubicBezTo>
                    <a:pt x="100" y="115"/>
                    <a:pt x="100" y="115"/>
                    <a:pt x="100" y="115"/>
                  </a:cubicBezTo>
                  <a:cubicBezTo>
                    <a:pt x="100" y="146"/>
                    <a:pt x="100" y="146"/>
                    <a:pt x="100" y="146"/>
                  </a:cubicBezTo>
                  <a:cubicBezTo>
                    <a:pt x="76" y="146"/>
                    <a:pt x="76" y="146"/>
                    <a:pt x="76" y="146"/>
                  </a:cubicBezTo>
                  <a:cubicBezTo>
                    <a:pt x="34" y="146"/>
                    <a:pt x="0" y="114"/>
                    <a:pt x="0" y="75"/>
                  </a:cubicBezTo>
                  <a:cubicBezTo>
                    <a:pt x="0" y="36"/>
                    <a:pt x="34" y="5"/>
                    <a:pt x="76" y="5"/>
                  </a:cubicBezTo>
                  <a:cubicBezTo>
                    <a:pt x="155" y="5"/>
                    <a:pt x="155" y="5"/>
                    <a:pt x="155" y="5"/>
                  </a:cubicBezTo>
                  <a:cubicBezTo>
                    <a:pt x="155" y="146"/>
                    <a:pt x="155" y="146"/>
                    <a:pt x="155" y="146"/>
                  </a:cubicBezTo>
                  <a:lnTo>
                    <a:pt x="125" y="146"/>
                  </a:lnTo>
                  <a:close/>
                  <a:moveTo>
                    <a:pt x="256" y="0"/>
                  </a:moveTo>
                  <a:cubicBezTo>
                    <a:pt x="215" y="0"/>
                    <a:pt x="182" y="27"/>
                    <a:pt x="182" y="69"/>
                  </a:cubicBezTo>
                  <a:cubicBezTo>
                    <a:pt x="182" y="146"/>
                    <a:pt x="182" y="146"/>
                    <a:pt x="182" y="146"/>
                  </a:cubicBezTo>
                  <a:cubicBezTo>
                    <a:pt x="212" y="146"/>
                    <a:pt x="212" y="146"/>
                    <a:pt x="212" y="146"/>
                  </a:cubicBezTo>
                  <a:cubicBezTo>
                    <a:pt x="212" y="68"/>
                    <a:pt x="212" y="68"/>
                    <a:pt x="212" y="68"/>
                  </a:cubicBezTo>
                  <a:cubicBezTo>
                    <a:pt x="212" y="41"/>
                    <a:pt x="235" y="25"/>
                    <a:pt x="256" y="25"/>
                  </a:cubicBezTo>
                  <a:cubicBezTo>
                    <a:pt x="276" y="25"/>
                    <a:pt x="298" y="41"/>
                    <a:pt x="298" y="68"/>
                  </a:cubicBezTo>
                  <a:cubicBezTo>
                    <a:pt x="298" y="146"/>
                    <a:pt x="298" y="146"/>
                    <a:pt x="298" y="146"/>
                  </a:cubicBezTo>
                  <a:cubicBezTo>
                    <a:pt x="329" y="146"/>
                    <a:pt x="329" y="146"/>
                    <a:pt x="329" y="146"/>
                  </a:cubicBezTo>
                  <a:cubicBezTo>
                    <a:pt x="329" y="69"/>
                    <a:pt x="329" y="69"/>
                    <a:pt x="329" y="69"/>
                  </a:cubicBezTo>
                  <a:cubicBezTo>
                    <a:pt x="329" y="27"/>
                    <a:pt x="296" y="0"/>
                    <a:pt x="256" y="0"/>
                  </a:cubicBezTo>
                  <a:close/>
                  <a:moveTo>
                    <a:pt x="493" y="74"/>
                  </a:moveTo>
                  <a:cubicBezTo>
                    <a:pt x="493" y="34"/>
                    <a:pt x="466" y="5"/>
                    <a:pt x="426" y="5"/>
                  </a:cubicBezTo>
                  <a:cubicBezTo>
                    <a:pt x="359" y="5"/>
                    <a:pt x="359" y="5"/>
                    <a:pt x="359" y="5"/>
                  </a:cubicBezTo>
                  <a:cubicBezTo>
                    <a:pt x="359" y="35"/>
                    <a:pt x="359" y="35"/>
                    <a:pt x="359" y="35"/>
                  </a:cubicBezTo>
                  <a:cubicBezTo>
                    <a:pt x="428" y="35"/>
                    <a:pt x="428" y="35"/>
                    <a:pt x="428" y="35"/>
                  </a:cubicBezTo>
                  <a:cubicBezTo>
                    <a:pt x="454" y="35"/>
                    <a:pt x="464" y="54"/>
                    <a:pt x="464" y="74"/>
                  </a:cubicBezTo>
                  <a:cubicBezTo>
                    <a:pt x="464" y="94"/>
                    <a:pt x="453" y="115"/>
                    <a:pt x="427" y="115"/>
                  </a:cubicBezTo>
                  <a:cubicBezTo>
                    <a:pt x="359" y="115"/>
                    <a:pt x="359" y="115"/>
                    <a:pt x="359" y="115"/>
                  </a:cubicBezTo>
                  <a:cubicBezTo>
                    <a:pt x="359" y="145"/>
                    <a:pt x="359" y="145"/>
                    <a:pt x="359" y="145"/>
                  </a:cubicBezTo>
                  <a:cubicBezTo>
                    <a:pt x="426" y="145"/>
                    <a:pt x="426" y="145"/>
                    <a:pt x="426" y="145"/>
                  </a:cubicBezTo>
                  <a:cubicBezTo>
                    <a:pt x="466" y="145"/>
                    <a:pt x="493" y="115"/>
                    <a:pt x="493" y="74"/>
                  </a:cubicBezTo>
                  <a:close/>
                  <a:moveTo>
                    <a:pt x="1047" y="74"/>
                  </a:moveTo>
                  <a:cubicBezTo>
                    <a:pt x="1047" y="34"/>
                    <a:pt x="1021" y="5"/>
                    <a:pt x="980" y="5"/>
                  </a:cubicBezTo>
                  <a:cubicBezTo>
                    <a:pt x="913" y="5"/>
                    <a:pt x="913" y="5"/>
                    <a:pt x="913" y="5"/>
                  </a:cubicBezTo>
                  <a:cubicBezTo>
                    <a:pt x="913" y="35"/>
                    <a:pt x="913" y="35"/>
                    <a:pt x="913" y="35"/>
                  </a:cubicBezTo>
                  <a:cubicBezTo>
                    <a:pt x="982" y="35"/>
                    <a:pt x="982" y="35"/>
                    <a:pt x="982" y="35"/>
                  </a:cubicBezTo>
                  <a:cubicBezTo>
                    <a:pt x="1008" y="35"/>
                    <a:pt x="1019" y="54"/>
                    <a:pt x="1019" y="74"/>
                  </a:cubicBezTo>
                  <a:cubicBezTo>
                    <a:pt x="1019" y="94"/>
                    <a:pt x="1008" y="115"/>
                    <a:pt x="981" y="115"/>
                  </a:cubicBezTo>
                  <a:cubicBezTo>
                    <a:pt x="913" y="115"/>
                    <a:pt x="913" y="115"/>
                    <a:pt x="913" y="115"/>
                  </a:cubicBezTo>
                  <a:cubicBezTo>
                    <a:pt x="913" y="145"/>
                    <a:pt x="913" y="145"/>
                    <a:pt x="913" y="145"/>
                  </a:cubicBezTo>
                  <a:cubicBezTo>
                    <a:pt x="980" y="145"/>
                    <a:pt x="980" y="145"/>
                    <a:pt x="980" y="145"/>
                  </a:cubicBezTo>
                  <a:cubicBezTo>
                    <a:pt x="1020" y="145"/>
                    <a:pt x="1047" y="115"/>
                    <a:pt x="1047" y="74"/>
                  </a:cubicBezTo>
                  <a:close/>
                  <a:moveTo>
                    <a:pt x="632" y="98"/>
                  </a:moveTo>
                  <a:cubicBezTo>
                    <a:pt x="645" y="91"/>
                    <a:pt x="652" y="78"/>
                    <a:pt x="652" y="56"/>
                  </a:cubicBezTo>
                  <a:cubicBezTo>
                    <a:pt x="652" y="17"/>
                    <a:pt x="631" y="5"/>
                    <a:pt x="590" y="5"/>
                  </a:cubicBezTo>
                  <a:cubicBezTo>
                    <a:pt x="524" y="5"/>
                    <a:pt x="524" y="5"/>
                    <a:pt x="524" y="5"/>
                  </a:cubicBezTo>
                  <a:cubicBezTo>
                    <a:pt x="524" y="35"/>
                    <a:pt x="524" y="35"/>
                    <a:pt x="524" y="35"/>
                  </a:cubicBezTo>
                  <a:cubicBezTo>
                    <a:pt x="592" y="35"/>
                    <a:pt x="592" y="35"/>
                    <a:pt x="592" y="35"/>
                  </a:cubicBezTo>
                  <a:cubicBezTo>
                    <a:pt x="618" y="35"/>
                    <a:pt x="623" y="44"/>
                    <a:pt x="623" y="55"/>
                  </a:cubicBezTo>
                  <a:cubicBezTo>
                    <a:pt x="623" y="67"/>
                    <a:pt x="619" y="77"/>
                    <a:pt x="593" y="77"/>
                  </a:cubicBezTo>
                  <a:cubicBezTo>
                    <a:pt x="524" y="77"/>
                    <a:pt x="524" y="77"/>
                    <a:pt x="524" y="77"/>
                  </a:cubicBezTo>
                  <a:cubicBezTo>
                    <a:pt x="524" y="105"/>
                    <a:pt x="524" y="105"/>
                    <a:pt x="524" y="105"/>
                  </a:cubicBezTo>
                  <a:cubicBezTo>
                    <a:pt x="591" y="105"/>
                    <a:pt x="591" y="105"/>
                    <a:pt x="591" y="105"/>
                  </a:cubicBezTo>
                  <a:cubicBezTo>
                    <a:pt x="592" y="105"/>
                    <a:pt x="593" y="105"/>
                    <a:pt x="593" y="105"/>
                  </a:cubicBezTo>
                  <a:cubicBezTo>
                    <a:pt x="607" y="107"/>
                    <a:pt x="617" y="118"/>
                    <a:pt x="617" y="132"/>
                  </a:cubicBezTo>
                  <a:cubicBezTo>
                    <a:pt x="617" y="136"/>
                    <a:pt x="618" y="140"/>
                    <a:pt x="616" y="144"/>
                  </a:cubicBezTo>
                  <a:cubicBezTo>
                    <a:pt x="616" y="145"/>
                    <a:pt x="618" y="145"/>
                    <a:pt x="618" y="146"/>
                  </a:cubicBezTo>
                  <a:cubicBezTo>
                    <a:pt x="645" y="146"/>
                    <a:pt x="645" y="146"/>
                    <a:pt x="645" y="146"/>
                  </a:cubicBezTo>
                  <a:cubicBezTo>
                    <a:pt x="645" y="146"/>
                    <a:pt x="650" y="116"/>
                    <a:pt x="632" y="98"/>
                  </a:cubicBezTo>
                  <a:close/>
                  <a:moveTo>
                    <a:pt x="749" y="1"/>
                  </a:moveTo>
                  <a:cubicBezTo>
                    <a:pt x="787" y="1"/>
                    <a:pt x="818" y="33"/>
                    <a:pt x="818" y="73"/>
                  </a:cubicBezTo>
                  <a:cubicBezTo>
                    <a:pt x="818" y="113"/>
                    <a:pt x="787" y="146"/>
                    <a:pt x="749" y="146"/>
                  </a:cubicBezTo>
                  <a:cubicBezTo>
                    <a:pt x="710" y="146"/>
                    <a:pt x="679" y="113"/>
                    <a:pt x="679" y="73"/>
                  </a:cubicBezTo>
                  <a:cubicBezTo>
                    <a:pt x="679" y="33"/>
                    <a:pt x="710" y="1"/>
                    <a:pt x="749" y="1"/>
                  </a:cubicBezTo>
                  <a:close/>
                  <a:moveTo>
                    <a:pt x="749" y="117"/>
                  </a:moveTo>
                  <a:cubicBezTo>
                    <a:pt x="772" y="117"/>
                    <a:pt x="790" y="97"/>
                    <a:pt x="790" y="73"/>
                  </a:cubicBezTo>
                  <a:cubicBezTo>
                    <a:pt x="790" y="49"/>
                    <a:pt x="772" y="30"/>
                    <a:pt x="749" y="30"/>
                  </a:cubicBezTo>
                  <a:cubicBezTo>
                    <a:pt x="726" y="30"/>
                    <a:pt x="707" y="49"/>
                    <a:pt x="707" y="73"/>
                  </a:cubicBezTo>
                  <a:cubicBezTo>
                    <a:pt x="707" y="97"/>
                    <a:pt x="726" y="117"/>
                    <a:pt x="749" y="117"/>
                  </a:cubicBezTo>
                  <a:close/>
                  <a:moveTo>
                    <a:pt x="852" y="146"/>
                  </a:moveTo>
                  <a:cubicBezTo>
                    <a:pt x="883" y="146"/>
                    <a:pt x="883" y="146"/>
                    <a:pt x="883" y="146"/>
                  </a:cubicBezTo>
                  <a:cubicBezTo>
                    <a:pt x="883" y="5"/>
                    <a:pt x="883" y="5"/>
                    <a:pt x="883" y="5"/>
                  </a:cubicBezTo>
                  <a:cubicBezTo>
                    <a:pt x="852" y="5"/>
                    <a:pt x="852" y="5"/>
                    <a:pt x="852" y="5"/>
                  </a:cubicBezTo>
                  <a:lnTo>
                    <a:pt x="852" y="146"/>
                  </a:lnTo>
                  <a:close/>
                </a:path>
              </a:pathLst>
            </a:custGeom>
            <a:grpFill/>
            <a:ln>
              <a:noFill/>
            </a:ln>
          </p:spPr>
          <p:txBody>
            <a:bodyPr vert="horz" wrap="square" lIns="91440" tIns="45720" rIns="91440" bIns="45720" numCol="1" anchor="t" anchorCtr="0" compatLnSpc="1">
              <a:prstTxWarp prst="textNoShape">
                <a:avLst/>
              </a:prstTxWarp>
            </a:bodyPr>
            <a:lstStyle/>
            <a:p>
              <a:endParaRPr lang="en-US"/>
            </a:p>
          </p:txBody>
        </p:sp>
      </p:grpSp>
      <p:pic>
        <p:nvPicPr>
          <p:cNvPr id="93" name="Picture 9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488669" y="2122433"/>
            <a:ext cx="1369012" cy="1026759"/>
          </a:xfrm>
          <a:prstGeom prst="rect">
            <a:avLst/>
          </a:prstGeom>
        </p:spPr>
      </p:pic>
      <p:pic>
        <p:nvPicPr>
          <p:cNvPr id="94" name="ios"/>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21382" y="5257908"/>
            <a:ext cx="1211336" cy="623635"/>
          </a:xfrm>
          <a:prstGeom prst="rect">
            <a:avLst/>
          </a:prstGeom>
        </p:spPr>
      </p:pic>
      <p:sp>
        <p:nvSpPr>
          <p:cNvPr id="95" name="windows"/>
          <p:cNvSpPr>
            <a:spLocks noChangeAspect="1" noEditPoints="1"/>
          </p:cNvSpPr>
          <p:nvPr/>
        </p:nvSpPr>
        <p:spPr bwMode="black">
          <a:xfrm>
            <a:off x="3745518" y="2472495"/>
            <a:ext cx="2178305" cy="485937"/>
          </a:xfrm>
          <a:custGeom>
            <a:avLst/>
            <a:gdLst>
              <a:gd name="T0" fmla="*/ 115 w 526"/>
              <a:gd name="T1" fmla="*/ 56 h 115"/>
              <a:gd name="T2" fmla="*/ 49 w 526"/>
              <a:gd name="T3" fmla="*/ 56 h 115"/>
              <a:gd name="T4" fmla="*/ 0 w 526"/>
              <a:gd name="T5" fmla="*/ 56 h 115"/>
              <a:gd name="T6" fmla="*/ 0 w 526"/>
              <a:gd name="T7" fmla="*/ 59 h 115"/>
              <a:gd name="T8" fmla="*/ 49 w 526"/>
              <a:gd name="T9" fmla="*/ 59 h 115"/>
              <a:gd name="T10" fmla="*/ 115 w 526"/>
              <a:gd name="T11" fmla="*/ 115 h 115"/>
              <a:gd name="T12" fmla="*/ 231 w 526"/>
              <a:gd name="T13" fmla="*/ 23 h 115"/>
              <a:gd name="T14" fmla="*/ 215 w 526"/>
              <a:gd name="T15" fmla="*/ 83 h 115"/>
              <a:gd name="T16" fmla="*/ 192 w 526"/>
              <a:gd name="T17" fmla="*/ 23 h 115"/>
              <a:gd name="T18" fmla="*/ 175 w 526"/>
              <a:gd name="T19" fmla="*/ 83 h 115"/>
              <a:gd name="T20" fmla="*/ 150 w 526"/>
              <a:gd name="T21" fmla="*/ 23 h 115"/>
              <a:gd name="T22" fmla="*/ 194 w 526"/>
              <a:gd name="T23" fmla="*/ 42 h 115"/>
              <a:gd name="T24" fmla="*/ 196 w 526"/>
              <a:gd name="T25" fmla="*/ 42 h 115"/>
              <a:gd name="T26" fmla="*/ 240 w 526"/>
              <a:gd name="T27" fmla="*/ 23 h 115"/>
              <a:gd name="T28" fmla="*/ 250 w 526"/>
              <a:gd name="T29" fmla="*/ 22 h 115"/>
              <a:gd name="T30" fmla="*/ 246 w 526"/>
              <a:gd name="T31" fmla="*/ 31 h 115"/>
              <a:gd name="T32" fmla="*/ 255 w 526"/>
              <a:gd name="T33" fmla="*/ 27 h 115"/>
              <a:gd name="T34" fmla="*/ 246 w 526"/>
              <a:gd name="T35" fmla="*/ 43 h 115"/>
              <a:gd name="T36" fmla="*/ 254 w 526"/>
              <a:gd name="T37" fmla="*/ 43 h 115"/>
              <a:gd name="T38" fmla="*/ 290 w 526"/>
              <a:gd name="T39" fmla="*/ 42 h 115"/>
              <a:gd name="T40" fmla="*/ 274 w 526"/>
              <a:gd name="T41" fmla="*/ 43 h 115"/>
              <a:gd name="T42" fmla="*/ 274 w 526"/>
              <a:gd name="T43" fmla="*/ 92 h 115"/>
              <a:gd name="T44" fmla="*/ 287 w 526"/>
              <a:gd name="T45" fmla="*/ 49 h 115"/>
              <a:gd name="T46" fmla="*/ 307 w 526"/>
              <a:gd name="T47" fmla="*/ 92 h 115"/>
              <a:gd name="T48" fmla="*/ 354 w 526"/>
              <a:gd name="T49" fmla="*/ 19 h 115"/>
              <a:gd name="T50" fmla="*/ 339 w 526"/>
              <a:gd name="T51" fmla="*/ 42 h 115"/>
              <a:gd name="T52" fmla="*/ 322 w 526"/>
              <a:gd name="T53" fmla="*/ 87 h 115"/>
              <a:gd name="T54" fmla="*/ 354 w 526"/>
              <a:gd name="T55" fmla="*/ 84 h 115"/>
              <a:gd name="T56" fmla="*/ 362 w 526"/>
              <a:gd name="T57" fmla="*/ 19 h 115"/>
              <a:gd name="T58" fmla="*/ 328 w 526"/>
              <a:gd name="T59" fmla="*/ 82 h 115"/>
              <a:gd name="T60" fmla="*/ 340 w 526"/>
              <a:gd name="T61" fmla="*/ 49 h 115"/>
              <a:gd name="T62" fmla="*/ 354 w 526"/>
              <a:gd name="T63" fmla="*/ 70 h 115"/>
              <a:gd name="T64" fmla="*/ 396 w 526"/>
              <a:gd name="T65" fmla="*/ 42 h 115"/>
              <a:gd name="T66" fmla="*/ 378 w 526"/>
              <a:gd name="T67" fmla="*/ 87 h 115"/>
              <a:gd name="T68" fmla="*/ 420 w 526"/>
              <a:gd name="T69" fmla="*/ 68 h 115"/>
              <a:gd name="T70" fmla="*/ 396 w 526"/>
              <a:gd name="T71" fmla="*/ 87 h 115"/>
              <a:gd name="T72" fmla="*/ 384 w 526"/>
              <a:gd name="T73" fmla="*/ 54 h 115"/>
              <a:gd name="T74" fmla="*/ 412 w 526"/>
              <a:gd name="T75" fmla="*/ 68 h 115"/>
              <a:gd name="T76" fmla="*/ 474 w 526"/>
              <a:gd name="T77" fmla="*/ 80 h 115"/>
              <a:gd name="T78" fmla="*/ 472 w 526"/>
              <a:gd name="T79" fmla="*/ 80 h 115"/>
              <a:gd name="T80" fmla="*/ 443 w 526"/>
              <a:gd name="T81" fmla="*/ 80 h 115"/>
              <a:gd name="T82" fmla="*/ 441 w 526"/>
              <a:gd name="T83" fmla="*/ 80 h 115"/>
              <a:gd name="T84" fmla="*/ 438 w 526"/>
              <a:gd name="T85" fmla="*/ 92 h 115"/>
              <a:gd name="T86" fmla="*/ 458 w 526"/>
              <a:gd name="T87" fmla="*/ 53 h 115"/>
              <a:gd name="T88" fmla="*/ 469 w 526"/>
              <a:gd name="T89" fmla="*/ 92 h 115"/>
              <a:gd name="T90" fmla="*/ 484 w 526"/>
              <a:gd name="T91" fmla="*/ 43 h 115"/>
              <a:gd name="T92" fmla="*/ 505 w 526"/>
              <a:gd name="T93" fmla="*/ 60 h 115"/>
              <a:gd name="T94" fmla="*/ 512 w 526"/>
              <a:gd name="T95" fmla="*/ 49 h 115"/>
              <a:gd name="T96" fmla="*/ 513 w 526"/>
              <a:gd name="T97" fmla="*/ 42 h 115"/>
              <a:gd name="T98" fmla="*/ 498 w 526"/>
              <a:gd name="T99" fmla="*/ 65 h 115"/>
              <a:gd name="T100" fmla="*/ 517 w 526"/>
              <a:gd name="T101" fmla="*/ 80 h 115"/>
              <a:gd name="T102" fmla="*/ 495 w 526"/>
              <a:gd name="T103" fmla="*/ 91 h 115"/>
              <a:gd name="T104" fmla="*/ 526 w 526"/>
              <a:gd name="T105" fmla="*/ 7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26" h="115">
                <a:moveTo>
                  <a:pt x="52" y="9"/>
                </a:moveTo>
                <a:cubicBezTo>
                  <a:pt x="115" y="0"/>
                  <a:pt x="115" y="0"/>
                  <a:pt x="115" y="0"/>
                </a:cubicBezTo>
                <a:cubicBezTo>
                  <a:pt x="115" y="56"/>
                  <a:pt x="115" y="56"/>
                  <a:pt x="115" y="56"/>
                </a:cubicBezTo>
                <a:cubicBezTo>
                  <a:pt x="52" y="56"/>
                  <a:pt x="52" y="56"/>
                  <a:pt x="52" y="56"/>
                </a:cubicBezTo>
                <a:lnTo>
                  <a:pt x="52" y="9"/>
                </a:lnTo>
                <a:close/>
                <a:moveTo>
                  <a:pt x="49" y="56"/>
                </a:moveTo>
                <a:cubicBezTo>
                  <a:pt x="49" y="9"/>
                  <a:pt x="49" y="9"/>
                  <a:pt x="49" y="9"/>
                </a:cubicBezTo>
                <a:cubicBezTo>
                  <a:pt x="0" y="16"/>
                  <a:pt x="0" y="16"/>
                  <a:pt x="0" y="16"/>
                </a:cubicBezTo>
                <a:cubicBezTo>
                  <a:pt x="0" y="56"/>
                  <a:pt x="0" y="56"/>
                  <a:pt x="0" y="56"/>
                </a:cubicBezTo>
                <a:lnTo>
                  <a:pt x="49" y="56"/>
                </a:lnTo>
                <a:close/>
                <a:moveTo>
                  <a:pt x="49" y="59"/>
                </a:moveTo>
                <a:cubicBezTo>
                  <a:pt x="0" y="59"/>
                  <a:pt x="0" y="59"/>
                  <a:pt x="0" y="59"/>
                </a:cubicBezTo>
                <a:cubicBezTo>
                  <a:pt x="0" y="99"/>
                  <a:pt x="0" y="99"/>
                  <a:pt x="0" y="99"/>
                </a:cubicBezTo>
                <a:cubicBezTo>
                  <a:pt x="49" y="106"/>
                  <a:pt x="49" y="106"/>
                  <a:pt x="49" y="106"/>
                </a:cubicBezTo>
                <a:lnTo>
                  <a:pt x="49" y="59"/>
                </a:lnTo>
                <a:close/>
                <a:moveTo>
                  <a:pt x="52" y="59"/>
                </a:moveTo>
                <a:cubicBezTo>
                  <a:pt x="52" y="106"/>
                  <a:pt x="52" y="106"/>
                  <a:pt x="52" y="106"/>
                </a:cubicBezTo>
                <a:cubicBezTo>
                  <a:pt x="115" y="115"/>
                  <a:pt x="115" y="115"/>
                  <a:pt x="115" y="115"/>
                </a:cubicBezTo>
                <a:cubicBezTo>
                  <a:pt x="115" y="59"/>
                  <a:pt x="115" y="59"/>
                  <a:pt x="115" y="59"/>
                </a:cubicBezTo>
                <a:lnTo>
                  <a:pt x="52" y="59"/>
                </a:lnTo>
                <a:close/>
                <a:moveTo>
                  <a:pt x="231" y="23"/>
                </a:moveTo>
                <a:cubicBezTo>
                  <a:pt x="217" y="76"/>
                  <a:pt x="217" y="76"/>
                  <a:pt x="217" y="76"/>
                </a:cubicBezTo>
                <a:cubicBezTo>
                  <a:pt x="216" y="79"/>
                  <a:pt x="215" y="81"/>
                  <a:pt x="215" y="83"/>
                </a:cubicBezTo>
                <a:cubicBezTo>
                  <a:pt x="215" y="83"/>
                  <a:pt x="215" y="83"/>
                  <a:pt x="215" y="83"/>
                </a:cubicBezTo>
                <a:cubicBezTo>
                  <a:pt x="215" y="81"/>
                  <a:pt x="215" y="79"/>
                  <a:pt x="214" y="77"/>
                </a:cubicBezTo>
                <a:cubicBezTo>
                  <a:pt x="199" y="23"/>
                  <a:pt x="199" y="23"/>
                  <a:pt x="199" y="23"/>
                </a:cubicBezTo>
                <a:cubicBezTo>
                  <a:pt x="192" y="23"/>
                  <a:pt x="192" y="23"/>
                  <a:pt x="192" y="23"/>
                </a:cubicBezTo>
                <a:cubicBezTo>
                  <a:pt x="176" y="76"/>
                  <a:pt x="176" y="76"/>
                  <a:pt x="176" y="76"/>
                </a:cubicBezTo>
                <a:cubicBezTo>
                  <a:pt x="175" y="79"/>
                  <a:pt x="175" y="81"/>
                  <a:pt x="175" y="83"/>
                </a:cubicBezTo>
                <a:cubicBezTo>
                  <a:pt x="175" y="83"/>
                  <a:pt x="175" y="83"/>
                  <a:pt x="175" y="83"/>
                </a:cubicBezTo>
                <a:cubicBezTo>
                  <a:pt x="174" y="81"/>
                  <a:pt x="174" y="79"/>
                  <a:pt x="173" y="76"/>
                </a:cubicBezTo>
                <a:cubicBezTo>
                  <a:pt x="159" y="23"/>
                  <a:pt x="159" y="23"/>
                  <a:pt x="159" y="23"/>
                </a:cubicBezTo>
                <a:cubicBezTo>
                  <a:pt x="150" y="23"/>
                  <a:pt x="150" y="23"/>
                  <a:pt x="150" y="23"/>
                </a:cubicBezTo>
                <a:cubicBezTo>
                  <a:pt x="170" y="92"/>
                  <a:pt x="170" y="92"/>
                  <a:pt x="170" y="92"/>
                </a:cubicBezTo>
                <a:cubicBezTo>
                  <a:pt x="179" y="92"/>
                  <a:pt x="179" y="92"/>
                  <a:pt x="179" y="92"/>
                </a:cubicBezTo>
                <a:cubicBezTo>
                  <a:pt x="194" y="42"/>
                  <a:pt x="194" y="42"/>
                  <a:pt x="194" y="42"/>
                </a:cubicBezTo>
                <a:cubicBezTo>
                  <a:pt x="194" y="40"/>
                  <a:pt x="195" y="37"/>
                  <a:pt x="195" y="35"/>
                </a:cubicBezTo>
                <a:cubicBezTo>
                  <a:pt x="195" y="35"/>
                  <a:pt x="195" y="35"/>
                  <a:pt x="195" y="35"/>
                </a:cubicBezTo>
                <a:cubicBezTo>
                  <a:pt x="195" y="38"/>
                  <a:pt x="196" y="40"/>
                  <a:pt x="196" y="42"/>
                </a:cubicBezTo>
                <a:cubicBezTo>
                  <a:pt x="210" y="92"/>
                  <a:pt x="210" y="92"/>
                  <a:pt x="210" y="92"/>
                </a:cubicBezTo>
                <a:cubicBezTo>
                  <a:pt x="220" y="92"/>
                  <a:pt x="220" y="92"/>
                  <a:pt x="220" y="92"/>
                </a:cubicBezTo>
                <a:cubicBezTo>
                  <a:pt x="240" y="23"/>
                  <a:pt x="240" y="23"/>
                  <a:pt x="240" y="23"/>
                </a:cubicBezTo>
                <a:lnTo>
                  <a:pt x="231" y="23"/>
                </a:lnTo>
                <a:close/>
                <a:moveTo>
                  <a:pt x="254" y="23"/>
                </a:moveTo>
                <a:cubicBezTo>
                  <a:pt x="253" y="22"/>
                  <a:pt x="251" y="22"/>
                  <a:pt x="250" y="22"/>
                </a:cubicBezTo>
                <a:cubicBezTo>
                  <a:pt x="248" y="22"/>
                  <a:pt x="247" y="22"/>
                  <a:pt x="246" y="23"/>
                </a:cubicBezTo>
                <a:cubicBezTo>
                  <a:pt x="245" y="24"/>
                  <a:pt x="245" y="25"/>
                  <a:pt x="245" y="27"/>
                </a:cubicBezTo>
                <a:cubicBezTo>
                  <a:pt x="245" y="28"/>
                  <a:pt x="245" y="30"/>
                  <a:pt x="246" y="31"/>
                </a:cubicBezTo>
                <a:cubicBezTo>
                  <a:pt x="247" y="31"/>
                  <a:pt x="249" y="32"/>
                  <a:pt x="250" y="32"/>
                </a:cubicBezTo>
                <a:cubicBezTo>
                  <a:pt x="251" y="32"/>
                  <a:pt x="253" y="31"/>
                  <a:pt x="254" y="30"/>
                </a:cubicBezTo>
                <a:cubicBezTo>
                  <a:pt x="255" y="30"/>
                  <a:pt x="255" y="28"/>
                  <a:pt x="255" y="27"/>
                </a:cubicBezTo>
                <a:cubicBezTo>
                  <a:pt x="255" y="25"/>
                  <a:pt x="255" y="24"/>
                  <a:pt x="254" y="23"/>
                </a:cubicBezTo>
                <a:close/>
                <a:moveTo>
                  <a:pt x="254" y="43"/>
                </a:moveTo>
                <a:cubicBezTo>
                  <a:pt x="246" y="43"/>
                  <a:pt x="246" y="43"/>
                  <a:pt x="246" y="43"/>
                </a:cubicBezTo>
                <a:cubicBezTo>
                  <a:pt x="246" y="92"/>
                  <a:pt x="246" y="92"/>
                  <a:pt x="246" y="92"/>
                </a:cubicBezTo>
                <a:cubicBezTo>
                  <a:pt x="254" y="92"/>
                  <a:pt x="254" y="92"/>
                  <a:pt x="254" y="92"/>
                </a:cubicBezTo>
                <a:lnTo>
                  <a:pt x="254" y="43"/>
                </a:lnTo>
                <a:close/>
                <a:moveTo>
                  <a:pt x="307" y="62"/>
                </a:moveTo>
                <a:cubicBezTo>
                  <a:pt x="307" y="56"/>
                  <a:pt x="305" y="51"/>
                  <a:pt x="302" y="47"/>
                </a:cubicBezTo>
                <a:cubicBezTo>
                  <a:pt x="300" y="44"/>
                  <a:pt x="295" y="42"/>
                  <a:pt x="290" y="42"/>
                </a:cubicBezTo>
                <a:cubicBezTo>
                  <a:pt x="283" y="42"/>
                  <a:pt x="278" y="45"/>
                  <a:pt x="274" y="51"/>
                </a:cubicBezTo>
                <a:cubicBezTo>
                  <a:pt x="274" y="51"/>
                  <a:pt x="274" y="51"/>
                  <a:pt x="274" y="51"/>
                </a:cubicBezTo>
                <a:cubicBezTo>
                  <a:pt x="274" y="43"/>
                  <a:pt x="274" y="43"/>
                  <a:pt x="274" y="43"/>
                </a:cubicBezTo>
                <a:cubicBezTo>
                  <a:pt x="266" y="43"/>
                  <a:pt x="266" y="43"/>
                  <a:pt x="266" y="43"/>
                </a:cubicBezTo>
                <a:cubicBezTo>
                  <a:pt x="266" y="92"/>
                  <a:pt x="266" y="92"/>
                  <a:pt x="266" y="92"/>
                </a:cubicBezTo>
                <a:cubicBezTo>
                  <a:pt x="274" y="92"/>
                  <a:pt x="274" y="92"/>
                  <a:pt x="274" y="92"/>
                </a:cubicBezTo>
                <a:cubicBezTo>
                  <a:pt x="274" y="64"/>
                  <a:pt x="274" y="64"/>
                  <a:pt x="274" y="64"/>
                </a:cubicBezTo>
                <a:cubicBezTo>
                  <a:pt x="274" y="60"/>
                  <a:pt x="275" y="56"/>
                  <a:pt x="278" y="53"/>
                </a:cubicBezTo>
                <a:cubicBezTo>
                  <a:pt x="280" y="50"/>
                  <a:pt x="283" y="49"/>
                  <a:pt x="287" y="49"/>
                </a:cubicBezTo>
                <a:cubicBezTo>
                  <a:pt x="295" y="49"/>
                  <a:pt x="299" y="54"/>
                  <a:pt x="299" y="64"/>
                </a:cubicBezTo>
                <a:cubicBezTo>
                  <a:pt x="299" y="92"/>
                  <a:pt x="299" y="92"/>
                  <a:pt x="299" y="92"/>
                </a:cubicBezTo>
                <a:cubicBezTo>
                  <a:pt x="307" y="92"/>
                  <a:pt x="307" y="92"/>
                  <a:pt x="307" y="92"/>
                </a:cubicBezTo>
                <a:lnTo>
                  <a:pt x="307" y="62"/>
                </a:lnTo>
                <a:close/>
                <a:moveTo>
                  <a:pt x="362" y="19"/>
                </a:moveTo>
                <a:cubicBezTo>
                  <a:pt x="354" y="19"/>
                  <a:pt x="354" y="19"/>
                  <a:pt x="354" y="19"/>
                </a:cubicBezTo>
                <a:cubicBezTo>
                  <a:pt x="354" y="50"/>
                  <a:pt x="354" y="50"/>
                  <a:pt x="354" y="50"/>
                </a:cubicBezTo>
                <a:cubicBezTo>
                  <a:pt x="353" y="50"/>
                  <a:pt x="353" y="50"/>
                  <a:pt x="353" y="50"/>
                </a:cubicBezTo>
                <a:cubicBezTo>
                  <a:pt x="350" y="44"/>
                  <a:pt x="345" y="42"/>
                  <a:pt x="339" y="42"/>
                </a:cubicBezTo>
                <a:cubicBezTo>
                  <a:pt x="332" y="42"/>
                  <a:pt x="326" y="44"/>
                  <a:pt x="322" y="49"/>
                </a:cubicBezTo>
                <a:cubicBezTo>
                  <a:pt x="318" y="54"/>
                  <a:pt x="316" y="61"/>
                  <a:pt x="316" y="69"/>
                </a:cubicBezTo>
                <a:cubicBezTo>
                  <a:pt x="316" y="76"/>
                  <a:pt x="318" y="82"/>
                  <a:pt x="322" y="87"/>
                </a:cubicBezTo>
                <a:cubicBezTo>
                  <a:pt x="325" y="91"/>
                  <a:pt x="330" y="94"/>
                  <a:pt x="337" y="94"/>
                </a:cubicBezTo>
                <a:cubicBezTo>
                  <a:pt x="344" y="94"/>
                  <a:pt x="350" y="90"/>
                  <a:pt x="353" y="84"/>
                </a:cubicBezTo>
                <a:cubicBezTo>
                  <a:pt x="354" y="84"/>
                  <a:pt x="354" y="84"/>
                  <a:pt x="354" y="84"/>
                </a:cubicBezTo>
                <a:cubicBezTo>
                  <a:pt x="354" y="92"/>
                  <a:pt x="354" y="92"/>
                  <a:pt x="354" y="92"/>
                </a:cubicBezTo>
                <a:cubicBezTo>
                  <a:pt x="362" y="92"/>
                  <a:pt x="362" y="92"/>
                  <a:pt x="362" y="92"/>
                </a:cubicBezTo>
                <a:lnTo>
                  <a:pt x="362" y="19"/>
                </a:lnTo>
                <a:close/>
                <a:moveTo>
                  <a:pt x="349" y="82"/>
                </a:moveTo>
                <a:cubicBezTo>
                  <a:pt x="347" y="85"/>
                  <a:pt x="343" y="87"/>
                  <a:pt x="339" y="87"/>
                </a:cubicBezTo>
                <a:cubicBezTo>
                  <a:pt x="334" y="87"/>
                  <a:pt x="331" y="85"/>
                  <a:pt x="328" y="82"/>
                </a:cubicBezTo>
                <a:cubicBezTo>
                  <a:pt x="325" y="79"/>
                  <a:pt x="324" y="74"/>
                  <a:pt x="324" y="68"/>
                </a:cubicBezTo>
                <a:cubicBezTo>
                  <a:pt x="324" y="62"/>
                  <a:pt x="326" y="57"/>
                  <a:pt x="328" y="54"/>
                </a:cubicBezTo>
                <a:cubicBezTo>
                  <a:pt x="331" y="50"/>
                  <a:pt x="335" y="49"/>
                  <a:pt x="340" y="49"/>
                </a:cubicBezTo>
                <a:cubicBezTo>
                  <a:pt x="344" y="49"/>
                  <a:pt x="347" y="50"/>
                  <a:pt x="350" y="53"/>
                </a:cubicBezTo>
                <a:cubicBezTo>
                  <a:pt x="352" y="55"/>
                  <a:pt x="354" y="59"/>
                  <a:pt x="354" y="63"/>
                </a:cubicBezTo>
                <a:cubicBezTo>
                  <a:pt x="354" y="70"/>
                  <a:pt x="354" y="70"/>
                  <a:pt x="354" y="70"/>
                </a:cubicBezTo>
                <a:cubicBezTo>
                  <a:pt x="354" y="75"/>
                  <a:pt x="352" y="79"/>
                  <a:pt x="349" y="82"/>
                </a:cubicBezTo>
                <a:close/>
                <a:moveTo>
                  <a:pt x="414" y="49"/>
                </a:moveTo>
                <a:cubicBezTo>
                  <a:pt x="410" y="44"/>
                  <a:pt x="404" y="42"/>
                  <a:pt x="396" y="42"/>
                </a:cubicBezTo>
                <a:cubicBezTo>
                  <a:pt x="389" y="42"/>
                  <a:pt x="383" y="44"/>
                  <a:pt x="378" y="49"/>
                </a:cubicBezTo>
                <a:cubicBezTo>
                  <a:pt x="374" y="54"/>
                  <a:pt x="371" y="60"/>
                  <a:pt x="371" y="68"/>
                </a:cubicBezTo>
                <a:cubicBezTo>
                  <a:pt x="371" y="76"/>
                  <a:pt x="374" y="82"/>
                  <a:pt x="378" y="87"/>
                </a:cubicBezTo>
                <a:cubicBezTo>
                  <a:pt x="382" y="91"/>
                  <a:pt x="388" y="94"/>
                  <a:pt x="395" y="94"/>
                </a:cubicBezTo>
                <a:cubicBezTo>
                  <a:pt x="403" y="94"/>
                  <a:pt x="409" y="91"/>
                  <a:pt x="413" y="86"/>
                </a:cubicBezTo>
                <a:cubicBezTo>
                  <a:pt x="418" y="82"/>
                  <a:pt x="420" y="75"/>
                  <a:pt x="420" y="68"/>
                </a:cubicBezTo>
                <a:cubicBezTo>
                  <a:pt x="420" y="60"/>
                  <a:pt x="418" y="53"/>
                  <a:pt x="414" y="49"/>
                </a:cubicBezTo>
                <a:close/>
                <a:moveTo>
                  <a:pt x="408" y="82"/>
                </a:moveTo>
                <a:cubicBezTo>
                  <a:pt x="405" y="85"/>
                  <a:pt x="401" y="87"/>
                  <a:pt x="396" y="87"/>
                </a:cubicBezTo>
                <a:cubicBezTo>
                  <a:pt x="391" y="87"/>
                  <a:pt x="387" y="85"/>
                  <a:pt x="384" y="82"/>
                </a:cubicBezTo>
                <a:cubicBezTo>
                  <a:pt x="381" y="79"/>
                  <a:pt x="379" y="74"/>
                  <a:pt x="379" y="68"/>
                </a:cubicBezTo>
                <a:cubicBezTo>
                  <a:pt x="379" y="62"/>
                  <a:pt x="381" y="57"/>
                  <a:pt x="384" y="54"/>
                </a:cubicBezTo>
                <a:cubicBezTo>
                  <a:pt x="387" y="50"/>
                  <a:pt x="391" y="49"/>
                  <a:pt x="396" y="49"/>
                </a:cubicBezTo>
                <a:cubicBezTo>
                  <a:pt x="401" y="49"/>
                  <a:pt x="405" y="50"/>
                  <a:pt x="408" y="54"/>
                </a:cubicBezTo>
                <a:cubicBezTo>
                  <a:pt x="410" y="57"/>
                  <a:pt x="412" y="62"/>
                  <a:pt x="412" y="68"/>
                </a:cubicBezTo>
                <a:cubicBezTo>
                  <a:pt x="412" y="74"/>
                  <a:pt x="410" y="79"/>
                  <a:pt x="408" y="82"/>
                </a:cubicBezTo>
                <a:close/>
                <a:moveTo>
                  <a:pt x="484" y="43"/>
                </a:moveTo>
                <a:cubicBezTo>
                  <a:pt x="474" y="80"/>
                  <a:pt x="474" y="80"/>
                  <a:pt x="474" y="80"/>
                </a:cubicBezTo>
                <a:cubicBezTo>
                  <a:pt x="474" y="82"/>
                  <a:pt x="473" y="83"/>
                  <a:pt x="473" y="85"/>
                </a:cubicBezTo>
                <a:cubicBezTo>
                  <a:pt x="473" y="85"/>
                  <a:pt x="473" y="85"/>
                  <a:pt x="473" y="85"/>
                </a:cubicBezTo>
                <a:cubicBezTo>
                  <a:pt x="473" y="83"/>
                  <a:pt x="472" y="81"/>
                  <a:pt x="472" y="80"/>
                </a:cubicBezTo>
                <a:cubicBezTo>
                  <a:pt x="462" y="43"/>
                  <a:pt x="462" y="43"/>
                  <a:pt x="462" y="43"/>
                </a:cubicBezTo>
                <a:cubicBezTo>
                  <a:pt x="455" y="43"/>
                  <a:pt x="455" y="43"/>
                  <a:pt x="455" y="43"/>
                </a:cubicBezTo>
                <a:cubicBezTo>
                  <a:pt x="443" y="80"/>
                  <a:pt x="443" y="80"/>
                  <a:pt x="443" y="80"/>
                </a:cubicBezTo>
                <a:cubicBezTo>
                  <a:pt x="443" y="82"/>
                  <a:pt x="442" y="83"/>
                  <a:pt x="442" y="85"/>
                </a:cubicBezTo>
                <a:cubicBezTo>
                  <a:pt x="442" y="85"/>
                  <a:pt x="442" y="85"/>
                  <a:pt x="442" y="85"/>
                </a:cubicBezTo>
                <a:cubicBezTo>
                  <a:pt x="442" y="83"/>
                  <a:pt x="442" y="81"/>
                  <a:pt x="441" y="80"/>
                </a:cubicBezTo>
                <a:cubicBezTo>
                  <a:pt x="431" y="43"/>
                  <a:pt x="431" y="43"/>
                  <a:pt x="431" y="43"/>
                </a:cubicBezTo>
                <a:cubicBezTo>
                  <a:pt x="423" y="43"/>
                  <a:pt x="423" y="43"/>
                  <a:pt x="423" y="43"/>
                </a:cubicBezTo>
                <a:cubicBezTo>
                  <a:pt x="438" y="92"/>
                  <a:pt x="438" y="92"/>
                  <a:pt x="438" y="92"/>
                </a:cubicBezTo>
                <a:cubicBezTo>
                  <a:pt x="446" y="92"/>
                  <a:pt x="446" y="92"/>
                  <a:pt x="446" y="92"/>
                </a:cubicBezTo>
                <a:cubicBezTo>
                  <a:pt x="457" y="57"/>
                  <a:pt x="457" y="57"/>
                  <a:pt x="457" y="57"/>
                </a:cubicBezTo>
                <a:cubicBezTo>
                  <a:pt x="457" y="55"/>
                  <a:pt x="458" y="54"/>
                  <a:pt x="458" y="53"/>
                </a:cubicBezTo>
                <a:cubicBezTo>
                  <a:pt x="458" y="53"/>
                  <a:pt x="458" y="53"/>
                  <a:pt x="458" y="53"/>
                </a:cubicBezTo>
                <a:cubicBezTo>
                  <a:pt x="458" y="54"/>
                  <a:pt x="458" y="56"/>
                  <a:pt x="459" y="57"/>
                </a:cubicBezTo>
                <a:cubicBezTo>
                  <a:pt x="469" y="92"/>
                  <a:pt x="469" y="92"/>
                  <a:pt x="469" y="92"/>
                </a:cubicBezTo>
                <a:cubicBezTo>
                  <a:pt x="477" y="92"/>
                  <a:pt x="477" y="92"/>
                  <a:pt x="477" y="92"/>
                </a:cubicBezTo>
                <a:cubicBezTo>
                  <a:pt x="492" y="43"/>
                  <a:pt x="492" y="43"/>
                  <a:pt x="492" y="43"/>
                </a:cubicBezTo>
                <a:lnTo>
                  <a:pt x="484" y="43"/>
                </a:lnTo>
                <a:close/>
                <a:moveTo>
                  <a:pt x="523" y="71"/>
                </a:moveTo>
                <a:cubicBezTo>
                  <a:pt x="521" y="69"/>
                  <a:pt x="517" y="67"/>
                  <a:pt x="513" y="65"/>
                </a:cubicBezTo>
                <a:cubicBezTo>
                  <a:pt x="509" y="63"/>
                  <a:pt x="506" y="62"/>
                  <a:pt x="505" y="60"/>
                </a:cubicBezTo>
                <a:cubicBezTo>
                  <a:pt x="504" y="59"/>
                  <a:pt x="503" y="58"/>
                  <a:pt x="503" y="55"/>
                </a:cubicBezTo>
                <a:cubicBezTo>
                  <a:pt x="503" y="53"/>
                  <a:pt x="504" y="52"/>
                  <a:pt x="506" y="50"/>
                </a:cubicBezTo>
                <a:cubicBezTo>
                  <a:pt x="507" y="49"/>
                  <a:pt x="509" y="49"/>
                  <a:pt x="512" y="49"/>
                </a:cubicBezTo>
                <a:cubicBezTo>
                  <a:pt x="516" y="49"/>
                  <a:pt x="520" y="50"/>
                  <a:pt x="523" y="52"/>
                </a:cubicBezTo>
                <a:cubicBezTo>
                  <a:pt x="523" y="44"/>
                  <a:pt x="523" y="44"/>
                  <a:pt x="523" y="44"/>
                </a:cubicBezTo>
                <a:cubicBezTo>
                  <a:pt x="520" y="43"/>
                  <a:pt x="517" y="42"/>
                  <a:pt x="513" y="42"/>
                </a:cubicBezTo>
                <a:cubicBezTo>
                  <a:pt x="508" y="42"/>
                  <a:pt x="503" y="43"/>
                  <a:pt x="500" y="46"/>
                </a:cubicBezTo>
                <a:cubicBezTo>
                  <a:pt x="497" y="49"/>
                  <a:pt x="495" y="52"/>
                  <a:pt x="495" y="56"/>
                </a:cubicBezTo>
                <a:cubicBezTo>
                  <a:pt x="495" y="60"/>
                  <a:pt x="496" y="62"/>
                  <a:pt x="498" y="65"/>
                </a:cubicBezTo>
                <a:cubicBezTo>
                  <a:pt x="500" y="67"/>
                  <a:pt x="503" y="69"/>
                  <a:pt x="507" y="71"/>
                </a:cubicBezTo>
                <a:cubicBezTo>
                  <a:pt x="512" y="73"/>
                  <a:pt x="514" y="74"/>
                  <a:pt x="516" y="75"/>
                </a:cubicBezTo>
                <a:cubicBezTo>
                  <a:pt x="517" y="77"/>
                  <a:pt x="517" y="78"/>
                  <a:pt x="517" y="80"/>
                </a:cubicBezTo>
                <a:cubicBezTo>
                  <a:pt x="517" y="85"/>
                  <a:pt x="514" y="87"/>
                  <a:pt x="508" y="87"/>
                </a:cubicBezTo>
                <a:cubicBezTo>
                  <a:pt x="503" y="87"/>
                  <a:pt x="499" y="85"/>
                  <a:pt x="495" y="82"/>
                </a:cubicBezTo>
                <a:cubicBezTo>
                  <a:pt x="495" y="91"/>
                  <a:pt x="495" y="91"/>
                  <a:pt x="495" y="91"/>
                </a:cubicBezTo>
                <a:cubicBezTo>
                  <a:pt x="499" y="93"/>
                  <a:pt x="503" y="94"/>
                  <a:pt x="507" y="94"/>
                </a:cubicBezTo>
                <a:cubicBezTo>
                  <a:pt x="513" y="94"/>
                  <a:pt x="517" y="92"/>
                  <a:pt x="521" y="90"/>
                </a:cubicBezTo>
                <a:cubicBezTo>
                  <a:pt x="524" y="87"/>
                  <a:pt x="526" y="83"/>
                  <a:pt x="526" y="79"/>
                </a:cubicBezTo>
                <a:cubicBezTo>
                  <a:pt x="526" y="76"/>
                  <a:pt x="525" y="73"/>
                  <a:pt x="523" y="71"/>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85" name="Title 1"/>
          <p:cNvSpPr>
            <a:spLocks noGrp="1"/>
          </p:cNvSpPr>
          <p:nvPr>
            <p:ph type="title"/>
          </p:nvPr>
        </p:nvSpPr>
        <p:spPr>
          <a:xfrm>
            <a:off x="0" y="0"/>
            <a:ext cx="11656706" cy="628788"/>
          </a:xfrm>
        </p:spPr>
        <p:txBody>
          <a:bodyPr>
            <a:noAutofit/>
          </a:bodyPr>
          <a:lstStyle/>
          <a:p>
            <a:r>
              <a:rPr lang="en-US" sz="4400" dirty="0" smtClean="0"/>
              <a:t>Azure IoT Suite</a:t>
            </a:r>
            <a:endParaRPr lang="en-US" sz="4400" dirty="0"/>
          </a:p>
        </p:txBody>
      </p:sp>
      <p:grpSp>
        <p:nvGrpSpPr>
          <p:cNvPr id="84" name="Group 83"/>
          <p:cNvGrpSpPr/>
          <p:nvPr/>
        </p:nvGrpSpPr>
        <p:grpSpPr>
          <a:xfrm>
            <a:off x="834941" y="4283959"/>
            <a:ext cx="2298318" cy="1005840"/>
            <a:chOff x="834941" y="2145937"/>
            <a:chExt cx="2298318" cy="1005840"/>
          </a:xfrm>
          <a:noFill/>
        </p:grpSpPr>
        <p:sp>
          <p:nvSpPr>
            <p:cNvPr id="86" name="Rectangle 85"/>
            <p:cNvSpPr/>
            <p:nvPr/>
          </p:nvSpPr>
          <p:spPr>
            <a:xfrm>
              <a:off x="834941" y="2145937"/>
              <a:ext cx="2298318" cy="1005840"/>
            </a:xfrm>
            <a:prstGeom prst="rect">
              <a:avLst/>
            </a:prstGeom>
            <a:grp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Predictive Maintenance</a:t>
              </a:r>
              <a:endParaRPr lang="en-US" sz="2000" dirty="0">
                <a:latin typeface="+mj-lt"/>
                <a:cs typeface="Segoe UI Light" panose="020B0502040204020203" pitchFamily="34" charset="0"/>
              </a:endParaRPr>
            </a:p>
          </p:txBody>
        </p:sp>
        <p:grpSp>
          <p:nvGrpSpPr>
            <p:cNvPr id="87" name="Group 86"/>
            <p:cNvGrpSpPr/>
            <p:nvPr/>
          </p:nvGrpSpPr>
          <p:grpSpPr>
            <a:xfrm>
              <a:off x="2438255" y="2261365"/>
              <a:ext cx="625795" cy="518026"/>
              <a:chOff x="16659225" y="-4403725"/>
              <a:chExt cx="3724275" cy="3082925"/>
            </a:xfrm>
            <a:grpFill/>
          </p:grpSpPr>
          <p:sp>
            <p:nvSpPr>
              <p:cNvPr id="88"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sp>
            <p:nvSpPr>
              <p:cNvPr id="89" name="Oval 29"/>
              <p:cNvSpPr>
                <a:spLocks noChangeArrowheads="1"/>
              </p:cNvSpPr>
              <p:nvPr/>
            </p:nvSpPr>
            <p:spPr bwMode="auto">
              <a:xfrm>
                <a:off x="18103850" y="-4403725"/>
                <a:ext cx="508000" cy="508000"/>
              </a:xfrm>
              <a:prstGeom prst="ellipse">
                <a:avLst/>
              </a:prstGeom>
              <a:grpFill/>
              <a:ln w="9525">
                <a:solidFill>
                  <a:schemeClr val="accent1">
                    <a:lumMod val="60000"/>
                    <a:lumOff val="40000"/>
                  </a:schemeClr>
                </a:solidFill>
                <a:round/>
                <a:headEnd/>
                <a:tailEnd/>
              </a:ln>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latin typeface="+mj-lt"/>
                </a:endParaRPr>
              </a:p>
            </p:txBody>
          </p:sp>
        </p:grpSp>
      </p:grpSp>
      <p:grpSp>
        <p:nvGrpSpPr>
          <p:cNvPr id="96" name="Group 95"/>
          <p:cNvGrpSpPr/>
          <p:nvPr/>
        </p:nvGrpSpPr>
        <p:grpSpPr>
          <a:xfrm>
            <a:off x="834941" y="3212127"/>
            <a:ext cx="2298318" cy="1005840"/>
            <a:chOff x="834941" y="3212127"/>
            <a:chExt cx="2298318" cy="1005840"/>
          </a:xfrm>
          <a:noFill/>
        </p:grpSpPr>
        <p:sp>
          <p:nvSpPr>
            <p:cNvPr id="97" name="Rectangle 96"/>
            <p:cNvSpPr/>
            <p:nvPr/>
          </p:nvSpPr>
          <p:spPr>
            <a:xfrm>
              <a:off x="834941" y="3212127"/>
              <a:ext cx="2298318" cy="1005840"/>
            </a:xfrm>
            <a:prstGeom prst="rect">
              <a:avLst/>
            </a:prstGeom>
            <a:grp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Asset </a:t>
              </a:r>
            </a:p>
            <a:p>
              <a:pPr>
                <a:lnSpc>
                  <a:spcPct val="90000"/>
                </a:lnSpc>
              </a:pPr>
              <a:r>
                <a:rPr lang="en-US" sz="2000" dirty="0" smtClean="0">
                  <a:latin typeface="+mj-lt"/>
                  <a:cs typeface="Segoe UI Light" panose="020B0502040204020203" pitchFamily="34" charset="0"/>
                </a:rPr>
                <a:t>Management</a:t>
              </a:r>
              <a:endParaRPr lang="en-US" sz="2000" dirty="0">
                <a:latin typeface="+mj-lt"/>
                <a:cs typeface="Segoe UI Light" panose="020B0502040204020203" pitchFamily="34" charset="0"/>
              </a:endParaRPr>
            </a:p>
          </p:txBody>
        </p:sp>
        <p:sp>
          <p:nvSpPr>
            <p:cNvPr id="98" name="Freeform 97"/>
            <p:cNvSpPr>
              <a:spLocks noChangeAspect="1"/>
            </p:cNvSpPr>
            <p:nvPr/>
          </p:nvSpPr>
          <p:spPr bwMode="auto">
            <a:xfrm>
              <a:off x="2677822" y="3321183"/>
              <a:ext cx="329494" cy="757252"/>
            </a:xfrm>
            <a:custGeom>
              <a:avLst/>
              <a:gdLst>
                <a:gd name="connsiteX0" fmla="*/ 645069 w 1199490"/>
                <a:gd name="connsiteY0" fmla="*/ 2353290 h 2756708"/>
                <a:gd name="connsiteX1" fmla="*/ 645069 w 1199490"/>
                <a:gd name="connsiteY1" fmla="*/ 2473092 h 2756708"/>
                <a:gd name="connsiteX2" fmla="*/ 883395 w 1199490"/>
                <a:gd name="connsiteY2" fmla="*/ 2473092 h 2756708"/>
                <a:gd name="connsiteX3" fmla="*/ 552457 w 1199490"/>
                <a:gd name="connsiteY3" fmla="*/ 2345158 h 2756708"/>
                <a:gd name="connsiteX4" fmla="*/ 297954 w 1199490"/>
                <a:gd name="connsiteY4" fmla="*/ 2473092 h 2756708"/>
                <a:gd name="connsiteX5" fmla="*/ 552457 w 1199490"/>
                <a:gd name="connsiteY5" fmla="*/ 2473092 h 2756708"/>
                <a:gd name="connsiteX6" fmla="*/ 911942 w 1199490"/>
                <a:gd name="connsiteY6" fmla="*/ 2164451 h 2756708"/>
                <a:gd name="connsiteX7" fmla="*/ 664117 w 1199490"/>
                <a:gd name="connsiteY7" fmla="*/ 2289029 h 2756708"/>
                <a:gd name="connsiteX8" fmla="*/ 949348 w 1199490"/>
                <a:gd name="connsiteY8" fmla="*/ 2432409 h 2756708"/>
                <a:gd name="connsiteX9" fmla="*/ 266628 w 1199490"/>
                <a:gd name="connsiteY9" fmla="*/ 2163054 h 2756708"/>
                <a:gd name="connsiteX10" fmla="*/ 228802 w 1199490"/>
                <a:gd name="connsiteY10" fmla="*/ 2434018 h 2756708"/>
                <a:gd name="connsiteX11" fmla="*/ 517232 w 1199490"/>
                <a:gd name="connsiteY11" fmla="*/ 2289029 h 2756708"/>
                <a:gd name="connsiteX12" fmla="*/ 645069 w 1199490"/>
                <a:gd name="connsiteY12" fmla="*/ 2114420 h 2756708"/>
                <a:gd name="connsiteX13" fmla="*/ 645069 w 1199490"/>
                <a:gd name="connsiteY13" fmla="*/ 2224768 h 2756708"/>
                <a:gd name="connsiteX14" fmla="*/ 864586 w 1199490"/>
                <a:gd name="connsiteY14" fmla="*/ 2114420 h 2756708"/>
                <a:gd name="connsiteX15" fmla="*/ 316763 w 1199490"/>
                <a:gd name="connsiteY15" fmla="*/ 2114420 h 2756708"/>
                <a:gd name="connsiteX16" fmla="*/ 552457 w 1199490"/>
                <a:gd name="connsiteY16" fmla="*/ 2232899 h 2756708"/>
                <a:gd name="connsiteX17" fmla="*/ 552457 w 1199490"/>
                <a:gd name="connsiteY17" fmla="*/ 2114420 h 2756708"/>
                <a:gd name="connsiteX18" fmla="*/ 645069 w 1199490"/>
                <a:gd name="connsiteY18" fmla="*/ 1853542 h 2756708"/>
                <a:gd name="connsiteX19" fmla="*/ 645069 w 1199490"/>
                <a:gd name="connsiteY19" fmla="*/ 1974167 h 2756708"/>
                <a:gd name="connsiteX20" fmla="*/ 841112 w 1199490"/>
                <a:gd name="connsiteY20" fmla="*/ 1974167 h 2756708"/>
                <a:gd name="connsiteX21" fmla="*/ 552457 w 1199490"/>
                <a:gd name="connsiteY21" fmla="*/ 1851097 h 2756708"/>
                <a:gd name="connsiteX22" fmla="*/ 352440 w 1199490"/>
                <a:gd name="connsiteY22" fmla="*/ 1974167 h 2756708"/>
                <a:gd name="connsiteX23" fmla="*/ 552457 w 1199490"/>
                <a:gd name="connsiteY23" fmla="*/ 1974167 h 2756708"/>
                <a:gd name="connsiteX24" fmla="*/ 843223 w 1199490"/>
                <a:gd name="connsiteY24" fmla="*/ 1672188 h 2756708"/>
                <a:gd name="connsiteX25" fmla="*/ 645069 w 1199490"/>
                <a:gd name="connsiteY25" fmla="*/ 1794113 h 2756708"/>
                <a:gd name="connsiteX26" fmla="*/ 645069 w 1199490"/>
                <a:gd name="connsiteY26" fmla="*/ 1795132 h 2756708"/>
                <a:gd name="connsiteX27" fmla="*/ 880619 w 1199490"/>
                <a:gd name="connsiteY27" fmla="*/ 1940066 h 2756708"/>
                <a:gd name="connsiteX28" fmla="*/ 336351 w 1199490"/>
                <a:gd name="connsiteY28" fmla="*/ 1663588 h 2756708"/>
                <a:gd name="connsiteX29" fmla="*/ 296329 w 1199490"/>
                <a:gd name="connsiteY29" fmla="*/ 1950283 h 2756708"/>
                <a:gd name="connsiteX30" fmla="*/ 549312 w 1199490"/>
                <a:gd name="connsiteY30" fmla="*/ 1794622 h 2756708"/>
                <a:gd name="connsiteX31" fmla="*/ 645069 w 1199490"/>
                <a:gd name="connsiteY31" fmla="*/ 1650996 h 2756708"/>
                <a:gd name="connsiteX32" fmla="*/ 645069 w 1199490"/>
                <a:gd name="connsiteY32" fmla="*/ 1735703 h 2756708"/>
                <a:gd name="connsiteX33" fmla="*/ 782736 w 1199490"/>
                <a:gd name="connsiteY33" fmla="*/ 1650996 h 2756708"/>
                <a:gd name="connsiteX34" fmla="*/ 410816 w 1199490"/>
                <a:gd name="connsiteY34" fmla="*/ 1650996 h 2756708"/>
                <a:gd name="connsiteX35" fmla="*/ 552457 w 1199490"/>
                <a:gd name="connsiteY35" fmla="*/ 1738148 h 2756708"/>
                <a:gd name="connsiteX36" fmla="*/ 552457 w 1199490"/>
                <a:gd name="connsiteY36" fmla="*/ 1650996 h 2756708"/>
                <a:gd name="connsiteX37" fmla="*/ 645069 w 1199490"/>
                <a:gd name="connsiteY37" fmla="*/ 1466110 h 2756708"/>
                <a:gd name="connsiteX38" fmla="*/ 645069 w 1199490"/>
                <a:gd name="connsiteY38" fmla="*/ 1549258 h 2756708"/>
                <a:gd name="connsiteX39" fmla="*/ 754966 w 1199490"/>
                <a:gd name="connsiteY39" fmla="*/ 1549258 h 2756708"/>
                <a:gd name="connsiteX40" fmla="*/ 552457 w 1199490"/>
                <a:gd name="connsiteY40" fmla="*/ 1464303 h 2756708"/>
                <a:gd name="connsiteX41" fmla="*/ 440172 w 1199490"/>
                <a:gd name="connsiteY41" fmla="*/ 1549258 h 2756708"/>
                <a:gd name="connsiteX42" fmla="*/ 552457 w 1199490"/>
                <a:gd name="connsiteY42" fmla="*/ 1549258 h 2756708"/>
                <a:gd name="connsiteX43" fmla="*/ 789199 w 1199490"/>
                <a:gd name="connsiteY43" fmla="*/ 1285183 h 2756708"/>
                <a:gd name="connsiteX44" fmla="*/ 645069 w 1199490"/>
                <a:gd name="connsiteY44" fmla="*/ 1394233 h 2756708"/>
                <a:gd name="connsiteX45" fmla="*/ 645069 w 1199490"/>
                <a:gd name="connsiteY45" fmla="*/ 1395476 h 2756708"/>
                <a:gd name="connsiteX46" fmla="*/ 823435 w 1199490"/>
                <a:gd name="connsiteY46" fmla="*/ 1530428 h 2756708"/>
                <a:gd name="connsiteX47" fmla="*/ 390777 w 1199490"/>
                <a:gd name="connsiteY47" fmla="*/ 1273712 h 2756708"/>
                <a:gd name="connsiteX48" fmla="*/ 352960 w 1199490"/>
                <a:gd name="connsiteY48" fmla="*/ 1544609 h 2756708"/>
                <a:gd name="connsiteX49" fmla="*/ 550891 w 1199490"/>
                <a:gd name="connsiteY49" fmla="*/ 1394854 h 2756708"/>
                <a:gd name="connsiteX50" fmla="*/ 645069 w 1199490"/>
                <a:gd name="connsiteY50" fmla="*/ 1254564 h 2756708"/>
                <a:gd name="connsiteX51" fmla="*/ 645069 w 1199490"/>
                <a:gd name="connsiteY51" fmla="*/ 1323599 h 2756708"/>
                <a:gd name="connsiteX52" fmla="*/ 736312 w 1199490"/>
                <a:gd name="connsiteY52" fmla="*/ 1254564 h 2756708"/>
                <a:gd name="connsiteX53" fmla="*/ 458826 w 1199490"/>
                <a:gd name="connsiteY53" fmla="*/ 1254564 h 2756708"/>
                <a:gd name="connsiteX54" fmla="*/ 552457 w 1199490"/>
                <a:gd name="connsiteY54" fmla="*/ 1325406 h 2756708"/>
                <a:gd name="connsiteX55" fmla="*/ 552457 w 1199490"/>
                <a:gd name="connsiteY55" fmla="*/ 1254564 h 2756708"/>
                <a:gd name="connsiteX56" fmla="*/ 645069 w 1199490"/>
                <a:gd name="connsiteY56" fmla="*/ 934208 h 2756708"/>
                <a:gd name="connsiteX57" fmla="*/ 645069 w 1199490"/>
                <a:gd name="connsiteY57" fmla="*/ 1152826 h 2756708"/>
                <a:gd name="connsiteX58" fmla="*/ 770722 w 1199490"/>
                <a:gd name="connsiteY58" fmla="*/ 1152826 h 2756708"/>
                <a:gd name="connsiteX59" fmla="*/ 740204 w 1199490"/>
                <a:gd name="connsiteY59" fmla="*/ 934208 h 2756708"/>
                <a:gd name="connsiteX60" fmla="*/ 438170 w 1199490"/>
                <a:gd name="connsiteY60" fmla="*/ 934208 h 2756708"/>
                <a:gd name="connsiteX61" fmla="*/ 407652 w 1199490"/>
                <a:gd name="connsiteY61" fmla="*/ 1152826 h 2756708"/>
                <a:gd name="connsiteX62" fmla="*/ 552457 w 1199490"/>
                <a:gd name="connsiteY62" fmla="*/ 1152826 h 2756708"/>
                <a:gd name="connsiteX63" fmla="*/ 552457 w 1199490"/>
                <a:gd name="connsiteY63" fmla="*/ 934208 h 2756708"/>
                <a:gd name="connsiteX64" fmla="*/ 143156 w 1199490"/>
                <a:gd name="connsiteY64" fmla="*/ 387286 h 2756708"/>
                <a:gd name="connsiteX65" fmla="*/ 280538 w 1199490"/>
                <a:gd name="connsiteY65" fmla="*/ 415367 h 2756708"/>
                <a:gd name="connsiteX66" fmla="*/ 362376 w 1199490"/>
                <a:gd name="connsiteY66" fmla="*/ 455184 h 2756708"/>
                <a:gd name="connsiteX67" fmla="*/ 185635 w 1199490"/>
                <a:gd name="connsiteY67" fmla="*/ 451000 h 2756708"/>
                <a:gd name="connsiteX68" fmla="*/ 143156 w 1199490"/>
                <a:gd name="connsiteY68" fmla="*/ 387286 h 2756708"/>
                <a:gd name="connsiteX69" fmla="*/ 1036102 w 1199490"/>
                <a:gd name="connsiteY69" fmla="*/ 385736 h 2756708"/>
                <a:gd name="connsiteX70" fmla="*/ 994813 w 1199490"/>
                <a:gd name="connsiteY70" fmla="*/ 450228 h 2756708"/>
                <a:gd name="connsiteX71" fmla="*/ 818181 w 1199490"/>
                <a:gd name="connsiteY71" fmla="*/ 457691 h 2756708"/>
                <a:gd name="connsiteX72" fmla="*/ 899265 w 1199490"/>
                <a:gd name="connsiteY72" fmla="*/ 416362 h 2756708"/>
                <a:gd name="connsiteX73" fmla="*/ 1036102 w 1199490"/>
                <a:gd name="connsiteY73" fmla="*/ 385736 h 2756708"/>
                <a:gd name="connsiteX74" fmla="*/ 549850 w 1199490"/>
                <a:gd name="connsiteY74" fmla="*/ 8374 h 2756708"/>
                <a:gd name="connsiteX75" fmla="*/ 598315 w 1199490"/>
                <a:gd name="connsiteY75" fmla="*/ 50238 h 2756708"/>
                <a:gd name="connsiteX76" fmla="*/ 609432 w 1199490"/>
                <a:gd name="connsiteY76" fmla="*/ 194763 h 2756708"/>
                <a:gd name="connsiteX77" fmla="*/ 598315 w 1199490"/>
                <a:gd name="connsiteY77" fmla="*/ 285091 h 2756708"/>
                <a:gd name="connsiteX78" fmla="*/ 539949 w 1199490"/>
                <a:gd name="connsiteY78" fmla="*/ 94707 h 2756708"/>
                <a:gd name="connsiteX79" fmla="*/ 549850 w 1199490"/>
                <a:gd name="connsiteY79" fmla="*/ 8374 h 2756708"/>
                <a:gd name="connsiteX80" fmla="*/ 894240 w 1199490"/>
                <a:gd name="connsiteY80" fmla="*/ 6 h 2756708"/>
                <a:gd name="connsiteX81" fmla="*/ 907797 w 1199490"/>
                <a:gd name="connsiteY81" fmla="*/ 58572 h 2756708"/>
                <a:gd name="connsiteX82" fmla="*/ 683546 w 1199490"/>
                <a:gd name="connsiteY82" fmla="*/ 320849 h 2756708"/>
                <a:gd name="connsiteX83" fmla="*/ 1021833 w 1199490"/>
                <a:gd name="connsiteY83" fmla="*/ 69131 h 2756708"/>
                <a:gd name="connsiteX84" fmla="*/ 1114751 w 1199490"/>
                <a:gd name="connsiteY84" fmla="*/ 124037 h 2756708"/>
                <a:gd name="connsiteX85" fmla="*/ 775630 w 1199490"/>
                <a:gd name="connsiteY85" fmla="*/ 321711 h 2756708"/>
                <a:gd name="connsiteX86" fmla="*/ 974110 w 1199490"/>
                <a:gd name="connsiteY86" fmla="*/ 236264 h 2756708"/>
                <a:gd name="connsiteX87" fmla="*/ 1025619 w 1199490"/>
                <a:gd name="connsiteY87" fmla="*/ 253633 h 2756708"/>
                <a:gd name="connsiteX88" fmla="*/ 785096 w 1199490"/>
                <a:gd name="connsiteY88" fmla="*/ 394236 h 2756708"/>
                <a:gd name="connsiteX89" fmla="*/ 1117530 w 1199490"/>
                <a:gd name="connsiteY89" fmla="*/ 312762 h 2756708"/>
                <a:gd name="connsiteX90" fmla="*/ 1193009 w 1199490"/>
                <a:gd name="connsiteY90" fmla="*/ 339548 h 2756708"/>
                <a:gd name="connsiteX91" fmla="*/ 738855 w 1199490"/>
                <a:gd name="connsiteY91" fmla="*/ 499934 h 2756708"/>
                <a:gd name="connsiteX92" fmla="*/ 1026057 w 1199490"/>
                <a:gd name="connsiteY92" fmla="*/ 516828 h 2756708"/>
                <a:gd name="connsiteX93" fmla="*/ 1011941 w 1199490"/>
                <a:gd name="connsiteY93" fmla="*/ 567292 h 2756708"/>
                <a:gd name="connsiteX94" fmla="*/ 772534 w 1199490"/>
                <a:gd name="connsiteY94" fmla="*/ 529389 h 2756708"/>
                <a:gd name="connsiteX95" fmla="*/ 719072 w 1199490"/>
                <a:gd name="connsiteY95" fmla="*/ 544948 h 2756708"/>
                <a:gd name="connsiteX96" fmla="*/ 626371 w 1199490"/>
                <a:gd name="connsiteY96" fmla="*/ 619529 h 2756708"/>
                <a:gd name="connsiteX97" fmla="*/ 628545 w 1199490"/>
                <a:gd name="connsiteY97" fmla="*/ 685509 h 2756708"/>
                <a:gd name="connsiteX98" fmla="*/ 666931 w 1199490"/>
                <a:gd name="connsiteY98" fmla="*/ 685509 h 2756708"/>
                <a:gd name="connsiteX99" fmla="*/ 666931 w 1199490"/>
                <a:gd name="connsiteY99" fmla="*/ 735066 h 2756708"/>
                <a:gd name="connsiteX100" fmla="*/ 772814 w 1199490"/>
                <a:gd name="connsiteY100" fmla="*/ 735066 h 2756708"/>
                <a:gd name="connsiteX101" fmla="*/ 832829 w 1199490"/>
                <a:gd name="connsiteY101" fmla="*/ 1152826 h 2756708"/>
                <a:gd name="connsiteX102" fmla="*/ 895393 w 1199490"/>
                <a:gd name="connsiteY102" fmla="*/ 1152826 h 2756708"/>
                <a:gd name="connsiteX103" fmla="*/ 895393 w 1199490"/>
                <a:gd name="connsiteY103" fmla="*/ 1254564 h 2756708"/>
                <a:gd name="connsiteX104" fmla="*/ 847444 w 1199490"/>
                <a:gd name="connsiteY104" fmla="*/ 1254564 h 2756708"/>
                <a:gd name="connsiteX105" fmla="*/ 950821 w 1199490"/>
                <a:gd name="connsiteY105" fmla="*/ 1974167 h 2756708"/>
                <a:gd name="connsiteX106" fmla="*/ 1026324 w 1199490"/>
                <a:gd name="connsiteY106" fmla="*/ 1974167 h 2756708"/>
                <a:gd name="connsiteX107" fmla="*/ 1026324 w 1199490"/>
                <a:gd name="connsiteY107" fmla="*/ 2114420 h 2756708"/>
                <a:gd name="connsiteX108" fmla="*/ 970970 w 1199490"/>
                <a:gd name="connsiteY108" fmla="*/ 2114420 h 2756708"/>
                <a:gd name="connsiteX109" fmla="*/ 973214 w 1199490"/>
                <a:gd name="connsiteY109" fmla="*/ 2130041 h 2756708"/>
                <a:gd name="connsiteX110" fmla="*/ 974663 w 1199490"/>
                <a:gd name="connsiteY110" fmla="*/ 2132923 h 2756708"/>
                <a:gd name="connsiteX111" fmla="*/ 973698 w 1199490"/>
                <a:gd name="connsiteY111" fmla="*/ 2133408 h 2756708"/>
                <a:gd name="connsiteX112" fmla="*/ 1021890 w 1199490"/>
                <a:gd name="connsiteY112" fmla="*/ 2468875 h 2756708"/>
                <a:gd name="connsiteX113" fmla="*/ 1026389 w 1199490"/>
                <a:gd name="connsiteY113" fmla="*/ 2471136 h 2756708"/>
                <a:gd name="connsiteX114" fmla="*/ 1025406 w 1199490"/>
                <a:gd name="connsiteY114" fmla="*/ 2473092 h 2756708"/>
                <a:gd name="connsiteX115" fmla="*/ 1199490 w 1199490"/>
                <a:gd name="connsiteY115" fmla="*/ 2473092 h 2756708"/>
                <a:gd name="connsiteX116" fmla="*/ 1199490 w 1199490"/>
                <a:gd name="connsiteY116" fmla="*/ 2756708 h 2756708"/>
                <a:gd name="connsiteX117" fmla="*/ 0 w 1199490"/>
                <a:gd name="connsiteY117" fmla="*/ 2756708 h 2756708"/>
                <a:gd name="connsiteX118" fmla="*/ 0 w 1199490"/>
                <a:gd name="connsiteY118" fmla="*/ 2473092 h 2756708"/>
                <a:gd name="connsiteX119" fmla="*/ 172772 w 1199490"/>
                <a:gd name="connsiteY119" fmla="*/ 2473092 h 2756708"/>
                <a:gd name="connsiteX120" fmla="*/ 224299 w 1199490"/>
                <a:gd name="connsiteY120" fmla="*/ 2114420 h 2756708"/>
                <a:gd name="connsiteX121" fmla="*/ 168942 w 1199490"/>
                <a:gd name="connsiteY121" fmla="*/ 2114420 h 2756708"/>
                <a:gd name="connsiteX122" fmla="*/ 168942 w 1199490"/>
                <a:gd name="connsiteY122" fmla="*/ 1974167 h 2756708"/>
                <a:gd name="connsiteX123" fmla="*/ 244447 w 1199490"/>
                <a:gd name="connsiteY123" fmla="*/ 1974167 h 2756708"/>
                <a:gd name="connsiteX124" fmla="*/ 347824 w 1199490"/>
                <a:gd name="connsiteY124" fmla="*/ 1254564 h 2756708"/>
                <a:gd name="connsiteX125" fmla="*/ 291424 w 1199490"/>
                <a:gd name="connsiteY125" fmla="*/ 1254564 h 2756708"/>
                <a:gd name="connsiteX126" fmla="*/ 291424 w 1199490"/>
                <a:gd name="connsiteY126" fmla="*/ 1152826 h 2756708"/>
                <a:gd name="connsiteX127" fmla="*/ 362439 w 1199490"/>
                <a:gd name="connsiteY127" fmla="*/ 1152826 h 2756708"/>
                <a:gd name="connsiteX128" fmla="*/ 422454 w 1199490"/>
                <a:gd name="connsiteY128" fmla="*/ 735066 h 2756708"/>
                <a:gd name="connsiteX129" fmla="*/ 525327 w 1199490"/>
                <a:gd name="connsiteY129" fmla="*/ 735066 h 2756708"/>
                <a:gd name="connsiteX130" fmla="*/ 525327 w 1199490"/>
                <a:gd name="connsiteY130" fmla="*/ 685509 h 2756708"/>
                <a:gd name="connsiteX131" fmla="*/ 567675 w 1199490"/>
                <a:gd name="connsiteY131" fmla="*/ 685509 h 2756708"/>
                <a:gd name="connsiteX132" fmla="*/ 565798 w 1199490"/>
                <a:gd name="connsiteY132" fmla="*/ 628739 h 2756708"/>
                <a:gd name="connsiteX133" fmla="*/ 458874 w 1199490"/>
                <a:gd name="connsiteY133" fmla="*/ 540725 h 2756708"/>
                <a:gd name="connsiteX134" fmla="*/ 121355 w 1199490"/>
                <a:gd name="connsiteY134" fmla="*/ 569636 h 2756708"/>
                <a:gd name="connsiteX135" fmla="*/ 464324 w 1199490"/>
                <a:gd name="connsiteY135" fmla="*/ 489375 h 2756708"/>
                <a:gd name="connsiteX136" fmla="*/ 50415 w 1199490"/>
                <a:gd name="connsiteY136" fmla="*/ 337327 h 2756708"/>
                <a:gd name="connsiteX137" fmla="*/ 92651 w 1199490"/>
                <a:gd name="connsiteY137" fmla="*/ 307762 h 2756708"/>
                <a:gd name="connsiteX138" fmla="*/ 430535 w 1199490"/>
                <a:gd name="connsiteY138" fmla="*/ 388009 h 2756708"/>
                <a:gd name="connsiteX139" fmla="*/ 193586 w 1199490"/>
                <a:gd name="connsiteY139" fmla="*/ 264693 h 2756708"/>
                <a:gd name="connsiteX140" fmla="*/ 219357 w 1199490"/>
                <a:gd name="connsiteY140" fmla="*/ 219067 h 2756708"/>
                <a:gd name="connsiteX141" fmla="*/ 451653 w 1199490"/>
                <a:gd name="connsiteY141" fmla="*/ 333103 h 2756708"/>
                <a:gd name="connsiteX142" fmla="*/ 109948 w 1199490"/>
                <a:gd name="connsiteY142" fmla="*/ 130372 h 2756708"/>
                <a:gd name="connsiteX143" fmla="*/ 134886 w 1199490"/>
                <a:gd name="connsiteY143" fmla="*/ 50125 h 2756708"/>
                <a:gd name="connsiteX144" fmla="*/ 536124 w 1199490"/>
                <a:gd name="connsiteY144" fmla="*/ 320433 h 2756708"/>
                <a:gd name="connsiteX145" fmla="*/ 337187 w 1199490"/>
                <a:gd name="connsiteY145" fmla="*/ 87302 h 2756708"/>
                <a:gd name="connsiteX146" fmla="*/ 400970 w 1199490"/>
                <a:gd name="connsiteY146" fmla="*/ 34457 h 2756708"/>
                <a:gd name="connsiteX147" fmla="*/ 603701 w 1199490"/>
                <a:gd name="connsiteY147" fmla="*/ 362668 h 2756708"/>
                <a:gd name="connsiteX148" fmla="*/ 743078 w 1199490"/>
                <a:gd name="connsiteY148" fmla="*/ 92360 h 2756708"/>
                <a:gd name="connsiteX149" fmla="*/ 894240 w 1199490"/>
                <a:gd name="connsiteY149" fmla="*/ 6 h 27567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Lst>
              <a:rect l="l" t="t" r="r" b="b"/>
              <a:pathLst>
                <a:path w="1199490" h="2756708">
                  <a:moveTo>
                    <a:pt x="645069" y="2353290"/>
                  </a:moveTo>
                  <a:lnTo>
                    <a:pt x="645069" y="2473092"/>
                  </a:lnTo>
                  <a:lnTo>
                    <a:pt x="883395" y="2473092"/>
                  </a:lnTo>
                  <a:close/>
                  <a:moveTo>
                    <a:pt x="552457" y="2345158"/>
                  </a:moveTo>
                  <a:lnTo>
                    <a:pt x="297954" y="2473092"/>
                  </a:lnTo>
                  <a:lnTo>
                    <a:pt x="552457" y="2473092"/>
                  </a:lnTo>
                  <a:close/>
                  <a:moveTo>
                    <a:pt x="911942" y="2164451"/>
                  </a:moveTo>
                  <a:lnTo>
                    <a:pt x="664117" y="2289029"/>
                  </a:lnTo>
                  <a:lnTo>
                    <a:pt x="949348" y="2432409"/>
                  </a:lnTo>
                  <a:close/>
                  <a:moveTo>
                    <a:pt x="266628" y="2163054"/>
                  </a:moveTo>
                  <a:lnTo>
                    <a:pt x="228802" y="2434018"/>
                  </a:lnTo>
                  <a:lnTo>
                    <a:pt x="517232" y="2289029"/>
                  </a:lnTo>
                  <a:close/>
                  <a:moveTo>
                    <a:pt x="645069" y="2114420"/>
                  </a:moveTo>
                  <a:lnTo>
                    <a:pt x="645069" y="2224768"/>
                  </a:lnTo>
                  <a:lnTo>
                    <a:pt x="864586" y="2114420"/>
                  </a:lnTo>
                  <a:close/>
                  <a:moveTo>
                    <a:pt x="316763" y="2114420"/>
                  </a:moveTo>
                  <a:lnTo>
                    <a:pt x="552457" y="2232899"/>
                  </a:lnTo>
                  <a:lnTo>
                    <a:pt x="552457" y="2114420"/>
                  </a:lnTo>
                  <a:close/>
                  <a:moveTo>
                    <a:pt x="645069" y="1853542"/>
                  </a:moveTo>
                  <a:lnTo>
                    <a:pt x="645069" y="1974167"/>
                  </a:lnTo>
                  <a:lnTo>
                    <a:pt x="841112" y="1974167"/>
                  </a:lnTo>
                  <a:close/>
                  <a:moveTo>
                    <a:pt x="552457" y="1851097"/>
                  </a:moveTo>
                  <a:lnTo>
                    <a:pt x="352440" y="1974167"/>
                  </a:lnTo>
                  <a:lnTo>
                    <a:pt x="552457" y="1974167"/>
                  </a:lnTo>
                  <a:close/>
                  <a:moveTo>
                    <a:pt x="843223" y="1672188"/>
                  </a:moveTo>
                  <a:lnTo>
                    <a:pt x="645069" y="1794113"/>
                  </a:lnTo>
                  <a:lnTo>
                    <a:pt x="645069" y="1795132"/>
                  </a:lnTo>
                  <a:lnTo>
                    <a:pt x="880619" y="1940066"/>
                  </a:lnTo>
                  <a:close/>
                  <a:moveTo>
                    <a:pt x="336351" y="1663588"/>
                  </a:moveTo>
                  <a:lnTo>
                    <a:pt x="296329" y="1950283"/>
                  </a:lnTo>
                  <a:lnTo>
                    <a:pt x="549312" y="1794622"/>
                  </a:lnTo>
                  <a:close/>
                  <a:moveTo>
                    <a:pt x="645069" y="1650996"/>
                  </a:moveTo>
                  <a:lnTo>
                    <a:pt x="645069" y="1735703"/>
                  </a:lnTo>
                  <a:lnTo>
                    <a:pt x="782736" y="1650996"/>
                  </a:lnTo>
                  <a:close/>
                  <a:moveTo>
                    <a:pt x="410816" y="1650996"/>
                  </a:moveTo>
                  <a:lnTo>
                    <a:pt x="552457" y="1738148"/>
                  </a:lnTo>
                  <a:lnTo>
                    <a:pt x="552457" y="1650996"/>
                  </a:lnTo>
                  <a:close/>
                  <a:moveTo>
                    <a:pt x="645069" y="1466110"/>
                  </a:moveTo>
                  <a:lnTo>
                    <a:pt x="645069" y="1549258"/>
                  </a:lnTo>
                  <a:lnTo>
                    <a:pt x="754966" y="1549258"/>
                  </a:lnTo>
                  <a:close/>
                  <a:moveTo>
                    <a:pt x="552457" y="1464303"/>
                  </a:moveTo>
                  <a:lnTo>
                    <a:pt x="440172" y="1549258"/>
                  </a:lnTo>
                  <a:lnTo>
                    <a:pt x="552457" y="1549258"/>
                  </a:lnTo>
                  <a:close/>
                  <a:moveTo>
                    <a:pt x="789199" y="1285183"/>
                  </a:moveTo>
                  <a:lnTo>
                    <a:pt x="645069" y="1394233"/>
                  </a:lnTo>
                  <a:lnTo>
                    <a:pt x="645069" y="1395476"/>
                  </a:lnTo>
                  <a:lnTo>
                    <a:pt x="823435" y="1530428"/>
                  </a:lnTo>
                  <a:close/>
                  <a:moveTo>
                    <a:pt x="390777" y="1273712"/>
                  </a:moveTo>
                  <a:lnTo>
                    <a:pt x="352960" y="1544609"/>
                  </a:lnTo>
                  <a:lnTo>
                    <a:pt x="550891" y="1394854"/>
                  </a:lnTo>
                  <a:close/>
                  <a:moveTo>
                    <a:pt x="645069" y="1254564"/>
                  </a:moveTo>
                  <a:lnTo>
                    <a:pt x="645069" y="1323599"/>
                  </a:lnTo>
                  <a:lnTo>
                    <a:pt x="736312" y="1254564"/>
                  </a:lnTo>
                  <a:close/>
                  <a:moveTo>
                    <a:pt x="458826" y="1254564"/>
                  </a:moveTo>
                  <a:lnTo>
                    <a:pt x="552457" y="1325406"/>
                  </a:lnTo>
                  <a:lnTo>
                    <a:pt x="552457" y="1254564"/>
                  </a:lnTo>
                  <a:close/>
                  <a:moveTo>
                    <a:pt x="645069" y="934208"/>
                  </a:moveTo>
                  <a:lnTo>
                    <a:pt x="645069" y="1152826"/>
                  </a:lnTo>
                  <a:lnTo>
                    <a:pt x="770722" y="1152826"/>
                  </a:lnTo>
                  <a:lnTo>
                    <a:pt x="740204" y="934208"/>
                  </a:lnTo>
                  <a:close/>
                  <a:moveTo>
                    <a:pt x="438170" y="934208"/>
                  </a:moveTo>
                  <a:lnTo>
                    <a:pt x="407652" y="1152826"/>
                  </a:lnTo>
                  <a:lnTo>
                    <a:pt x="552457" y="1152826"/>
                  </a:lnTo>
                  <a:lnTo>
                    <a:pt x="552457" y="934208"/>
                  </a:lnTo>
                  <a:close/>
                  <a:moveTo>
                    <a:pt x="143156" y="387286"/>
                  </a:moveTo>
                  <a:cubicBezTo>
                    <a:pt x="201498" y="382807"/>
                    <a:pt x="233766" y="403245"/>
                    <a:pt x="280538" y="415367"/>
                  </a:cubicBezTo>
                  <a:lnTo>
                    <a:pt x="362376" y="455184"/>
                  </a:lnTo>
                  <a:lnTo>
                    <a:pt x="185635" y="451000"/>
                  </a:lnTo>
                  <a:cubicBezTo>
                    <a:pt x="78940" y="461308"/>
                    <a:pt x="66548" y="403618"/>
                    <a:pt x="143156" y="387286"/>
                  </a:cubicBezTo>
                  <a:close/>
                  <a:moveTo>
                    <a:pt x="1036102" y="385736"/>
                  </a:moveTo>
                  <a:cubicBezTo>
                    <a:pt x="1113000" y="400644"/>
                    <a:pt x="1101681" y="458553"/>
                    <a:pt x="994813" y="450228"/>
                  </a:cubicBezTo>
                  <a:lnTo>
                    <a:pt x="818181" y="457691"/>
                  </a:lnTo>
                  <a:lnTo>
                    <a:pt x="899265" y="416362"/>
                  </a:lnTo>
                  <a:cubicBezTo>
                    <a:pt x="945804" y="403374"/>
                    <a:pt x="977687" y="382341"/>
                    <a:pt x="1036102" y="385736"/>
                  </a:cubicBezTo>
                  <a:close/>
                  <a:moveTo>
                    <a:pt x="549850" y="8374"/>
                  </a:moveTo>
                  <a:cubicBezTo>
                    <a:pt x="560794" y="1831"/>
                    <a:pt x="578165" y="16654"/>
                    <a:pt x="598315" y="50238"/>
                  </a:cubicBezTo>
                  <a:cubicBezTo>
                    <a:pt x="621477" y="103972"/>
                    <a:pt x="605726" y="146588"/>
                    <a:pt x="609432" y="194763"/>
                  </a:cubicBezTo>
                  <a:lnTo>
                    <a:pt x="598315" y="285091"/>
                  </a:lnTo>
                  <a:lnTo>
                    <a:pt x="539949" y="94707"/>
                  </a:lnTo>
                  <a:cubicBezTo>
                    <a:pt x="534390" y="42827"/>
                    <a:pt x="538907" y="14917"/>
                    <a:pt x="549850" y="8374"/>
                  </a:cubicBezTo>
                  <a:close/>
                  <a:moveTo>
                    <a:pt x="894240" y="6"/>
                  </a:moveTo>
                  <a:cubicBezTo>
                    <a:pt x="925392" y="-447"/>
                    <a:pt x="933610" y="24254"/>
                    <a:pt x="907797" y="58572"/>
                  </a:cubicBezTo>
                  <a:cubicBezTo>
                    <a:pt x="811346" y="136134"/>
                    <a:pt x="742786" y="188861"/>
                    <a:pt x="683546" y="320849"/>
                  </a:cubicBezTo>
                  <a:cubicBezTo>
                    <a:pt x="794335" y="187622"/>
                    <a:pt x="890329" y="137255"/>
                    <a:pt x="1021833" y="69131"/>
                  </a:cubicBezTo>
                  <a:cubicBezTo>
                    <a:pt x="1156378" y="40085"/>
                    <a:pt x="1202147" y="52468"/>
                    <a:pt x="1114751" y="124037"/>
                  </a:cubicBezTo>
                  <a:cubicBezTo>
                    <a:pt x="999738" y="200779"/>
                    <a:pt x="878806" y="221295"/>
                    <a:pt x="775630" y="321711"/>
                  </a:cubicBezTo>
                  <a:cubicBezTo>
                    <a:pt x="841790" y="293229"/>
                    <a:pt x="905171" y="256408"/>
                    <a:pt x="974110" y="236264"/>
                  </a:cubicBezTo>
                  <a:cubicBezTo>
                    <a:pt x="1020926" y="221671"/>
                    <a:pt x="1109432" y="245991"/>
                    <a:pt x="1025619" y="253633"/>
                  </a:cubicBezTo>
                  <a:cubicBezTo>
                    <a:pt x="929695" y="306986"/>
                    <a:pt x="864344" y="313090"/>
                    <a:pt x="785096" y="394236"/>
                  </a:cubicBezTo>
                  <a:cubicBezTo>
                    <a:pt x="911657" y="338358"/>
                    <a:pt x="1007645" y="338067"/>
                    <a:pt x="1117530" y="312762"/>
                  </a:cubicBezTo>
                  <a:cubicBezTo>
                    <a:pt x="1211247" y="307794"/>
                    <a:pt x="1182672" y="327840"/>
                    <a:pt x="1193009" y="339548"/>
                  </a:cubicBezTo>
                  <a:cubicBezTo>
                    <a:pt x="961023" y="376334"/>
                    <a:pt x="848550" y="393665"/>
                    <a:pt x="738855" y="499934"/>
                  </a:cubicBezTo>
                  <a:cubicBezTo>
                    <a:pt x="842927" y="483331"/>
                    <a:pt x="924765" y="466728"/>
                    <a:pt x="1026057" y="516828"/>
                  </a:cubicBezTo>
                  <a:cubicBezTo>
                    <a:pt x="1106585" y="553105"/>
                    <a:pt x="1073160" y="578264"/>
                    <a:pt x="1011941" y="567292"/>
                  </a:cubicBezTo>
                  <a:lnTo>
                    <a:pt x="772534" y="529389"/>
                  </a:lnTo>
                  <a:lnTo>
                    <a:pt x="719072" y="544948"/>
                  </a:lnTo>
                  <a:lnTo>
                    <a:pt x="626371" y="619529"/>
                  </a:lnTo>
                  <a:lnTo>
                    <a:pt x="628545" y="685509"/>
                  </a:lnTo>
                  <a:lnTo>
                    <a:pt x="666931" y="685509"/>
                  </a:lnTo>
                  <a:lnTo>
                    <a:pt x="666931" y="735066"/>
                  </a:lnTo>
                  <a:lnTo>
                    <a:pt x="772814" y="735066"/>
                  </a:lnTo>
                  <a:lnTo>
                    <a:pt x="832829" y="1152826"/>
                  </a:lnTo>
                  <a:lnTo>
                    <a:pt x="895393" y="1152826"/>
                  </a:lnTo>
                  <a:lnTo>
                    <a:pt x="895393" y="1254564"/>
                  </a:lnTo>
                  <a:lnTo>
                    <a:pt x="847444" y="1254564"/>
                  </a:lnTo>
                  <a:lnTo>
                    <a:pt x="950821" y="1974167"/>
                  </a:lnTo>
                  <a:lnTo>
                    <a:pt x="1026324" y="1974167"/>
                  </a:lnTo>
                  <a:lnTo>
                    <a:pt x="1026324" y="2114420"/>
                  </a:lnTo>
                  <a:lnTo>
                    <a:pt x="970970" y="2114420"/>
                  </a:lnTo>
                  <a:lnTo>
                    <a:pt x="973214" y="2130041"/>
                  </a:lnTo>
                  <a:lnTo>
                    <a:pt x="974663" y="2132923"/>
                  </a:lnTo>
                  <a:lnTo>
                    <a:pt x="973698" y="2133408"/>
                  </a:lnTo>
                  <a:lnTo>
                    <a:pt x="1021890" y="2468875"/>
                  </a:lnTo>
                  <a:lnTo>
                    <a:pt x="1026389" y="2471136"/>
                  </a:lnTo>
                  <a:lnTo>
                    <a:pt x="1025406" y="2473092"/>
                  </a:lnTo>
                  <a:lnTo>
                    <a:pt x="1199490" y="2473092"/>
                  </a:lnTo>
                  <a:lnTo>
                    <a:pt x="1199490" y="2756708"/>
                  </a:lnTo>
                  <a:lnTo>
                    <a:pt x="0" y="2756708"/>
                  </a:lnTo>
                  <a:lnTo>
                    <a:pt x="0" y="2473092"/>
                  </a:lnTo>
                  <a:lnTo>
                    <a:pt x="172772" y="2473092"/>
                  </a:lnTo>
                  <a:lnTo>
                    <a:pt x="224299" y="2114420"/>
                  </a:lnTo>
                  <a:lnTo>
                    <a:pt x="168942" y="2114420"/>
                  </a:lnTo>
                  <a:lnTo>
                    <a:pt x="168942" y="1974167"/>
                  </a:lnTo>
                  <a:lnTo>
                    <a:pt x="244447" y="1974167"/>
                  </a:lnTo>
                  <a:lnTo>
                    <a:pt x="347824" y="1254564"/>
                  </a:lnTo>
                  <a:lnTo>
                    <a:pt x="291424" y="1254564"/>
                  </a:lnTo>
                  <a:lnTo>
                    <a:pt x="291424" y="1152826"/>
                  </a:lnTo>
                  <a:lnTo>
                    <a:pt x="362439" y="1152826"/>
                  </a:lnTo>
                  <a:lnTo>
                    <a:pt x="422454" y="735066"/>
                  </a:lnTo>
                  <a:lnTo>
                    <a:pt x="525327" y="735066"/>
                  </a:lnTo>
                  <a:lnTo>
                    <a:pt x="525327" y="685509"/>
                  </a:lnTo>
                  <a:lnTo>
                    <a:pt x="567675" y="685509"/>
                  </a:lnTo>
                  <a:lnTo>
                    <a:pt x="565798" y="628739"/>
                  </a:lnTo>
                  <a:cubicBezTo>
                    <a:pt x="530157" y="599401"/>
                    <a:pt x="508412" y="567284"/>
                    <a:pt x="458874" y="540725"/>
                  </a:cubicBezTo>
                  <a:cubicBezTo>
                    <a:pt x="341735" y="518737"/>
                    <a:pt x="238494" y="559073"/>
                    <a:pt x="121355" y="569636"/>
                  </a:cubicBezTo>
                  <a:cubicBezTo>
                    <a:pt x="179453" y="450159"/>
                    <a:pt x="350001" y="478646"/>
                    <a:pt x="464324" y="489375"/>
                  </a:cubicBezTo>
                  <a:cubicBezTo>
                    <a:pt x="335232" y="367671"/>
                    <a:pt x="188385" y="388010"/>
                    <a:pt x="50415" y="337327"/>
                  </a:cubicBezTo>
                  <a:cubicBezTo>
                    <a:pt x="2350" y="318594"/>
                    <a:pt x="46021" y="305780"/>
                    <a:pt x="92651" y="307762"/>
                  </a:cubicBezTo>
                  <a:cubicBezTo>
                    <a:pt x="225994" y="322675"/>
                    <a:pt x="317907" y="361260"/>
                    <a:pt x="430535" y="388009"/>
                  </a:cubicBezTo>
                  <a:cubicBezTo>
                    <a:pt x="360429" y="328162"/>
                    <a:pt x="284406" y="294948"/>
                    <a:pt x="193586" y="264693"/>
                  </a:cubicBezTo>
                  <a:cubicBezTo>
                    <a:pt x="137073" y="213973"/>
                    <a:pt x="210767" y="234276"/>
                    <a:pt x="219357" y="219067"/>
                  </a:cubicBezTo>
                  <a:cubicBezTo>
                    <a:pt x="296789" y="257079"/>
                    <a:pt x="380140" y="286213"/>
                    <a:pt x="451653" y="333103"/>
                  </a:cubicBezTo>
                  <a:cubicBezTo>
                    <a:pt x="365371" y="218178"/>
                    <a:pt x="216945" y="197949"/>
                    <a:pt x="109948" y="130372"/>
                  </a:cubicBezTo>
                  <a:cubicBezTo>
                    <a:pt x="41321" y="74031"/>
                    <a:pt x="20041" y="47282"/>
                    <a:pt x="134886" y="50125"/>
                  </a:cubicBezTo>
                  <a:cubicBezTo>
                    <a:pt x="313021" y="88441"/>
                    <a:pt x="431971" y="212575"/>
                    <a:pt x="536124" y="320433"/>
                  </a:cubicBezTo>
                  <a:cubicBezTo>
                    <a:pt x="502364" y="226940"/>
                    <a:pt x="400540" y="168958"/>
                    <a:pt x="337187" y="87302"/>
                  </a:cubicBezTo>
                  <a:cubicBezTo>
                    <a:pt x="264471" y="28284"/>
                    <a:pt x="263270" y="-35473"/>
                    <a:pt x="400970" y="34457"/>
                  </a:cubicBezTo>
                  <a:cubicBezTo>
                    <a:pt x="515895" y="127779"/>
                    <a:pt x="550920" y="233836"/>
                    <a:pt x="603701" y="362668"/>
                  </a:cubicBezTo>
                  <a:cubicBezTo>
                    <a:pt x="650160" y="272565"/>
                    <a:pt x="678863" y="179504"/>
                    <a:pt x="743078" y="92360"/>
                  </a:cubicBezTo>
                  <a:cubicBezTo>
                    <a:pt x="809001" y="26065"/>
                    <a:pt x="863087" y="459"/>
                    <a:pt x="894240" y="6"/>
                  </a:cubicBezTo>
                  <a:close/>
                </a:path>
              </a:pathLst>
            </a:custGeom>
            <a:grpFill/>
            <a:ln>
              <a:solidFill>
                <a:srgbClr val="92D05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99" name="Group 98"/>
          <p:cNvGrpSpPr/>
          <p:nvPr/>
        </p:nvGrpSpPr>
        <p:grpSpPr>
          <a:xfrm>
            <a:off x="834941" y="2151579"/>
            <a:ext cx="2298318" cy="1005840"/>
            <a:chOff x="834941" y="4278317"/>
            <a:chExt cx="2298318" cy="1005840"/>
          </a:xfrm>
          <a:noFill/>
        </p:grpSpPr>
        <p:sp>
          <p:nvSpPr>
            <p:cNvPr id="100" name="Rectangle 99"/>
            <p:cNvSpPr/>
            <p:nvPr/>
          </p:nvSpPr>
          <p:spPr>
            <a:xfrm>
              <a:off x="834941" y="4278317"/>
              <a:ext cx="2298318" cy="1005840"/>
            </a:xfrm>
            <a:prstGeom prst="rect">
              <a:avLst/>
            </a:prstGeom>
            <a:grp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Remote </a:t>
              </a:r>
            </a:p>
            <a:p>
              <a:pPr>
                <a:lnSpc>
                  <a:spcPct val="90000"/>
                </a:lnSpc>
              </a:pPr>
              <a:r>
                <a:rPr lang="en-US" sz="2000" dirty="0" smtClean="0">
                  <a:latin typeface="+mj-lt"/>
                  <a:cs typeface="Segoe UI Light" panose="020B0502040204020203" pitchFamily="34" charset="0"/>
                </a:rPr>
                <a:t>Monitoring</a:t>
              </a:r>
              <a:endParaRPr lang="en-US" sz="2000" dirty="0">
                <a:latin typeface="+mj-lt"/>
                <a:cs typeface="Segoe UI Light" panose="020B0502040204020203" pitchFamily="34" charset="0"/>
              </a:endParaRPr>
            </a:p>
          </p:txBody>
        </p:sp>
        <p:sp>
          <p:nvSpPr>
            <p:cNvPr id="101" name="Rectangle 2048"/>
            <p:cNvSpPr>
              <a:spLocks noChangeAspect="1"/>
            </p:cNvSpPr>
            <p:nvPr/>
          </p:nvSpPr>
          <p:spPr bwMode="auto">
            <a:xfrm flipV="1">
              <a:off x="2638180" y="4402611"/>
              <a:ext cx="408777" cy="757252"/>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grpFill/>
            <a:ln>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40" tIns="45720" rIns="45720" bIns="91440" numCol="1" spcCol="0" rtlCol="0" fromWordArt="0" anchor="b" anchorCtr="0" forceAA="0" compatLnSpc="1">
              <a:prstTxWarp prst="textNoShape">
                <a:avLst/>
              </a:prstTxWarp>
              <a:noAutofit/>
            </a:bodyPr>
            <a:lstStyle/>
            <a:p>
              <a:pPr algn="ctr" defTabSz="914099" fontAlgn="base">
                <a:spcBef>
                  <a:spcPct val="0"/>
                </a:spcBef>
                <a:spcAft>
                  <a:spcPct val="0"/>
                </a:spcAft>
              </a:pPr>
              <a:endParaRPr lang="en-US" spc="-50" dirty="0" err="1" smtClean="0">
                <a:gradFill>
                  <a:gsLst>
                    <a:gs pos="0">
                      <a:srgbClr val="FFFFFF"/>
                    </a:gs>
                    <a:gs pos="100000">
                      <a:srgbClr val="FFFFFF"/>
                    </a:gs>
                  </a:gsLst>
                  <a:lin ang="5400000" scaled="0"/>
                </a:gradFill>
                <a:latin typeface="+mj-lt"/>
                <a:ea typeface="Segoe UI" pitchFamily="34" charset="0"/>
                <a:cs typeface="Segoe UI" pitchFamily="34" charset="0"/>
              </a:endParaRPr>
            </a:p>
          </p:txBody>
        </p:sp>
      </p:grpSp>
      <p:grpSp>
        <p:nvGrpSpPr>
          <p:cNvPr id="102" name="Group 101"/>
          <p:cNvGrpSpPr/>
          <p:nvPr/>
        </p:nvGrpSpPr>
        <p:grpSpPr>
          <a:xfrm>
            <a:off x="834941" y="5344507"/>
            <a:ext cx="2298318" cy="1005840"/>
            <a:chOff x="834941" y="5344507"/>
            <a:chExt cx="2298318" cy="1005840"/>
          </a:xfrm>
          <a:noFill/>
        </p:grpSpPr>
        <p:sp>
          <p:nvSpPr>
            <p:cNvPr id="103" name="Rectangle 102"/>
            <p:cNvSpPr/>
            <p:nvPr/>
          </p:nvSpPr>
          <p:spPr>
            <a:xfrm>
              <a:off x="834941" y="5344507"/>
              <a:ext cx="2298318" cy="1005840"/>
            </a:xfrm>
            <a:prstGeom prst="rect">
              <a:avLst/>
            </a:prstGeom>
            <a:grp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lIns="146304" bIns="91440" rtlCol="0" anchor="b"/>
            <a:lstStyle/>
            <a:p>
              <a:pPr>
                <a:lnSpc>
                  <a:spcPct val="90000"/>
                </a:lnSpc>
              </a:pPr>
              <a:r>
                <a:rPr lang="en-US" sz="2000" dirty="0" smtClean="0">
                  <a:latin typeface="+mj-lt"/>
                  <a:cs typeface="Segoe UI Light" panose="020B0502040204020203" pitchFamily="34" charset="0"/>
                </a:rPr>
                <a:t>…future applications</a:t>
              </a:r>
              <a:endParaRPr lang="en-US" sz="2000" dirty="0">
                <a:latin typeface="+mj-lt"/>
                <a:cs typeface="Segoe UI Light" panose="020B0502040204020203" pitchFamily="34" charset="0"/>
              </a:endParaRPr>
            </a:p>
          </p:txBody>
        </p:sp>
        <p:grpSp>
          <p:nvGrpSpPr>
            <p:cNvPr id="104" name="Group 103"/>
            <p:cNvGrpSpPr>
              <a:grpSpLocks noChangeAspect="1"/>
            </p:cNvGrpSpPr>
            <p:nvPr/>
          </p:nvGrpSpPr>
          <p:grpSpPr>
            <a:xfrm>
              <a:off x="2445769" y="5457513"/>
              <a:ext cx="641175" cy="640080"/>
              <a:chOff x="5630862" y="2964656"/>
              <a:chExt cx="930275" cy="928688"/>
            </a:xfrm>
            <a:grpFill/>
          </p:grpSpPr>
          <p:sp>
            <p:nvSpPr>
              <p:cNvPr id="105" name="Freeform 104"/>
              <p:cNvSpPr>
                <a:spLocks/>
              </p:cNvSpPr>
              <p:nvPr/>
            </p:nvSpPr>
            <p:spPr bwMode="auto">
              <a:xfrm>
                <a:off x="5630862" y="2964656"/>
                <a:ext cx="930275" cy="928688"/>
              </a:xfrm>
              <a:custGeom>
                <a:avLst/>
                <a:gdLst>
                  <a:gd name="T0" fmla="*/ 622 w 1244"/>
                  <a:gd name="T1" fmla="*/ 0 h 1244"/>
                  <a:gd name="T2" fmla="*/ 0 w 1244"/>
                  <a:gd name="T3" fmla="*/ 622 h 1244"/>
                  <a:gd name="T4" fmla="*/ 622 w 1244"/>
                  <a:gd name="T5" fmla="*/ 1244 h 1244"/>
                  <a:gd name="T6" fmla="*/ 622 w 1244"/>
                  <a:gd name="T7" fmla="*/ 1244 h 1244"/>
                  <a:gd name="T8" fmla="*/ 622 w 1244"/>
                  <a:gd name="T9" fmla="*/ 1027 h 1244"/>
                  <a:gd name="T10" fmla="*/ 622 w 1244"/>
                  <a:gd name="T11" fmla="*/ 1027 h 1244"/>
                  <a:gd name="T12" fmla="*/ 216 w 1244"/>
                  <a:gd name="T13" fmla="*/ 622 h 1244"/>
                  <a:gd name="T14" fmla="*/ 622 w 1244"/>
                  <a:gd name="T15" fmla="*/ 216 h 1244"/>
                  <a:gd name="T16" fmla="*/ 1028 w 1244"/>
                  <a:gd name="T17" fmla="*/ 622 h 1244"/>
                  <a:gd name="T18" fmla="*/ 634 w 1244"/>
                  <a:gd name="T19" fmla="*/ 1027 h 1244"/>
                  <a:gd name="T20" fmla="*/ 634 w 1244"/>
                  <a:gd name="T21" fmla="*/ 1243 h 1244"/>
                  <a:gd name="T22" fmla="*/ 1244 w 1244"/>
                  <a:gd name="T23" fmla="*/ 622 h 1244"/>
                  <a:gd name="T24" fmla="*/ 622 w 1244"/>
                  <a:gd name="T25" fmla="*/ 0 h 1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44" h="1244">
                    <a:moveTo>
                      <a:pt x="622" y="0"/>
                    </a:moveTo>
                    <a:cubicBezTo>
                      <a:pt x="279" y="0"/>
                      <a:pt x="0" y="278"/>
                      <a:pt x="0" y="622"/>
                    </a:cubicBezTo>
                    <a:cubicBezTo>
                      <a:pt x="0" y="965"/>
                      <a:pt x="279" y="1244"/>
                      <a:pt x="622" y="1244"/>
                    </a:cubicBezTo>
                    <a:cubicBezTo>
                      <a:pt x="622" y="1244"/>
                      <a:pt x="622" y="1244"/>
                      <a:pt x="622" y="1244"/>
                    </a:cubicBezTo>
                    <a:cubicBezTo>
                      <a:pt x="622" y="1027"/>
                      <a:pt x="622" y="1027"/>
                      <a:pt x="622" y="1027"/>
                    </a:cubicBezTo>
                    <a:cubicBezTo>
                      <a:pt x="622" y="1027"/>
                      <a:pt x="622" y="1027"/>
                      <a:pt x="622" y="1027"/>
                    </a:cubicBezTo>
                    <a:cubicBezTo>
                      <a:pt x="398" y="1027"/>
                      <a:pt x="216" y="846"/>
                      <a:pt x="216" y="622"/>
                    </a:cubicBezTo>
                    <a:cubicBezTo>
                      <a:pt x="216" y="398"/>
                      <a:pt x="398" y="216"/>
                      <a:pt x="622" y="216"/>
                    </a:cubicBezTo>
                    <a:cubicBezTo>
                      <a:pt x="846" y="216"/>
                      <a:pt x="1028" y="398"/>
                      <a:pt x="1028" y="622"/>
                    </a:cubicBezTo>
                    <a:cubicBezTo>
                      <a:pt x="1028" y="842"/>
                      <a:pt x="853" y="1021"/>
                      <a:pt x="634" y="1027"/>
                    </a:cubicBezTo>
                    <a:cubicBezTo>
                      <a:pt x="634" y="1243"/>
                      <a:pt x="634" y="1243"/>
                      <a:pt x="634" y="1243"/>
                    </a:cubicBezTo>
                    <a:cubicBezTo>
                      <a:pt x="972" y="1237"/>
                      <a:pt x="1244" y="961"/>
                      <a:pt x="1244" y="622"/>
                    </a:cubicBezTo>
                    <a:cubicBezTo>
                      <a:pt x="1244" y="278"/>
                      <a:pt x="965" y="0"/>
                      <a:pt x="622"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06" name="Freeform 105"/>
              <p:cNvSpPr>
                <a:spLocks noEditPoints="1"/>
              </p:cNvSpPr>
              <p:nvPr/>
            </p:nvSpPr>
            <p:spPr bwMode="auto">
              <a:xfrm>
                <a:off x="5792787" y="3126581"/>
                <a:ext cx="606425" cy="604838"/>
              </a:xfrm>
              <a:custGeom>
                <a:avLst/>
                <a:gdLst>
                  <a:gd name="T0" fmla="*/ 213 w 812"/>
                  <a:gd name="T1" fmla="*/ 397 h 811"/>
                  <a:gd name="T2" fmla="*/ 412 w 812"/>
                  <a:gd name="T3" fmla="*/ 199 h 811"/>
                  <a:gd name="T4" fmla="*/ 611 w 812"/>
                  <a:gd name="T5" fmla="*/ 398 h 811"/>
                  <a:gd name="T6" fmla="*/ 549 w 812"/>
                  <a:gd name="T7" fmla="*/ 543 h 811"/>
                  <a:gd name="T8" fmla="*/ 521 w 812"/>
                  <a:gd name="T9" fmla="*/ 577 h 811"/>
                  <a:gd name="T10" fmla="*/ 521 w 812"/>
                  <a:gd name="T11" fmla="*/ 577 h 811"/>
                  <a:gd name="T12" fmla="*/ 521 w 812"/>
                  <a:gd name="T13" fmla="*/ 577 h 811"/>
                  <a:gd name="T14" fmla="*/ 489 w 812"/>
                  <a:gd name="T15" fmla="*/ 658 h 811"/>
                  <a:gd name="T16" fmla="*/ 489 w 812"/>
                  <a:gd name="T17" fmla="*/ 664 h 811"/>
                  <a:gd name="T18" fmla="*/ 489 w 812"/>
                  <a:gd name="T19" fmla="*/ 664 h 811"/>
                  <a:gd name="T20" fmla="*/ 489 w 812"/>
                  <a:gd name="T21" fmla="*/ 664 h 811"/>
                  <a:gd name="T22" fmla="*/ 489 w 812"/>
                  <a:gd name="T23" fmla="*/ 667 h 811"/>
                  <a:gd name="T24" fmla="*/ 416 w 812"/>
                  <a:gd name="T25" fmla="*/ 700 h 811"/>
                  <a:gd name="T26" fmla="*/ 415 w 812"/>
                  <a:gd name="T27" fmla="*/ 703 h 811"/>
                  <a:gd name="T28" fmla="*/ 412 w 812"/>
                  <a:gd name="T29" fmla="*/ 701 h 811"/>
                  <a:gd name="T30" fmla="*/ 409 w 812"/>
                  <a:gd name="T31" fmla="*/ 703 h 811"/>
                  <a:gd name="T32" fmla="*/ 408 w 812"/>
                  <a:gd name="T33" fmla="*/ 700 h 811"/>
                  <a:gd name="T34" fmla="*/ 335 w 812"/>
                  <a:gd name="T35" fmla="*/ 667 h 811"/>
                  <a:gd name="T36" fmla="*/ 273 w 812"/>
                  <a:gd name="T37" fmla="*/ 540 h 811"/>
                  <a:gd name="T38" fmla="*/ 273 w 812"/>
                  <a:gd name="T39" fmla="*/ 540 h 811"/>
                  <a:gd name="T40" fmla="*/ 273 w 812"/>
                  <a:gd name="T41" fmla="*/ 540 h 811"/>
                  <a:gd name="T42" fmla="*/ 273 w 812"/>
                  <a:gd name="T43" fmla="*/ 540 h 811"/>
                  <a:gd name="T44" fmla="*/ 213 w 812"/>
                  <a:gd name="T45" fmla="*/ 398 h 811"/>
                  <a:gd name="T46" fmla="*/ 213 w 812"/>
                  <a:gd name="T47" fmla="*/ 398 h 811"/>
                  <a:gd name="T48" fmla="*/ 213 w 812"/>
                  <a:gd name="T49" fmla="*/ 398 h 811"/>
                  <a:gd name="T50" fmla="*/ 213 w 812"/>
                  <a:gd name="T51" fmla="*/ 398 h 811"/>
                  <a:gd name="T52" fmla="*/ 213 w 812"/>
                  <a:gd name="T53" fmla="*/ 397 h 811"/>
                  <a:gd name="T54" fmla="*/ 213 w 812"/>
                  <a:gd name="T55" fmla="*/ 397 h 811"/>
                  <a:gd name="T56" fmla="*/ 213 w 812"/>
                  <a:gd name="T57" fmla="*/ 397 h 811"/>
                  <a:gd name="T58" fmla="*/ 213 w 812"/>
                  <a:gd name="T59" fmla="*/ 397 h 811"/>
                  <a:gd name="T60" fmla="*/ 213 w 812"/>
                  <a:gd name="T61" fmla="*/ 397 h 811"/>
                  <a:gd name="T62" fmla="*/ 213 w 812"/>
                  <a:gd name="T63" fmla="*/ 397 h 811"/>
                  <a:gd name="T64" fmla="*/ 406 w 812"/>
                  <a:gd name="T65" fmla="*/ 0 h 811"/>
                  <a:gd name="T66" fmla="*/ 0 w 812"/>
                  <a:gd name="T67" fmla="*/ 406 h 811"/>
                  <a:gd name="T68" fmla="*/ 406 w 812"/>
                  <a:gd name="T69" fmla="*/ 811 h 811"/>
                  <a:gd name="T70" fmla="*/ 406 w 812"/>
                  <a:gd name="T71" fmla="*/ 811 h 811"/>
                  <a:gd name="T72" fmla="*/ 406 w 812"/>
                  <a:gd name="T73" fmla="*/ 758 h 811"/>
                  <a:gd name="T74" fmla="*/ 418 w 812"/>
                  <a:gd name="T75" fmla="*/ 758 h 811"/>
                  <a:gd name="T76" fmla="*/ 418 w 812"/>
                  <a:gd name="T77" fmla="*/ 811 h 811"/>
                  <a:gd name="T78" fmla="*/ 812 w 812"/>
                  <a:gd name="T79" fmla="*/ 406 h 811"/>
                  <a:gd name="T80" fmla="*/ 406 w 812"/>
                  <a:gd name="T81" fmla="*/ 0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812" h="811">
                    <a:moveTo>
                      <a:pt x="213" y="397"/>
                    </a:moveTo>
                    <a:cubicBezTo>
                      <a:pt x="214" y="287"/>
                      <a:pt x="303" y="199"/>
                      <a:pt x="412" y="199"/>
                    </a:cubicBezTo>
                    <a:cubicBezTo>
                      <a:pt x="522" y="199"/>
                      <a:pt x="611" y="288"/>
                      <a:pt x="611" y="398"/>
                    </a:cubicBezTo>
                    <a:cubicBezTo>
                      <a:pt x="611" y="455"/>
                      <a:pt x="587" y="506"/>
                      <a:pt x="549" y="543"/>
                    </a:cubicBezTo>
                    <a:cubicBezTo>
                      <a:pt x="538" y="554"/>
                      <a:pt x="529" y="566"/>
                      <a:pt x="521" y="577"/>
                    </a:cubicBezTo>
                    <a:cubicBezTo>
                      <a:pt x="521" y="577"/>
                      <a:pt x="521" y="577"/>
                      <a:pt x="521" y="577"/>
                    </a:cubicBezTo>
                    <a:cubicBezTo>
                      <a:pt x="521" y="577"/>
                      <a:pt x="521" y="577"/>
                      <a:pt x="521" y="577"/>
                    </a:cubicBezTo>
                    <a:cubicBezTo>
                      <a:pt x="499" y="611"/>
                      <a:pt x="492" y="643"/>
                      <a:pt x="489" y="658"/>
                    </a:cubicBezTo>
                    <a:cubicBezTo>
                      <a:pt x="489" y="661"/>
                      <a:pt x="489" y="663"/>
                      <a:pt x="489" y="664"/>
                    </a:cubicBezTo>
                    <a:cubicBezTo>
                      <a:pt x="489" y="664"/>
                      <a:pt x="489" y="664"/>
                      <a:pt x="489" y="664"/>
                    </a:cubicBezTo>
                    <a:cubicBezTo>
                      <a:pt x="489" y="664"/>
                      <a:pt x="489" y="664"/>
                      <a:pt x="489" y="664"/>
                    </a:cubicBezTo>
                    <a:cubicBezTo>
                      <a:pt x="489" y="666"/>
                      <a:pt x="489" y="667"/>
                      <a:pt x="489" y="667"/>
                    </a:cubicBezTo>
                    <a:cubicBezTo>
                      <a:pt x="416" y="700"/>
                      <a:pt x="416" y="700"/>
                      <a:pt x="416" y="700"/>
                    </a:cubicBezTo>
                    <a:cubicBezTo>
                      <a:pt x="415" y="703"/>
                      <a:pt x="415" y="703"/>
                      <a:pt x="415" y="703"/>
                    </a:cubicBezTo>
                    <a:cubicBezTo>
                      <a:pt x="412" y="701"/>
                      <a:pt x="412" y="701"/>
                      <a:pt x="412" y="701"/>
                    </a:cubicBezTo>
                    <a:cubicBezTo>
                      <a:pt x="409" y="703"/>
                      <a:pt x="409" y="703"/>
                      <a:pt x="409" y="703"/>
                    </a:cubicBezTo>
                    <a:cubicBezTo>
                      <a:pt x="408" y="700"/>
                      <a:pt x="408" y="700"/>
                      <a:pt x="408" y="700"/>
                    </a:cubicBezTo>
                    <a:cubicBezTo>
                      <a:pt x="335" y="667"/>
                      <a:pt x="335" y="667"/>
                      <a:pt x="335" y="667"/>
                    </a:cubicBezTo>
                    <a:cubicBezTo>
                      <a:pt x="335" y="667"/>
                      <a:pt x="333" y="601"/>
                      <a:pt x="273" y="540"/>
                    </a:cubicBezTo>
                    <a:cubicBezTo>
                      <a:pt x="273" y="540"/>
                      <a:pt x="273" y="540"/>
                      <a:pt x="273" y="540"/>
                    </a:cubicBezTo>
                    <a:cubicBezTo>
                      <a:pt x="273" y="540"/>
                      <a:pt x="273" y="540"/>
                      <a:pt x="273" y="540"/>
                    </a:cubicBezTo>
                    <a:cubicBezTo>
                      <a:pt x="273" y="540"/>
                      <a:pt x="273" y="540"/>
                      <a:pt x="273" y="540"/>
                    </a:cubicBezTo>
                    <a:cubicBezTo>
                      <a:pt x="236" y="504"/>
                      <a:pt x="213" y="454"/>
                      <a:pt x="213" y="398"/>
                    </a:cubicBezTo>
                    <a:cubicBezTo>
                      <a:pt x="213" y="398"/>
                      <a:pt x="213" y="398"/>
                      <a:pt x="213" y="398"/>
                    </a:cubicBezTo>
                    <a:cubicBezTo>
                      <a:pt x="213" y="398"/>
                      <a:pt x="213" y="398"/>
                      <a:pt x="213" y="398"/>
                    </a:cubicBezTo>
                    <a:cubicBezTo>
                      <a:pt x="213" y="398"/>
                      <a:pt x="213" y="398"/>
                      <a:pt x="213" y="398"/>
                    </a:cubicBezTo>
                    <a:cubicBezTo>
                      <a:pt x="213" y="398"/>
                      <a:pt x="213" y="398"/>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cubicBezTo>
                      <a:pt x="213" y="397"/>
                      <a:pt x="213" y="397"/>
                      <a:pt x="213" y="397"/>
                    </a:cubicBezTo>
                    <a:moveTo>
                      <a:pt x="406" y="0"/>
                    </a:moveTo>
                    <a:cubicBezTo>
                      <a:pt x="182" y="0"/>
                      <a:pt x="0" y="182"/>
                      <a:pt x="0" y="406"/>
                    </a:cubicBezTo>
                    <a:cubicBezTo>
                      <a:pt x="0" y="630"/>
                      <a:pt x="182" y="811"/>
                      <a:pt x="406" y="811"/>
                    </a:cubicBezTo>
                    <a:cubicBezTo>
                      <a:pt x="406" y="811"/>
                      <a:pt x="406" y="811"/>
                      <a:pt x="406" y="811"/>
                    </a:cubicBezTo>
                    <a:cubicBezTo>
                      <a:pt x="406" y="758"/>
                      <a:pt x="406" y="758"/>
                      <a:pt x="406" y="758"/>
                    </a:cubicBezTo>
                    <a:cubicBezTo>
                      <a:pt x="418" y="758"/>
                      <a:pt x="418" y="758"/>
                      <a:pt x="418" y="758"/>
                    </a:cubicBezTo>
                    <a:cubicBezTo>
                      <a:pt x="418" y="811"/>
                      <a:pt x="418" y="811"/>
                      <a:pt x="418" y="811"/>
                    </a:cubicBezTo>
                    <a:cubicBezTo>
                      <a:pt x="637" y="805"/>
                      <a:pt x="812" y="626"/>
                      <a:pt x="812" y="406"/>
                    </a:cubicBezTo>
                    <a:cubicBezTo>
                      <a:pt x="812" y="182"/>
                      <a:pt x="630" y="0"/>
                      <a:pt x="406"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3" name="Freeform 162"/>
              <p:cNvSpPr>
                <a:spLocks/>
              </p:cNvSpPr>
              <p:nvPr/>
            </p:nvSpPr>
            <p:spPr bwMode="auto">
              <a:xfrm>
                <a:off x="5951537" y="3275806"/>
                <a:ext cx="298450" cy="376238"/>
              </a:xfrm>
              <a:custGeom>
                <a:avLst/>
                <a:gdLst>
                  <a:gd name="T0" fmla="*/ 398 w 398"/>
                  <a:gd name="T1" fmla="*/ 199 h 504"/>
                  <a:gd name="T2" fmla="*/ 199 w 398"/>
                  <a:gd name="T3" fmla="*/ 0 h 504"/>
                  <a:gd name="T4" fmla="*/ 0 w 398"/>
                  <a:gd name="T5" fmla="*/ 199 h 504"/>
                  <a:gd name="T6" fmla="*/ 60 w 398"/>
                  <a:gd name="T7" fmla="*/ 341 h 504"/>
                  <a:gd name="T8" fmla="*/ 60 w 398"/>
                  <a:gd name="T9" fmla="*/ 341 h 504"/>
                  <a:gd name="T10" fmla="*/ 122 w 398"/>
                  <a:gd name="T11" fmla="*/ 468 h 504"/>
                  <a:gd name="T12" fmla="*/ 195 w 398"/>
                  <a:gd name="T13" fmla="*/ 501 h 504"/>
                  <a:gd name="T14" fmla="*/ 196 w 398"/>
                  <a:gd name="T15" fmla="*/ 504 h 504"/>
                  <a:gd name="T16" fmla="*/ 199 w 398"/>
                  <a:gd name="T17" fmla="*/ 502 h 504"/>
                  <a:gd name="T18" fmla="*/ 202 w 398"/>
                  <a:gd name="T19" fmla="*/ 504 h 504"/>
                  <a:gd name="T20" fmla="*/ 203 w 398"/>
                  <a:gd name="T21" fmla="*/ 501 h 504"/>
                  <a:gd name="T22" fmla="*/ 276 w 398"/>
                  <a:gd name="T23" fmla="*/ 468 h 504"/>
                  <a:gd name="T24" fmla="*/ 336 w 398"/>
                  <a:gd name="T25" fmla="*/ 344 h 504"/>
                  <a:gd name="T26" fmla="*/ 398 w 398"/>
                  <a:gd name="T27" fmla="*/ 199 h 5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98" h="504">
                    <a:moveTo>
                      <a:pt x="398" y="199"/>
                    </a:moveTo>
                    <a:cubicBezTo>
                      <a:pt x="398" y="89"/>
                      <a:pt x="309" y="0"/>
                      <a:pt x="199" y="0"/>
                    </a:cubicBezTo>
                    <a:cubicBezTo>
                      <a:pt x="89" y="0"/>
                      <a:pt x="0" y="89"/>
                      <a:pt x="0" y="199"/>
                    </a:cubicBezTo>
                    <a:cubicBezTo>
                      <a:pt x="0" y="255"/>
                      <a:pt x="23" y="305"/>
                      <a:pt x="60" y="341"/>
                    </a:cubicBezTo>
                    <a:cubicBezTo>
                      <a:pt x="60" y="341"/>
                      <a:pt x="60" y="341"/>
                      <a:pt x="60" y="341"/>
                    </a:cubicBezTo>
                    <a:cubicBezTo>
                      <a:pt x="120" y="402"/>
                      <a:pt x="122" y="468"/>
                      <a:pt x="122" y="468"/>
                    </a:cubicBezTo>
                    <a:cubicBezTo>
                      <a:pt x="195" y="501"/>
                      <a:pt x="195" y="501"/>
                      <a:pt x="195" y="501"/>
                    </a:cubicBezTo>
                    <a:cubicBezTo>
                      <a:pt x="196" y="504"/>
                      <a:pt x="196" y="504"/>
                      <a:pt x="196" y="504"/>
                    </a:cubicBezTo>
                    <a:cubicBezTo>
                      <a:pt x="199" y="502"/>
                      <a:pt x="199" y="502"/>
                      <a:pt x="199" y="502"/>
                    </a:cubicBezTo>
                    <a:cubicBezTo>
                      <a:pt x="202" y="504"/>
                      <a:pt x="202" y="504"/>
                      <a:pt x="202" y="504"/>
                    </a:cubicBezTo>
                    <a:cubicBezTo>
                      <a:pt x="203" y="501"/>
                      <a:pt x="203" y="501"/>
                      <a:pt x="203" y="501"/>
                    </a:cubicBezTo>
                    <a:cubicBezTo>
                      <a:pt x="276" y="468"/>
                      <a:pt x="276" y="468"/>
                      <a:pt x="276" y="468"/>
                    </a:cubicBezTo>
                    <a:cubicBezTo>
                      <a:pt x="276" y="468"/>
                      <a:pt x="278" y="403"/>
                      <a:pt x="336" y="344"/>
                    </a:cubicBezTo>
                    <a:cubicBezTo>
                      <a:pt x="374" y="307"/>
                      <a:pt x="398" y="256"/>
                      <a:pt x="398" y="199"/>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4" name="Freeform 163"/>
              <p:cNvSpPr>
                <a:spLocks noEditPoints="1"/>
              </p:cNvSpPr>
              <p:nvPr/>
            </p:nvSpPr>
            <p:spPr bwMode="auto">
              <a:xfrm>
                <a:off x="5951537" y="3423444"/>
                <a:ext cx="230188" cy="198438"/>
              </a:xfrm>
              <a:custGeom>
                <a:avLst/>
                <a:gdLst>
                  <a:gd name="T0" fmla="*/ 276 w 308"/>
                  <a:gd name="T1" fmla="*/ 267 h 267"/>
                  <a:gd name="T2" fmla="*/ 276 w 308"/>
                  <a:gd name="T3" fmla="*/ 267 h 267"/>
                  <a:gd name="T4" fmla="*/ 276 w 308"/>
                  <a:gd name="T5" fmla="*/ 267 h 267"/>
                  <a:gd name="T6" fmla="*/ 276 w 308"/>
                  <a:gd name="T7" fmla="*/ 267 h 267"/>
                  <a:gd name="T8" fmla="*/ 308 w 308"/>
                  <a:gd name="T9" fmla="*/ 180 h 267"/>
                  <a:gd name="T10" fmla="*/ 276 w 308"/>
                  <a:gd name="T11" fmla="*/ 261 h 267"/>
                  <a:gd name="T12" fmla="*/ 308 w 308"/>
                  <a:gd name="T13" fmla="*/ 180 h 267"/>
                  <a:gd name="T14" fmla="*/ 308 w 308"/>
                  <a:gd name="T15" fmla="*/ 180 h 267"/>
                  <a:gd name="T16" fmla="*/ 308 w 308"/>
                  <a:gd name="T17" fmla="*/ 180 h 267"/>
                  <a:gd name="T18" fmla="*/ 0 w 308"/>
                  <a:gd name="T19" fmla="*/ 1 h 267"/>
                  <a:gd name="T20" fmla="*/ 0 w 308"/>
                  <a:gd name="T21" fmla="*/ 1 h 267"/>
                  <a:gd name="T22" fmla="*/ 0 w 308"/>
                  <a:gd name="T23" fmla="*/ 1 h 267"/>
                  <a:gd name="T24" fmla="*/ 0 w 308"/>
                  <a:gd name="T25" fmla="*/ 1 h 267"/>
                  <a:gd name="T26" fmla="*/ 0 w 308"/>
                  <a:gd name="T27" fmla="*/ 0 h 267"/>
                  <a:gd name="T28" fmla="*/ 0 w 308"/>
                  <a:gd name="T29" fmla="*/ 0 h 267"/>
                  <a:gd name="T30" fmla="*/ 0 w 308"/>
                  <a:gd name="T31" fmla="*/ 0 h 267"/>
                  <a:gd name="T32" fmla="*/ 0 w 308"/>
                  <a:gd name="T33" fmla="*/ 0 h 267"/>
                  <a:gd name="T34" fmla="*/ 0 w 308"/>
                  <a:gd name="T35" fmla="*/ 0 h 267"/>
                  <a:gd name="T36" fmla="*/ 0 w 308"/>
                  <a:gd name="T37" fmla="*/ 0 h 267"/>
                  <a:gd name="T38" fmla="*/ 0 w 308"/>
                  <a:gd name="T39" fmla="*/ 0 h 267"/>
                  <a:gd name="T40" fmla="*/ 0 w 308"/>
                  <a:gd name="T41" fmla="*/ 0 h 267"/>
                  <a:gd name="T42" fmla="*/ 0 w 308"/>
                  <a:gd name="T43" fmla="*/ 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308" h="267">
                    <a:moveTo>
                      <a:pt x="276" y="267"/>
                    </a:moveTo>
                    <a:cubicBezTo>
                      <a:pt x="276" y="267"/>
                      <a:pt x="276" y="267"/>
                      <a:pt x="276" y="267"/>
                    </a:cubicBezTo>
                    <a:cubicBezTo>
                      <a:pt x="276" y="267"/>
                      <a:pt x="276" y="267"/>
                      <a:pt x="276" y="267"/>
                    </a:cubicBezTo>
                    <a:cubicBezTo>
                      <a:pt x="276" y="267"/>
                      <a:pt x="276" y="267"/>
                      <a:pt x="276" y="267"/>
                    </a:cubicBezTo>
                    <a:moveTo>
                      <a:pt x="308" y="180"/>
                    </a:moveTo>
                    <a:cubicBezTo>
                      <a:pt x="286" y="214"/>
                      <a:pt x="279" y="246"/>
                      <a:pt x="276" y="261"/>
                    </a:cubicBezTo>
                    <a:cubicBezTo>
                      <a:pt x="279" y="246"/>
                      <a:pt x="286" y="214"/>
                      <a:pt x="308" y="180"/>
                    </a:cubicBezTo>
                    <a:cubicBezTo>
                      <a:pt x="308" y="180"/>
                      <a:pt x="308" y="180"/>
                      <a:pt x="308" y="180"/>
                    </a:cubicBezTo>
                    <a:cubicBezTo>
                      <a:pt x="308" y="180"/>
                      <a:pt x="308" y="180"/>
                      <a:pt x="308" y="180"/>
                    </a:cubicBezTo>
                    <a:moveTo>
                      <a:pt x="0" y="1"/>
                    </a:moveTo>
                    <a:cubicBezTo>
                      <a:pt x="0" y="1"/>
                      <a:pt x="0" y="1"/>
                      <a:pt x="0" y="1"/>
                    </a:cubicBezTo>
                    <a:cubicBezTo>
                      <a:pt x="0" y="1"/>
                      <a:pt x="0" y="1"/>
                      <a:pt x="0" y="1"/>
                    </a:cubicBezTo>
                    <a:cubicBezTo>
                      <a:pt x="0" y="1"/>
                      <a:pt x="0" y="1"/>
                      <a:pt x="0" y="1"/>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moveTo>
                      <a:pt x="0" y="0"/>
                    </a:moveTo>
                    <a:cubicBezTo>
                      <a:pt x="0" y="0"/>
                      <a:pt x="0" y="0"/>
                      <a:pt x="0" y="0"/>
                    </a:cubicBezTo>
                    <a:cubicBezTo>
                      <a:pt x="0" y="0"/>
                      <a:pt x="0" y="0"/>
                      <a:pt x="0"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5" name="Freeform 164"/>
              <p:cNvSpPr>
                <a:spLocks/>
              </p:cNvSpPr>
              <p:nvPr/>
            </p:nvSpPr>
            <p:spPr bwMode="auto">
              <a:xfrm>
                <a:off x="5951537" y="3348831"/>
                <a:ext cx="230188" cy="276225"/>
              </a:xfrm>
              <a:custGeom>
                <a:avLst/>
                <a:gdLst>
                  <a:gd name="T0" fmla="*/ 28 w 308"/>
                  <a:gd name="T1" fmla="*/ 0 h 370"/>
                  <a:gd name="T2" fmla="*/ 0 w 308"/>
                  <a:gd name="T3" fmla="*/ 100 h 370"/>
                  <a:gd name="T4" fmla="*/ 0 w 308"/>
                  <a:gd name="T5" fmla="*/ 100 h 370"/>
                  <a:gd name="T6" fmla="*/ 0 w 308"/>
                  <a:gd name="T7" fmla="*/ 100 h 370"/>
                  <a:gd name="T8" fmla="*/ 0 w 308"/>
                  <a:gd name="T9" fmla="*/ 100 h 370"/>
                  <a:gd name="T10" fmla="*/ 0 w 308"/>
                  <a:gd name="T11" fmla="*/ 100 h 370"/>
                  <a:gd name="T12" fmla="*/ 0 w 308"/>
                  <a:gd name="T13" fmla="*/ 100 h 370"/>
                  <a:gd name="T14" fmla="*/ 0 w 308"/>
                  <a:gd name="T15" fmla="*/ 101 h 370"/>
                  <a:gd name="T16" fmla="*/ 0 w 308"/>
                  <a:gd name="T17" fmla="*/ 101 h 370"/>
                  <a:gd name="T18" fmla="*/ 60 w 308"/>
                  <a:gd name="T19" fmla="*/ 243 h 370"/>
                  <a:gd name="T20" fmla="*/ 60 w 308"/>
                  <a:gd name="T21" fmla="*/ 243 h 370"/>
                  <a:gd name="T22" fmla="*/ 60 w 308"/>
                  <a:gd name="T23" fmla="*/ 243 h 370"/>
                  <a:gd name="T24" fmla="*/ 60 w 308"/>
                  <a:gd name="T25" fmla="*/ 243 h 370"/>
                  <a:gd name="T26" fmla="*/ 122 w 308"/>
                  <a:gd name="T27" fmla="*/ 370 h 370"/>
                  <a:gd name="T28" fmla="*/ 276 w 308"/>
                  <a:gd name="T29" fmla="*/ 367 h 370"/>
                  <a:gd name="T30" fmla="*/ 276 w 308"/>
                  <a:gd name="T31" fmla="*/ 367 h 370"/>
                  <a:gd name="T32" fmla="*/ 276 w 308"/>
                  <a:gd name="T33" fmla="*/ 367 h 370"/>
                  <a:gd name="T34" fmla="*/ 276 w 308"/>
                  <a:gd name="T35" fmla="*/ 361 h 370"/>
                  <a:gd name="T36" fmla="*/ 308 w 308"/>
                  <a:gd name="T37" fmla="*/ 280 h 370"/>
                  <a:gd name="T38" fmla="*/ 28 w 308"/>
                  <a:gd name="T39" fmla="*/ 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8" h="370">
                    <a:moveTo>
                      <a:pt x="28" y="0"/>
                    </a:moveTo>
                    <a:cubicBezTo>
                      <a:pt x="10" y="29"/>
                      <a:pt x="0" y="63"/>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0"/>
                      <a:pt x="0" y="100"/>
                      <a:pt x="0" y="100"/>
                    </a:cubicBezTo>
                    <a:cubicBezTo>
                      <a:pt x="0" y="101"/>
                      <a:pt x="0" y="101"/>
                      <a:pt x="0" y="101"/>
                    </a:cubicBezTo>
                    <a:cubicBezTo>
                      <a:pt x="0" y="101"/>
                      <a:pt x="0" y="101"/>
                      <a:pt x="0" y="101"/>
                    </a:cubicBezTo>
                    <a:cubicBezTo>
                      <a:pt x="0" y="157"/>
                      <a:pt x="23" y="207"/>
                      <a:pt x="60" y="243"/>
                    </a:cubicBezTo>
                    <a:cubicBezTo>
                      <a:pt x="60" y="243"/>
                      <a:pt x="60" y="243"/>
                      <a:pt x="60" y="243"/>
                    </a:cubicBezTo>
                    <a:cubicBezTo>
                      <a:pt x="60" y="243"/>
                      <a:pt x="60" y="243"/>
                      <a:pt x="60" y="243"/>
                    </a:cubicBezTo>
                    <a:cubicBezTo>
                      <a:pt x="60" y="243"/>
                      <a:pt x="60" y="243"/>
                      <a:pt x="60" y="243"/>
                    </a:cubicBezTo>
                    <a:cubicBezTo>
                      <a:pt x="120" y="304"/>
                      <a:pt x="122" y="370"/>
                      <a:pt x="122" y="370"/>
                    </a:cubicBezTo>
                    <a:cubicBezTo>
                      <a:pt x="276" y="367"/>
                      <a:pt x="276" y="367"/>
                      <a:pt x="276" y="367"/>
                    </a:cubicBezTo>
                    <a:cubicBezTo>
                      <a:pt x="276" y="367"/>
                      <a:pt x="276" y="367"/>
                      <a:pt x="276" y="367"/>
                    </a:cubicBezTo>
                    <a:cubicBezTo>
                      <a:pt x="276" y="367"/>
                      <a:pt x="276" y="367"/>
                      <a:pt x="276" y="367"/>
                    </a:cubicBezTo>
                    <a:cubicBezTo>
                      <a:pt x="276" y="366"/>
                      <a:pt x="276" y="364"/>
                      <a:pt x="276" y="361"/>
                    </a:cubicBezTo>
                    <a:cubicBezTo>
                      <a:pt x="279" y="346"/>
                      <a:pt x="286" y="314"/>
                      <a:pt x="308" y="280"/>
                    </a:cubicBezTo>
                    <a:cubicBezTo>
                      <a:pt x="28" y="0"/>
                      <a:pt x="28" y="0"/>
                      <a:pt x="28" y="0"/>
                    </a:cubicBezTo>
                  </a:path>
                </a:pathLst>
              </a:custGeom>
              <a:grpFill/>
              <a:ln w="9525">
                <a:solidFill>
                  <a:schemeClr val="bg1">
                    <a:lumMod val="65000"/>
                  </a:schemeClr>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sp>
            <p:nvSpPr>
              <p:cNvPr id="166" name="Rectangle 165"/>
              <p:cNvSpPr>
                <a:spLocks noChangeArrowheads="1"/>
              </p:cNvSpPr>
              <p:nvPr/>
            </p:nvSpPr>
            <p:spPr bwMode="auto">
              <a:xfrm>
                <a:off x="6043612" y="3621881"/>
                <a:ext cx="114300" cy="71438"/>
              </a:xfrm>
              <a:prstGeom prst="rect">
                <a:avLst/>
              </a:prstGeom>
              <a:grpFill/>
              <a:ln w="9525">
                <a:solidFill>
                  <a:schemeClr val="bg1">
                    <a:lumMod val="65000"/>
                  </a:schemeClr>
                </a:solidFill>
                <a:miter lim="800000"/>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32688" rtl="0" eaLnBrk="1" latinLnBrk="0" hangingPunct="1">
                  <a:defRPr sz="1836" kern="1200">
                    <a:solidFill>
                      <a:schemeClr val="tx1"/>
                    </a:solidFill>
                    <a:latin typeface="+mn-lt"/>
                    <a:ea typeface="+mn-ea"/>
                    <a:cs typeface="+mn-cs"/>
                  </a:defRPr>
                </a:lvl1pPr>
                <a:lvl2pPr marL="466344" algn="l" defTabSz="932688" rtl="0" eaLnBrk="1" latinLnBrk="0" hangingPunct="1">
                  <a:defRPr sz="1836" kern="1200">
                    <a:solidFill>
                      <a:schemeClr val="tx1"/>
                    </a:solidFill>
                    <a:latin typeface="+mn-lt"/>
                    <a:ea typeface="+mn-ea"/>
                    <a:cs typeface="+mn-cs"/>
                  </a:defRPr>
                </a:lvl2pPr>
                <a:lvl3pPr marL="932688" algn="l" defTabSz="932688" rtl="0" eaLnBrk="1" latinLnBrk="0" hangingPunct="1">
                  <a:defRPr sz="1836" kern="1200">
                    <a:solidFill>
                      <a:schemeClr val="tx1"/>
                    </a:solidFill>
                    <a:latin typeface="+mn-lt"/>
                    <a:ea typeface="+mn-ea"/>
                    <a:cs typeface="+mn-cs"/>
                  </a:defRPr>
                </a:lvl3pPr>
                <a:lvl4pPr marL="1399032" algn="l" defTabSz="932688" rtl="0" eaLnBrk="1" latinLnBrk="0" hangingPunct="1">
                  <a:defRPr sz="1836" kern="1200">
                    <a:solidFill>
                      <a:schemeClr val="tx1"/>
                    </a:solidFill>
                    <a:latin typeface="+mn-lt"/>
                    <a:ea typeface="+mn-ea"/>
                    <a:cs typeface="+mn-cs"/>
                  </a:defRPr>
                </a:lvl4pPr>
                <a:lvl5pPr marL="1865376" algn="l" defTabSz="932688" rtl="0" eaLnBrk="1" latinLnBrk="0" hangingPunct="1">
                  <a:defRPr sz="1836" kern="1200">
                    <a:solidFill>
                      <a:schemeClr val="tx1"/>
                    </a:solidFill>
                    <a:latin typeface="+mn-lt"/>
                    <a:ea typeface="+mn-ea"/>
                    <a:cs typeface="+mn-cs"/>
                  </a:defRPr>
                </a:lvl5pPr>
                <a:lvl6pPr marL="2331720" algn="l" defTabSz="932688" rtl="0" eaLnBrk="1" latinLnBrk="0" hangingPunct="1">
                  <a:defRPr sz="1836" kern="1200">
                    <a:solidFill>
                      <a:schemeClr val="tx1"/>
                    </a:solidFill>
                    <a:latin typeface="+mn-lt"/>
                    <a:ea typeface="+mn-ea"/>
                    <a:cs typeface="+mn-cs"/>
                  </a:defRPr>
                </a:lvl6pPr>
                <a:lvl7pPr marL="2798064" algn="l" defTabSz="932688" rtl="0" eaLnBrk="1" latinLnBrk="0" hangingPunct="1">
                  <a:defRPr sz="1836" kern="1200">
                    <a:solidFill>
                      <a:schemeClr val="tx1"/>
                    </a:solidFill>
                    <a:latin typeface="+mn-lt"/>
                    <a:ea typeface="+mn-ea"/>
                    <a:cs typeface="+mn-cs"/>
                  </a:defRPr>
                </a:lvl7pPr>
                <a:lvl8pPr marL="3264408" algn="l" defTabSz="932688" rtl="0" eaLnBrk="1" latinLnBrk="0" hangingPunct="1">
                  <a:defRPr sz="1836" kern="1200">
                    <a:solidFill>
                      <a:schemeClr val="tx1"/>
                    </a:solidFill>
                    <a:latin typeface="+mn-lt"/>
                    <a:ea typeface="+mn-ea"/>
                    <a:cs typeface="+mn-cs"/>
                  </a:defRPr>
                </a:lvl8pPr>
                <a:lvl9pPr marL="3730752" algn="l" defTabSz="932688" rtl="0" eaLnBrk="1" latinLnBrk="0" hangingPunct="1">
                  <a:defRPr sz="1836" kern="1200">
                    <a:solidFill>
                      <a:schemeClr val="tx1"/>
                    </a:solidFill>
                    <a:latin typeface="+mn-lt"/>
                    <a:ea typeface="+mn-ea"/>
                    <a:cs typeface="+mn-cs"/>
                  </a:defRPr>
                </a:lvl9pPr>
              </a:lstStyle>
              <a:p>
                <a:endParaRPr lang="en-US">
                  <a:latin typeface="+mj-lt"/>
                </a:endParaRPr>
              </a:p>
            </p:txBody>
          </p:sp>
        </p:grpSp>
      </p:grpSp>
    </p:spTree>
    <p:extLst>
      <p:ext uri="{BB962C8B-B14F-4D97-AF65-F5344CB8AC3E}">
        <p14:creationId xmlns:p14="http://schemas.microsoft.com/office/powerpoint/2010/main" val="2008991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 name="Picture 80" descr="00912278_SizeFull.jpg"/>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bright="22000"/>
                    </a14:imgEffect>
                  </a14:imgLayer>
                </a14:imgProps>
              </a:ext>
              <a:ext uri="{28A0092B-C50C-407E-A947-70E740481C1C}">
                <a14:useLocalDpi xmlns:a14="http://schemas.microsoft.com/office/drawing/2010/main" val="0"/>
              </a:ext>
            </a:extLst>
          </a:blip>
          <a:srcRect l="267" t="653" r="10994" b="24347"/>
          <a:stretch/>
        </p:blipFill>
        <p:spPr>
          <a:xfrm>
            <a:off x="1" y="487"/>
            <a:ext cx="12192000" cy="6857027"/>
          </a:xfrm>
          <a:prstGeom prst="rect">
            <a:avLst/>
          </a:prstGeom>
        </p:spPr>
      </p:pic>
      <p:sp>
        <p:nvSpPr>
          <p:cNvPr id="11" name="Rectangle 10"/>
          <p:cNvSpPr/>
          <p:nvPr/>
        </p:nvSpPr>
        <p:spPr>
          <a:xfrm>
            <a:off x="9400237" y="3884994"/>
            <a:ext cx="2214068" cy="2689274"/>
          </a:xfrm>
          <a:prstGeom prst="rect">
            <a:avLst/>
          </a:prstGeom>
          <a:solidFill>
            <a:srgbClr val="000C47"/>
          </a:solidFill>
          <a:ln>
            <a:noFill/>
          </a:ln>
          <a:effectLst/>
        </p:spPr>
        <p:style>
          <a:lnRef idx="1">
            <a:schemeClr val="accent1"/>
          </a:lnRef>
          <a:fillRef idx="3">
            <a:schemeClr val="accent1"/>
          </a:fillRef>
          <a:effectRef idx="2">
            <a:schemeClr val="accent1"/>
          </a:effectRef>
          <a:fontRef idx="minor">
            <a:schemeClr val="lt1"/>
          </a:fontRef>
        </p:style>
        <p:txBody>
          <a:bodyPr lIns="175690" tIns="87845" rtlCol="0" anchor="t"/>
          <a:lstStyle/>
          <a:p>
            <a:pPr defTabSz="896031"/>
            <a:r>
              <a:rPr lang="en-US" sz="2745" dirty="0">
                <a:solidFill>
                  <a:prstClr val="white"/>
                </a:solidFill>
                <a:latin typeface="Segoe UI Light"/>
              </a:rPr>
              <a:t>Scope a proof-of-concept</a:t>
            </a:r>
          </a:p>
        </p:txBody>
      </p:sp>
      <p:sp>
        <p:nvSpPr>
          <p:cNvPr id="18" name="Rectangle 17"/>
          <p:cNvSpPr/>
          <p:nvPr/>
        </p:nvSpPr>
        <p:spPr>
          <a:xfrm>
            <a:off x="2551389" y="3884994"/>
            <a:ext cx="2214068" cy="2689274"/>
          </a:xfrm>
          <a:prstGeom prst="rect">
            <a:avLst/>
          </a:prstGeom>
          <a:solidFill>
            <a:srgbClr val="008272"/>
          </a:solidFill>
          <a:ln>
            <a:noFill/>
          </a:ln>
          <a:effectLst/>
        </p:spPr>
        <p:style>
          <a:lnRef idx="1">
            <a:schemeClr val="accent1"/>
          </a:lnRef>
          <a:fillRef idx="3">
            <a:schemeClr val="accent1"/>
          </a:fillRef>
          <a:effectRef idx="2">
            <a:schemeClr val="accent1"/>
          </a:effectRef>
          <a:fontRef idx="minor">
            <a:schemeClr val="lt1"/>
          </a:fontRef>
        </p:style>
        <p:txBody>
          <a:bodyPr lIns="175690" tIns="87845" rtlCol="0" anchor="t"/>
          <a:lstStyle/>
          <a:p>
            <a:pPr defTabSz="896031"/>
            <a:r>
              <a:rPr lang="en-US" sz="2745" dirty="0">
                <a:solidFill>
                  <a:prstClr val="white"/>
                </a:solidFill>
                <a:latin typeface="Segoe UI Light"/>
              </a:rPr>
              <a:t>Apply Microsoft IoT capability model</a:t>
            </a:r>
          </a:p>
        </p:txBody>
      </p:sp>
      <p:sp>
        <p:nvSpPr>
          <p:cNvPr id="40" name="Rectangle 39"/>
          <p:cNvSpPr/>
          <p:nvPr/>
        </p:nvSpPr>
        <p:spPr>
          <a:xfrm>
            <a:off x="7118712" y="3884994"/>
            <a:ext cx="2214068" cy="2689274"/>
          </a:xfrm>
          <a:prstGeom prst="rect">
            <a:avLst/>
          </a:prstGeom>
          <a:solidFill>
            <a:srgbClr val="005B51"/>
          </a:solidFill>
          <a:ln>
            <a:noFill/>
          </a:ln>
          <a:effectLst/>
        </p:spPr>
        <p:style>
          <a:lnRef idx="1">
            <a:schemeClr val="accent1"/>
          </a:lnRef>
          <a:fillRef idx="3">
            <a:schemeClr val="accent1"/>
          </a:fillRef>
          <a:effectRef idx="2">
            <a:schemeClr val="accent1"/>
          </a:effectRef>
          <a:fontRef idx="minor">
            <a:schemeClr val="lt1"/>
          </a:fontRef>
        </p:style>
        <p:txBody>
          <a:bodyPr lIns="175690" tIns="87845" rtlCol="0" anchor="t"/>
          <a:lstStyle/>
          <a:p>
            <a:pPr defTabSz="896031"/>
            <a:r>
              <a:rPr lang="en-US" sz="2745" dirty="0">
                <a:solidFill>
                  <a:prstClr val="white"/>
                </a:solidFill>
                <a:latin typeface="Segoe UI Light"/>
              </a:rPr>
              <a:t>Define financial benefits</a:t>
            </a:r>
          </a:p>
        </p:txBody>
      </p:sp>
      <p:sp>
        <p:nvSpPr>
          <p:cNvPr id="52" name="Rectangle 51"/>
          <p:cNvSpPr/>
          <p:nvPr/>
        </p:nvSpPr>
        <p:spPr>
          <a:xfrm>
            <a:off x="269240" y="3884994"/>
            <a:ext cx="2214068" cy="2689274"/>
          </a:xfrm>
          <a:prstGeom prst="rect">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lIns="175690" tIns="87845" rtlCol="0" anchor="t"/>
          <a:lstStyle/>
          <a:p>
            <a:pPr defTabSz="896031"/>
            <a:r>
              <a:rPr lang="en-US" sz="2745" dirty="0">
                <a:solidFill>
                  <a:prstClr val="white"/>
                </a:solidFill>
                <a:latin typeface="Segoe UI Light"/>
              </a:rPr>
              <a:t>Identify business priorities</a:t>
            </a:r>
          </a:p>
        </p:txBody>
      </p:sp>
      <p:sp>
        <p:nvSpPr>
          <p:cNvPr id="15" name="Title 1"/>
          <p:cNvSpPr>
            <a:spLocks noGrp="1"/>
          </p:cNvSpPr>
          <p:nvPr>
            <p:ph type="title"/>
          </p:nvPr>
        </p:nvSpPr>
        <p:spPr/>
        <p:txBody>
          <a:bodyPr/>
          <a:lstStyle/>
          <a:p>
            <a:r>
              <a:rPr lang="en-US" dirty="0" smtClean="0">
                <a:latin typeface="Segoe UI Light" panose="020B0502040204020203" pitchFamily="34" charset="0"/>
              </a:rPr>
              <a:t>IoT Quick Start consultation</a:t>
            </a:r>
            <a:endParaRPr lang="en-IN" dirty="0">
              <a:latin typeface="Segoe UI Light" panose="020B0502040204020203" pitchFamily="34" charset="0"/>
            </a:endParaRPr>
          </a:p>
        </p:txBody>
      </p:sp>
      <p:sp>
        <p:nvSpPr>
          <p:cNvPr id="9" name="Rectangle 8"/>
          <p:cNvSpPr/>
          <p:nvPr/>
        </p:nvSpPr>
        <p:spPr bwMode="auto">
          <a:xfrm>
            <a:off x="4824199" y="3884994"/>
            <a:ext cx="2214068" cy="26892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79285" rIns="179285" bIns="143428" numCol="1" spcCol="0" rtlCol="0" fromWordArt="0" anchor="t" anchorCtr="0" forceAA="0" compatLnSpc="1">
            <a:prstTxWarp prst="textNoShape">
              <a:avLst/>
            </a:prstTxWarp>
            <a:noAutofit/>
          </a:bodyPr>
          <a:lstStyle/>
          <a:p>
            <a:pPr marL="1557" defTabSz="878464">
              <a:lnSpc>
                <a:spcPct val="90000"/>
              </a:lnSpc>
              <a:defRPr/>
            </a:pPr>
            <a:r>
              <a:rPr lang="en-US" sz="2745" kern="0" dirty="0">
                <a:solidFill>
                  <a:prstClr val="white"/>
                </a:solidFill>
                <a:latin typeface="Segoe UI Light"/>
                <a:ea typeface="Segoe UI" pitchFamily="34" charset="0"/>
                <a:cs typeface="Segoe UI Semilight" panose="020B0402040204020203" pitchFamily="34" charset="0"/>
              </a:rPr>
              <a:t>Learn from other customers</a:t>
            </a:r>
          </a:p>
        </p:txBody>
      </p:sp>
    </p:spTree>
    <p:extLst>
      <p:ext uri="{BB962C8B-B14F-4D97-AF65-F5344CB8AC3E}">
        <p14:creationId xmlns:p14="http://schemas.microsoft.com/office/powerpoint/2010/main" val="3852601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2" fill="hold" grpId="0" nodeType="clickEffect">
                                  <p:stCondLst>
                                    <p:cond delay="0"/>
                                  </p:stCondLst>
                                  <p:childTnLst>
                                    <p:set>
                                      <p:cBhvr>
                                        <p:cTn id="6" dur="1" fill="hold">
                                          <p:stCondLst>
                                            <p:cond delay="0"/>
                                          </p:stCondLst>
                                        </p:cTn>
                                        <p:tgtEl>
                                          <p:spTgt spid="52"/>
                                        </p:tgtEl>
                                        <p:attrNameLst>
                                          <p:attrName>style.visibility</p:attrName>
                                        </p:attrNameLst>
                                      </p:cBhvr>
                                      <p:to>
                                        <p:strVal val="visible"/>
                                      </p:to>
                                    </p:set>
                                    <p:anim calcmode="lin" valueType="num">
                                      <p:cBhvr additive="base">
                                        <p:cTn id="7" dur="500" fill="hold"/>
                                        <p:tgtEl>
                                          <p:spTgt spid="52"/>
                                        </p:tgtEl>
                                        <p:attrNameLst>
                                          <p:attrName>ppt_x</p:attrName>
                                        </p:attrNameLst>
                                      </p:cBhvr>
                                      <p:tavLst>
                                        <p:tav tm="0">
                                          <p:val>
                                            <p:strVal val="1+#ppt_w/2"/>
                                          </p:val>
                                        </p:tav>
                                        <p:tav tm="100000">
                                          <p:val>
                                            <p:strVal val="#ppt_x"/>
                                          </p:val>
                                        </p:tav>
                                      </p:tavLst>
                                    </p:anim>
                                    <p:anim calcmode="lin" valueType="num">
                                      <p:cBhvr additive="base">
                                        <p:cTn id="8" dur="500" fill="hold"/>
                                        <p:tgtEl>
                                          <p:spTgt spid="52"/>
                                        </p:tgtEl>
                                        <p:attrNameLst>
                                          <p:attrName>ppt_y</p:attrName>
                                        </p:attrNameLst>
                                      </p:cBhvr>
                                      <p:tavLst>
                                        <p:tav tm="0">
                                          <p:val>
                                            <p:strVal val="#ppt_y"/>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2"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anim calcmode="lin" valueType="num">
                                      <p:cBhvr additive="base">
                                        <p:cTn id="13" dur="500" fill="hold"/>
                                        <p:tgtEl>
                                          <p:spTgt spid="18"/>
                                        </p:tgtEl>
                                        <p:attrNameLst>
                                          <p:attrName>ppt_x</p:attrName>
                                        </p:attrNameLst>
                                      </p:cBhvr>
                                      <p:tavLst>
                                        <p:tav tm="0">
                                          <p:val>
                                            <p:strVal val="1+#ppt_w/2"/>
                                          </p:val>
                                        </p:tav>
                                        <p:tav tm="100000">
                                          <p:val>
                                            <p:strVal val="#ppt_x"/>
                                          </p:val>
                                        </p:tav>
                                      </p:tavLst>
                                    </p:anim>
                                    <p:anim calcmode="lin" valueType="num">
                                      <p:cBhvr additive="base">
                                        <p:cTn id="14" dur="500" fill="hold"/>
                                        <p:tgtEl>
                                          <p:spTgt spid="18"/>
                                        </p:tgtEl>
                                        <p:attrNameLst>
                                          <p:attrName>ppt_y</p:attrName>
                                        </p:attrNameLst>
                                      </p:cBhvr>
                                      <p:tavLst>
                                        <p:tav tm="0">
                                          <p:val>
                                            <p:strVal val="#ppt_y"/>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2"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anim calcmode="lin" valueType="num">
                                      <p:cBhvr additive="base">
                                        <p:cTn id="19" dur="500" fill="hold"/>
                                        <p:tgtEl>
                                          <p:spTgt spid="9"/>
                                        </p:tgtEl>
                                        <p:attrNameLst>
                                          <p:attrName>ppt_x</p:attrName>
                                        </p:attrNameLst>
                                      </p:cBhvr>
                                      <p:tavLst>
                                        <p:tav tm="0">
                                          <p:val>
                                            <p:strVal val="1+#ppt_w/2"/>
                                          </p:val>
                                        </p:tav>
                                        <p:tav tm="100000">
                                          <p:val>
                                            <p:strVal val="#ppt_x"/>
                                          </p:val>
                                        </p:tav>
                                      </p:tavLst>
                                    </p:anim>
                                    <p:anim calcmode="lin" valueType="num">
                                      <p:cBhvr additive="base">
                                        <p:cTn id="20" dur="500" fill="hold"/>
                                        <p:tgtEl>
                                          <p:spTgt spid="9"/>
                                        </p:tgtEl>
                                        <p:attrNameLst>
                                          <p:attrName>ppt_y</p:attrName>
                                        </p:attrNameLst>
                                      </p:cBhvr>
                                      <p:tavLst>
                                        <p:tav tm="0">
                                          <p:val>
                                            <p:strVal val="#ppt_y"/>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2" fill="hold" grpId="0" nodeType="clickEffect">
                                  <p:stCondLst>
                                    <p:cond delay="0"/>
                                  </p:stCondLst>
                                  <p:childTnLst>
                                    <p:set>
                                      <p:cBhvr>
                                        <p:cTn id="24" dur="1" fill="hold">
                                          <p:stCondLst>
                                            <p:cond delay="0"/>
                                          </p:stCondLst>
                                        </p:cTn>
                                        <p:tgtEl>
                                          <p:spTgt spid="40"/>
                                        </p:tgtEl>
                                        <p:attrNameLst>
                                          <p:attrName>style.visibility</p:attrName>
                                        </p:attrNameLst>
                                      </p:cBhvr>
                                      <p:to>
                                        <p:strVal val="visible"/>
                                      </p:to>
                                    </p:set>
                                    <p:anim calcmode="lin" valueType="num">
                                      <p:cBhvr additive="base">
                                        <p:cTn id="25" dur="500" fill="hold"/>
                                        <p:tgtEl>
                                          <p:spTgt spid="40"/>
                                        </p:tgtEl>
                                        <p:attrNameLst>
                                          <p:attrName>ppt_x</p:attrName>
                                        </p:attrNameLst>
                                      </p:cBhvr>
                                      <p:tavLst>
                                        <p:tav tm="0">
                                          <p:val>
                                            <p:strVal val="1+#ppt_w/2"/>
                                          </p:val>
                                        </p:tav>
                                        <p:tav tm="100000">
                                          <p:val>
                                            <p:strVal val="#ppt_x"/>
                                          </p:val>
                                        </p:tav>
                                      </p:tavLst>
                                    </p:anim>
                                    <p:anim calcmode="lin" valueType="num">
                                      <p:cBhvr additive="base">
                                        <p:cTn id="26" dur="500" fill="hold"/>
                                        <p:tgtEl>
                                          <p:spTgt spid="40"/>
                                        </p:tgtEl>
                                        <p:attrNameLst>
                                          <p:attrName>ppt_y</p:attrName>
                                        </p:attrNameLst>
                                      </p:cBhvr>
                                      <p:tavLst>
                                        <p:tav tm="0">
                                          <p:val>
                                            <p:strVal val="#ppt_y"/>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2"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additive="base">
                                        <p:cTn id="31" dur="500" fill="hold"/>
                                        <p:tgtEl>
                                          <p:spTgt spid="11"/>
                                        </p:tgtEl>
                                        <p:attrNameLst>
                                          <p:attrName>ppt_x</p:attrName>
                                        </p:attrNameLst>
                                      </p:cBhvr>
                                      <p:tavLst>
                                        <p:tav tm="0">
                                          <p:val>
                                            <p:strVal val="1+#ppt_w/2"/>
                                          </p:val>
                                        </p:tav>
                                        <p:tav tm="100000">
                                          <p:val>
                                            <p:strVal val="#ppt_x"/>
                                          </p:val>
                                        </p:tav>
                                      </p:tavLst>
                                    </p:anim>
                                    <p:anim calcmode="lin" valueType="num">
                                      <p:cBhvr additive="base">
                                        <p:cTn id="3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8" grpId="0" animBg="1"/>
      <p:bldP spid="40" grpId="0" animBg="1"/>
      <p:bldP spid="52" grpId="0" animBg="1"/>
      <p:bldP spid="9"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379405" y="2071298"/>
            <a:ext cx="10336864" cy="4307027"/>
          </a:xfrm>
          <a:prstGeom prst="rect">
            <a:avLst/>
          </a:prstGeom>
          <a:solidFill>
            <a:srgbClr val="0078D7">
              <a:alpha val="92000"/>
            </a:srgbClr>
          </a:solidFill>
          <a:ln w="10795" cap="flat" cmpd="sng" algn="ctr">
            <a:noFill/>
            <a:prstDash val="solid"/>
          </a:ln>
          <a:effectLst/>
        </p:spPr>
        <p:txBody>
          <a:bodyPr rtlCol="0" anchor="ctr"/>
          <a:lstStyle/>
          <a:p>
            <a:pPr algn="ctr" defTabSz="878526">
              <a:defRPr/>
            </a:pPr>
            <a:endParaRPr lang="en-US" sz="1695" kern="0">
              <a:solidFill>
                <a:srgbClr val="FFFFFF"/>
              </a:solidFill>
            </a:endParaRPr>
          </a:p>
        </p:txBody>
      </p:sp>
      <p:pic>
        <p:nvPicPr>
          <p:cNvPr id="4" name="Picture 3"/>
          <p:cNvPicPr>
            <a:picLocks noChangeAspect="1"/>
          </p:cNvPicPr>
          <p:nvPr/>
        </p:nvPicPr>
        <p:blipFill>
          <a:blip r:embed="rId3" cstate="screen">
            <a:extLst>
              <a:ext uri="{28A0092B-C50C-407E-A947-70E740481C1C}">
                <a14:useLocalDpi xmlns:a14="http://schemas.microsoft.com/office/drawing/2010/main" val="0"/>
              </a:ext>
            </a:extLst>
          </a:blip>
          <a:stretch>
            <a:fillRect/>
          </a:stretch>
        </p:blipFill>
        <p:spPr>
          <a:xfrm>
            <a:off x="564470" y="2250756"/>
            <a:ext cx="1228542" cy="269202"/>
          </a:xfrm>
          <a:prstGeom prst="rect">
            <a:avLst/>
          </a:prstGeom>
        </p:spPr>
      </p:pic>
      <p:sp>
        <p:nvSpPr>
          <p:cNvPr id="5" name="TextBox 4"/>
          <p:cNvSpPr txBox="1"/>
          <p:nvPr/>
        </p:nvSpPr>
        <p:spPr>
          <a:xfrm>
            <a:off x="567841" y="2615568"/>
            <a:ext cx="9921592" cy="767471"/>
          </a:xfrm>
          <a:prstGeom prst="rect">
            <a:avLst/>
          </a:prstGeom>
          <a:noFill/>
        </p:spPr>
        <p:txBody>
          <a:bodyPr wrap="square" rtlCol="0">
            <a:spAutoFit/>
          </a:bodyPr>
          <a:lstStyle/>
          <a:p>
            <a:pPr defTabSz="878526"/>
            <a:r>
              <a:rPr lang="en-US" sz="4313" dirty="0">
                <a:gradFill>
                  <a:gsLst>
                    <a:gs pos="2917">
                      <a:srgbClr val="FFFFFF"/>
                    </a:gs>
                    <a:gs pos="100000">
                      <a:srgbClr val="FFFFFF"/>
                    </a:gs>
                  </a:gsLst>
                  <a:lin ang="5400000" scaled="0"/>
                </a:gradFill>
                <a:latin typeface="Segoe UI Light"/>
              </a:rPr>
              <a:t>Get started today!</a:t>
            </a:r>
          </a:p>
        </p:txBody>
      </p:sp>
      <p:sp>
        <p:nvSpPr>
          <p:cNvPr id="6" name="TextBox 5"/>
          <p:cNvSpPr txBox="1"/>
          <p:nvPr/>
        </p:nvSpPr>
        <p:spPr>
          <a:xfrm>
            <a:off x="567839" y="3509521"/>
            <a:ext cx="9769964" cy="2868806"/>
          </a:xfrm>
          <a:prstGeom prst="rect">
            <a:avLst/>
          </a:prstGeom>
          <a:noFill/>
        </p:spPr>
        <p:txBody>
          <a:bodyPr wrap="square" rtlCol="0" anchor="t" anchorCtr="0">
            <a:noAutofit/>
          </a:bodyPr>
          <a:lstStyle/>
          <a:p>
            <a:pPr marL="389057" indent="-325252" defTabSz="878526">
              <a:spcBef>
                <a:spcPts val="196"/>
              </a:spcBef>
              <a:spcAft>
                <a:spcPts val="1765"/>
              </a:spcAft>
              <a:buFont typeface="Arial" panose="020B0604020202020204" pitchFamily="34" charset="0"/>
              <a:buChar char="•"/>
            </a:pPr>
            <a:r>
              <a:rPr lang="en-US" sz="2157" dirty="0">
                <a:solidFill>
                  <a:srgbClr val="FFFFFF"/>
                </a:solidFill>
                <a:latin typeface="Segoe UI Light"/>
              </a:rPr>
              <a:t>Learn more about how to create the Internet of Your Things </a:t>
            </a:r>
          </a:p>
          <a:p>
            <a:pPr marL="389057" indent="-325252" defTabSz="878526">
              <a:spcBef>
                <a:spcPts val="196"/>
              </a:spcBef>
              <a:spcAft>
                <a:spcPts val="1765"/>
              </a:spcAft>
              <a:buFont typeface="Arial" panose="020B0604020202020204" pitchFamily="34" charset="0"/>
              <a:buChar char="•"/>
            </a:pPr>
            <a:r>
              <a:rPr lang="en-US" sz="2157" dirty="0">
                <a:solidFill>
                  <a:srgbClr val="FFFFFF"/>
                </a:solidFill>
                <a:latin typeface="Segoe UI Light"/>
              </a:rPr>
              <a:t>Ask us to see if you qualify for the </a:t>
            </a:r>
            <a:r>
              <a:rPr lang="en-US" sz="2157" dirty="0" err="1">
                <a:solidFill>
                  <a:srgbClr val="FFFFFF"/>
                </a:solidFill>
                <a:latin typeface="Segoe UI Light"/>
              </a:rPr>
              <a:t>IoT</a:t>
            </a:r>
            <a:r>
              <a:rPr lang="en-US" sz="2157" dirty="0">
                <a:solidFill>
                  <a:srgbClr val="FFFFFF"/>
                </a:solidFill>
                <a:latin typeface="Segoe UI Light"/>
              </a:rPr>
              <a:t> Quick </a:t>
            </a:r>
            <a:r>
              <a:rPr lang="en-US" sz="2157">
                <a:solidFill>
                  <a:srgbClr val="FFFFFF"/>
                </a:solidFill>
                <a:latin typeface="Segoe UI Light"/>
              </a:rPr>
              <a:t>Starts program</a:t>
            </a:r>
            <a:endParaRPr lang="en-US" sz="2157" dirty="0">
              <a:solidFill>
                <a:srgbClr val="FFFFFF"/>
              </a:solidFill>
              <a:latin typeface="Segoe UI Light"/>
            </a:endParaRPr>
          </a:p>
          <a:p>
            <a:pPr marL="389057" indent="-325252" defTabSz="878526">
              <a:spcBef>
                <a:spcPts val="196"/>
              </a:spcBef>
              <a:spcAft>
                <a:spcPts val="1765"/>
              </a:spcAft>
              <a:buFont typeface="Arial" panose="020B0604020202020204" pitchFamily="34" charset="0"/>
              <a:buChar char="•"/>
            </a:pPr>
            <a:r>
              <a:rPr lang="en-US" sz="2157" dirty="0">
                <a:solidFill>
                  <a:srgbClr val="FFFFFF"/>
                </a:solidFill>
                <a:latin typeface="Segoe UI Light"/>
              </a:rPr>
              <a:t>Explore Microsoft Azure </a:t>
            </a:r>
            <a:r>
              <a:rPr lang="en-US" sz="2157" dirty="0" err="1">
                <a:solidFill>
                  <a:srgbClr val="FFFFFF"/>
                </a:solidFill>
                <a:latin typeface="Segoe UI Light"/>
              </a:rPr>
              <a:t>IoT</a:t>
            </a:r>
            <a:r>
              <a:rPr lang="en-US" sz="2157" dirty="0">
                <a:solidFill>
                  <a:srgbClr val="FFFFFF"/>
                </a:solidFill>
                <a:latin typeface="Segoe UI Light"/>
              </a:rPr>
              <a:t> services today at www.InternetofYourThings.com</a:t>
            </a:r>
          </a:p>
        </p:txBody>
      </p:sp>
    </p:spTree>
    <p:extLst>
      <p:ext uri="{BB962C8B-B14F-4D97-AF65-F5344CB8AC3E}">
        <p14:creationId xmlns:p14="http://schemas.microsoft.com/office/powerpoint/2010/main" val="2042054870"/>
      </p:ext>
    </p:extLst>
  </p:cSld>
  <p:clrMapOvr>
    <a:masterClrMapping/>
  </p:clrMapOvr>
  <p:transition>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124730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5">
            <a:alpha val="87000"/>
          </a:schemeClr>
        </a:solidFill>
        <a:effectLst/>
      </p:bgPr>
    </p:bg>
    <p:spTree>
      <p:nvGrpSpPr>
        <p:cNvPr id="1" name=""/>
        <p:cNvGrpSpPr/>
        <p:nvPr/>
      </p:nvGrpSpPr>
      <p:grpSpPr>
        <a:xfrm>
          <a:off x="0" y="0"/>
          <a:ext cx="0" cy="0"/>
          <a:chOff x="0" y="0"/>
          <a:chExt cx="0" cy="0"/>
        </a:xfrm>
      </p:grpSpPr>
      <p:sp>
        <p:nvSpPr>
          <p:cNvPr id="3" name="Right Triangle 2"/>
          <p:cNvSpPr/>
          <p:nvPr/>
        </p:nvSpPr>
        <p:spPr bwMode="auto">
          <a:xfrm flipH="1">
            <a:off x="0" y="2758"/>
            <a:ext cx="12216110" cy="6855242"/>
          </a:xfrm>
          <a:prstGeom prst="rtTriangle">
            <a:avLst/>
          </a:prstGeom>
          <a:solidFill>
            <a:srgbClr val="FF0000">
              <a:alpha val="78000"/>
            </a:srgb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08" rIns="0" bIns="45708" numCol="1" rtlCol="0" anchor="ctr" anchorCtr="0" compatLnSpc="1">
            <a:prstTxWarp prst="textNoShape">
              <a:avLst/>
            </a:prstTxWarp>
          </a:bodyPr>
          <a:lstStyle/>
          <a:p>
            <a:pPr algn="ctr" defTabSz="913916" fontAlgn="base">
              <a:spcBef>
                <a:spcPct val="0"/>
              </a:spcBef>
              <a:spcAft>
                <a:spcPct val="0"/>
              </a:spcAft>
            </a:pPr>
            <a:endParaRPr lang="en-US" sz="1960" dirty="0">
              <a:gradFill>
                <a:gsLst>
                  <a:gs pos="0">
                    <a:srgbClr val="FFFFFF"/>
                  </a:gs>
                  <a:gs pos="100000">
                    <a:srgbClr val="FFFFFF"/>
                  </a:gs>
                </a:gsLst>
                <a:lin ang="5400000" scaled="0"/>
              </a:gradFill>
            </a:endParaRPr>
          </a:p>
        </p:txBody>
      </p:sp>
      <p:sp>
        <p:nvSpPr>
          <p:cNvPr id="4" name="TextBox 3"/>
          <p:cNvSpPr txBox="1"/>
          <p:nvPr/>
        </p:nvSpPr>
        <p:spPr>
          <a:xfrm>
            <a:off x="2458121" y="1992154"/>
            <a:ext cx="3103112" cy="1560956"/>
          </a:xfrm>
          <a:prstGeom prst="rect">
            <a:avLst/>
          </a:prstGeom>
          <a:noFill/>
        </p:spPr>
        <p:txBody>
          <a:bodyPr wrap="none" lIns="179238" tIns="143391" rIns="179238" bIns="143391" rtlCol="0">
            <a:spAutoFit/>
          </a:bodyPr>
          <a:lstStyle/>
          <a:p>
            <a:pPr algn="ctr">
              <a:lnSpc>
                <a:spcPct val="90000"/>
              </a:lnSpc>
              <a:spcAft>
                <a:spcPts val="588"/>
              </a:spcAft>
            </a:pPr>
            <a:r>
              <a:rPr lang="en-US" sz="4312" b="1" dirty="0">
                <a:solidFill>
                  <a:schemeClr val="bg1"/>
                </a:solidFill>
                <a:latin typeface="Segoe UI Light" panose="020B0502040204020203" pitchFamily="34" charset="0"/>
                <a:cs typeface="Segoe UI Light" panose="020B0502040204020203" pitchFamily="34" charset="0"/>
              </a:rPr>
              <a:t>Operational</a:t>
            </a:r>
          </a:p>
          <a:p>
            <a:pPr algn="ctr">
              <a:lnSpc>
                <a:spcPct val="90000"/>
              </a:lnSpc>
              <a:spcAft>
                <a:spcPts val="588"/>
              </a:spcAft>
            </a:pPr>
            <a:r>
              <a:rPr lang="en-US" sz="4312" b="1" dirty="0">
                <a:solidFill>
                  <a:schemeClr val="bg1"/>
                </a:solidFill>
                <a:latin typeface="Segoe UI Light" panose="020B0502040204020203" pitchFamily="34" charset="0"/>
                <a:cs typeface="Segoe UI Light" panose="020B0502040204020203" pitchFamily="34" charset="0"/>
              </a:rPr>
              <a:t>Technology</a:t>
            </a:r>
          </a:p>
        </p:txBody>
      </p:sp>
      <p:sp>
        <p:nvSpPr>
          <p:cNvPr id="5" name="TextBox 4"/>
          <p:cNvSpPr txBox="1"/>
          <p:nvPr/>
        </p:nvSpPr>
        <p:spPr>
          <a:xfrm>
            <a:off x="6454473" y="3429001"/>
            <a:ext cx="3035896" cy="1559519"/>
          </a:xfrm>
          <a:prstGeom prst="rect">
            <a:avLst/>
          </a:prstGeom>
          <a:noFill/>
        </p:spPr>
        <p:txBody>
          <a:bodyPr wrap="none" lIns="179238" tIns="143391" rIns="179238" bIns="143391" rtlCol="0">
            <a:spAutoFit/>
          </a:bodyPr>
          <a:lstStyle/>
          <a:p>
            <a:pPr algn="ctr">
              <a:lnSpc>
                <a:spcPct val="90000"/>
              </a:lnSpc>
              <a:spcAft>
                <a:spcPts val="588"/>
              </a:spcAft>
            </a:pPr>
            <a:r>
              <a:rPr lang="en-US" sz="4312" b="1" dirty="0">
                <a:solidFill>
                  <a:schemeClr val="bg1"/>
                </a:solidFill>
                <a:latin typeface="Segoe UI Light" panose="020B0502040204020203" pitchFamily="34" charset="0"/>
                <a:cs typeface="Segoe UI Light" panose="020B0502040204020203" pitchFamily="34" charset="0"/>
              </a:rPr>
              <a:t>Information</a:t>
            </a:r>
          </a:p>
          <a:p>
            <a:pPr algn="ctr">
              <a:lnSpc>
                <a:spcPct val="90000"/>
              </a:lnSpc>
              <a:spcAft>
                <a:spcPts val="588"/>
              </a:spcAft>
            </a:pPr>
            <a:r>
              <a:rPr lang="en-US" sz="4312" b="1" dirty="0">
                <a:solidFill>
                  <a:schemeClr val="bg1"/>
                </a:solidFill>
                <a:latin typeface="Segoe UI Light" panose="020B0502040204020203" pitchFamily="34" charset="0"/>
                <a:cs typeface="Segoe UI Light" panose="020B0502040204020203" pitchFamily="34" charset="0"/>
              </a:rPr>
              <a:t>Technology</a:t>
            </a:r>
          </a:p>
        </p:txBody>
      </p:sp>
      <p:pic>
        <p:nvPicPr>
          <p:cNvPr id="8" name="Picture 4" descr="\\MAGNUM\Projects\Microsoft\Cloud Power FY12\Design\Icons\PNGs\Factory.png"/>
          <p:cNvPicPr>
            <a:picLocks noChangeAspect="1" noChangeArrowheads="1"/>
          </p:cNvPicPr>
          <p:nvPr/>
        </p:nvPicPr>
        <p:blipFill>
          <a:blip r:embed="rId3" cstate="print">
            <a:biLevel thresh="25000"/>
          </a:blip>
          <a:srcRect/>
          <a:stretch>
            <a:fillRect/>
          </a:stretch>
        </p:blipFill>
        <p:spPr bwMode="auto">
          <a:xfrm>
            <a:off x="2528343" y="59617"/>
            <a:ext cx="1792383" cy="1792383"/>
          </a:xfrm>
          <a:prstGeom prst="rect">
            <a:avLst/>
          </a:prstGeom>
          <a:noFill/>
          <a:ln>
            <a:noFill/>
          </a:ln>
        </p:spPr>
      </p:pic>
      <p:pic>
        <p:nvPicPr>
          <p:cNvPr id="9" name="Picture 3" descr="\\MAGNUM\Projects\Microsoft\Cloud Power FY12\Design\Icons\PNGs\Storefront.png"/>
          <p:cNvPicPr>
            <a:picLocks noChangeAspect="1" noChangeArrowheads="1"/>
          </p:cNvPicPr>
          <p:nvPr/>
        </p:nvPicPr>
        <p:blipFill>
          <a:blip r:embed="rId4" cstate="print">
            <a:biLevel thresh="25000"/>
          </a:blip>
          <a:srcRect/>
          <a:stretch>
            <a:fillRect/>
          </a:stretch>
        </p:blipFill>
        <p:spPr bwMode="auto">
          <a:xfrm>
            <a:off x="142633" y="1464733"/>
            <a:ext cx="1792383" cy="1792383"/>
          </a:xfrm>
          <a:prstGeom prst="rect">
            <a:avLst/>
          </a:prstGeom>
          <a:noFill/>
        </p:spPr>
      </p:pic>
      <p:pic>
        <p:nvPicPr>
          <p:cNvPr id="10" name="Picture 5" descr="\\MAGNUM\Projects\Microsoft\Cloud Power FY12\Design\Icons\PNGs\Truck.png"/>
          <p:cNvPicPr>
            <a:picLocks noChangeAspect="1" noChangeArrowheads="1"/>
          </p:cNvPicPr>
          <p:nvPr/>
        </p:nvPicPr>
        <p:blipFill>
          <a:blip r:embed="rId5" cstate="print">
            <a:biLevel thresh="25000"/>
          </a:blip>
          <a:stretch>
            <a:fillRect/>
          </a:stretch>
        </p:blipFill>
        <p:spPr bwMode="auto">
          <a:xfrm>
            <a:off x="333779" y="4195194"/>
            <a:ext cx="1792383" cy="1792383"/>
          </a:xfrm>
          <a:prstGeom prst="rect">
            <a:avLst/>
          </a:prstGeom>
          <a:noFill/>
        </p:spPr>
      </p:pic>
      <p:pic>
        <p:nvPicPr>
          <p:cNvPr id="11" name="Picture 5" descr="\\MAGNUM\Projects\Microsoft\Cloud Power FY12\Design\ICONS_PNG\Layer-79.png"/>
          <p:cNvPicPr>
            <a:picLocks noChangeAspect="1" noChangeArrowheads="1"/>
          </p:cNvPicPr>
          <p:nvPr/>
        </p:nvPicPr>
        <p:blipFill>
          <a:blip r:embed="rId6" cstate="print">
            <a:biLevel thresh="25000"/>
          </a:blip>
          <a:srcRect/>
          <a:stretch>
            <a:fillRect/>
          </a:stretch>
        </p:blipFill>
        <p:spPr bwMode="auto">
          <a:xfrm>
            <a:off x="4270894" y="5122476"/>
            <a:ext cx="1792383" cy="1792383"/>
          </a:xfrm>
          <a:prstGeom prst="rect">
            <a:avLst/>
          </a:prstGeom>
          <a:noFill/>
        </p:spPr>
      </p:pic>
      <p:pic>
        <p:nvPicPr>
          <p:cNvPr id="12" name="Picture 3" descr="\\MAGNUM\Projects\Microsoft\Cloud Power FY12\Design\ICONS_PNG\Confidentiality.png"/>
          <p:cNvPicPr>
            <a:picLocks noChangeAspect="1" noChangeArrowheads="1"/>
          </p:cNvPicPr>
          <p:nvPr/>
        </p:nvPicPr>
        <p:blipFill>
          <a:blip r:embed="rId7" cstate="print">
            <a:biLevel thresh="25000"/>
          </a:blip>
          <a:srcRect/>
          <a:stretch>
            <a:fillRect/>
          </a:stretch>
        </p:blipFill>
        <p:spPr bwMode="auto">
          <a:xfrm>
            <a:off x="7750350" y="5091385"/>
            <a:ext cx="1792383" cy="1792383"/>
          </a:xfrm>
          <a:prstGeom prst="rect">
            <a:avLst/>
          </a:prstGeom>
          <a:noFill/>
        </p:spPr>
      </p:pic>
      <p:pic>
        <p:nvPicPr>
          <p:cNvPr id="13" name="Picture 6" descr="\\MAGNUM\Projects\Microsoft\Cloud Power FY12\Design\ICONS_PNG\Cloud.png"/>
          <p:cNvPicPr>
            <a:picLocks noChangeAspect="1" noChangeArrowheads="1"/>
          </p:cNvPicPr>
          <p:nvPr/>
        </p:nvPicPr>
        <p:blipFill>
          <a:blip r:embed="rId8" cstate="print">
            <a:biLevel thresh="50000"/>
          </a:blip>
          <a:srcRect/>
          <a:stretch>
            <a:fillRect/>
          </a:stretch>
        </p:blipFill>
        <p:spPr bwMode="auto">
          <a:xfrm>
            <a:off x="10272713" y="1434735"/>
            <a:ext cx="1792383" cy="1792383"/>
          </a:xfrm>
          <a:prstGeom prst="rect">
            <a:avLst/>
          </a:prstGeom>
          <a:noFill/>
        </p:spPr>
      </p:pic>
      <p:pic>
        <p:nvPicPr>
          <p:cNvPr id="14" name="Picture 2" descr="\\MAGNUM\Projects\Microsoft\Cloud Power FY12\Design\ICONS_PNG\Devices.png"/>
          <p:cNvPicPr>
            <a:picLocks noChangeAspect="1" noChangeArrowheads="1"/>
          </p:cNvPicPr>
          <p:nvPr/>
        </p:nvPicPr>
        <p:blipFill>
          <a:blip r:embed="rId9" cstate="print">
            <a:lum bright="100000"/>
          </a:blip>
          <a:srcRect/>
          <a:stretch>
            <a:fillRect/>
          </a:stretch>
        </p:blipFill>
        <p:spPr bwMode="auto">
          <a:xfrm>
            <a:off x="10205694" y="3719002"/>
            <a:ext cx="1792383" cy="1792383"/>
          </a:xfrm>
          <a:prstGeom prst="rect">
            <a:avLst/>
          </a:prstGeom>
          <a:noFill/>
        </p:spPr>
      </p:pic>
      <p:sp>
        <p:nvSpPr>
          <p:cNvPr id="16" name="Rectangle 2048"/>
          <p:cNvSpPr>
            <a:spLocks noChangeAspect="1"/>
          </p:cNvSpPr>
          <p:nvPr/>
        </p:nvSpPr>
        <p:spPr bwMode="auto">
          <a:xfrm flipV="1">
            <a:off x="5991519" y="152762"/>
            <a:ext cx="628819" cy="1326888"/>
          </a:xfrm>
          <a:custGeom>
            <a:avLst/>
            <a:gdLst/>
            <a:ahLst/>
            <a:cxnLst/>
            <a:rect l="l" t="t" r="r" b="b"/>
            <a:pathLst>
              <a:path w="1402492" h="2959444">
                <a:moveTo>
                  <a:pt x="0" y="37870"/>
                </a:moveTo>
                <a:lnTo>
                  <a:pt x="1402492" y="37870"/>
                </a:lnTo>
                <a:lnTo>
                  <a:pt x="1402492" y="0"/>
                </a:lnTo>
                <a:lnTo>
                  <a:pt x="0" y="0"/>
                </a:lnTo>
                <a:close/>
                <a:moveTo>
                  <a:pt x="1122231" y="170769"/>
                </a:moveTo>
                <a:cubicBezTo>
                  <a:pt x="1117181" y="170769"/>
                  <a:pt x="1113087" y="166675"/>
                  <a:pt x="1113087" y="161625"/>
                </a:cubicBezTo>
                <a:lnTo>
                  <a:pt x="1113087" y="88473"/>
                </a:lnTo>
                <a:cubicBezTo>
                  <a:pt x="1113087" y="83423"/>
                  <a:pt x="1117181" y="79329"/>
                  <a:pt x="1122231" y="79329"/>
                </a:cubicBezTo>
                <a:cubicBezTo>
                  <a:pt x="1127281" y="79329"/>
                  <a:pt x="1131375" y="83423"/>
                  <a:pt x="1131375" y="88473"/>
                </a:cubicBezTo>
                <a:lnTo>
                  <a:pt x="1131375" y="161625"/>
                </a:lnTo>
                <a:cubicBezTo>
                  <a:pt x="1131375" y="166675"/>
                  <a:pt x="1127281" y="170769"/>
                  <a:pt x="1122231" y="170769"/>
                </a:cubicBezTo>
                <a:close/>
                <a:moveTo>
                  <a:pt x="1094233" y="170769"/>
                </a:moveTo>
                <a:cubicBezTo>
                  <a:pt x="1089183" y="170769"/>
                  <a:pt x="1085089" y="166675"/>
                  <a:pt x="1085089" y="161625"/>
                </a:cubicBezTo>
                <a:lnTo>
                  <a:pt x="1085089" y="88473"/>
                </a:lnTo>
                <a:cubicBezTo>
                  <a:pt x="1085089" y="83423"/>
                  <a:pt x="1089183" y="79329"/>
                  <a:pt x="1094233" y="79329"/>
                </a:cubicBezTo>
                <a:cubicBezTo>
                  <a:pt x="1099283" y="79329"/>
                  <a:pt x="1103377" y="83423"/>
                  <a:pt x="1103377" y="88473"/>
                </a:cubicBezTo>
                <a:lnTo>
                  <a:pt x="1103377" y="161625"/>
                </a:lnTo>
                <a:cubicBezTo>
                  <a:pt x="1103377" y="166675"/>
                  <a:pt x="1099283" y="170769"/>
                  <a:pt x="1094233" y="170769"/>
                </a:cubicBezTo>
                <a:close/>
                <a:moveTo>
                  <a:pt x="1066239" y="170769"/>
                </a:moveTo>
                <a:cubicBezTo>
                  <a:pt x="1061189" y="170769"/>
                  <a:pt x="1057095" y="166675"/>
                  <a:pt x="1057095" y="161625"/>
                </a:cubicBezTo>
                <a:lnTo>
                  <a:pt x="1057095" y="88473"/>
                </a:lnTo>
                <a:cubicBezTo>
                  <a:pt x="1057095" y="83423"/>
                  <a:pt x="1061189" y="79329"/>
                  <a:pt x="1066239" y="79329"/>
                </a:cubicBezTo>
                <a:cubicBezTo>
                  <a:pt x="1071289" y="79329"/>
                  <a:pt x="1075383" y="83423"/>
                  <a:pt x="1075383" y="88473"/>
                </a:cubicBezTo>
                <a:lnTo>
                  <a:pt x="1075383" y="161625"/>
                </a:lnTo>
                <a:cubicBezTo>
                  <a:pt x="1075383" y="166675"/>
                  <a:pt x="1071289" y="170769"/>
                  <a:pt x="1066239" y="170769"/>
                </a:cubicBezTo>
                <a:close/>
                <a:moveTo>
                  <a:pt x="1038245" y="170769"/>
                </a:moveTo>
                <a:cubicBezTo>
                  <a:pt x="1033195" y="170769"/>
                  <a:pt x="1029101" y="166675"/>
                  <a:pt x="1029101" y="161625"/>
                </a:cubicBezTo>
                <a:lnTo>
                  <a:pt x="1029101" y="88473"/>
                </a:lnTo>
                <a:cubicBezTo>
                  <a:pt x="1029101" y="83423"/>
                  <a:pt x="1033195" y="79329"/>
                  <a:pt x="1038245" y="79329"/>
                </a:cubicBezTo>
                <a:cubicBezTo>
                  <a:pt x="1043295" y="79329"/>
                  <a:pt x="1047389" y="83423"/>
                  <a:pt x="1047389" y="88473"/>
                </a:cubicBezTo>
                <a:lnTo>
                  <a:pt x="1047389" y="161625"/>
                </a:lnTo>
                <a:cubicBezTo>
                  <a:pt x="1047389" y="166675"/>
                  <a:pt x="1043295" y="170769"/>
                  <a:pt x="1038245" y="170769"/>
                </a:cubicBezTo>
                <a:close/>
                <a:moveTo>
                  <a:pt x="1010251" y="170769"/>
                </a:moveTo>
                <a:cubicBezTo>
                  <a:pt x="1005201" y="170769"/>
                  <a:pt x="1001107" y="166675"/>
                  <a:pt x="1001107" y="161625"/>
                </a:cubicBezTo>
                <a:lnTo>
                  <a:pt x="1001107" y="88473"/>
                </a:lnTo>
                <a:cubicBezTo>
                  <a:pt x="1001107" y="83423"/>
                  <a:pt x="1005201" y="79329"/>
                  <a:pt x="1010251" y="79329"/>
                </a:cubicBezTo>
                <a:cubicBezTo>
                  <a:pt x="1015301" y="79329"/>
                  <a:pt x="1019395" y="83423"/>
                  <a:pt x="1019395" y="88473"/>
                </a:cubicBezTo>
                <a:lnTo>
                  <a:pt x="1019395" y="161625"/>
                </a:lnTo>
                <a:cubicBezTo>
                  <a:pt x="1019395" y="166675"/>
                  <a:pt x="1015301" y="170769"/>
                  <a:pt x="1010251" y="170769"/>
                </a:cubicBezTo>
                <a:close/>
                <a:moveTo>
                  <a:pt x="982257" y="170769"/>
                </a:moveTo>
                <a:cubicBezTo>
                  <a:pt x="977207" y="170769"/>
                  <a:pt x="973113" y="166675"/>
                  <a:pt x="973113" y="161625"/>
                </a:cubicBezTo>
                <a:lnTo>
                  <a:pt x="973113" y="88473"/>
                </a:lnTo>
                <a:cubicBezTo>
                  <a:pt x="973113" y="83423"/>
                  <a:pt x="977207" y="79329"/>
                  <a:pt x="982257" y="79329"/>
                </a:cubicBezTo>
                <a:cubicBezTo>
                  <a:pt x="987307" y="79329"/>
                  <a:pt x="991401" y="83423"/>
                  <a:pt x="991401" y="88473"/>
                </a:cubicBezTo>
                <a:lnTo>
                  <a:pt x="991401" y="161625"/>
                </a:lnTo>
                <a:cubicBezTo>
                  <a:pt x="991401" y="166675"/>
                  <a:pt x="987307" y="170769"/>
                  <a:pt x="982257" y="170769"/>
                </a:cubicBezTo>
                <a:close/>
                <a:moveTo>
                  <a:pt x="954263" y="170769"/>
                </a:moveTo>
                <a:cubicBezTo>
                  <a:pt x="949213" y="170769"/>
                  <a:pt x="945119" y="166675"/>
                  <a:pt x="945119" y="161625"/>
                </a:cubicBezTo>
                <a:lnTo>
                  <a:pt x="945119" y="88473"/>
                </a:lnTo>
                <a:cubicBezTo>
                  <a:pt x="945119" y="83423"/>
                  <a:pt x="949213" y="79329"/>
                  <a:pt x="954263" y="79329"/>
                </a:cubicBezTo>
                <a:cubicBezTo>
                  <a:pt x="959313" y="79329"/>
                  <a:pt x="963407" y="83423"/>
                  <a:pt x="963407" y="88473"/>
                </a:cubicBezTo>
                <a:lnTo>
                  <a:pt x="963407" y="161625"/>
                </a:lnTo>
                <a:cubicBezTo>
                  <a:pt x="963407" y="166675"/>
                  <a:pt x="959313" y="170769"/>
                  <a:pt x="954263" y="170769"/>
                </a:cubicBezTo>
                <a:close/>
                <a:moveTo>
                  <a:pt x="926269" y="170769"/>
                </a:moveTo>
                <a:cubicBezTo>
                  <a:pt x="921219" y="170769"/>
                  <a:pt x="917125" y="166675"/>
                  <a:pt x="917125" y="161625"/>
                </a:cubicBezTo>
                <a:lnTo>
                  <a:pt x="917125" y="88473"/>
                </a:lnTo>
                <a:cubicBezTo>
                  <a:pt x="917125" y="83423"/>
                  <a:pt x="921219" y="79329"/>
                  <a:pt x="926269" y="79329"/>
                </a:cubicBezTo>
                <a:cubicBezTo>
                  <a:pt x="931319" y="79329"/>
                  <a:pt x="935413" y="83423"/>
                  <a:pt x="935413" y="88473"/>
                </a:cubicBezTo>
                <a:lnTo>
                  <a:pt x="935413" y="161625"/>
                </a:lnTo>
                <a:cubicBezTo>
                  <a:pt x="935413" y="166675"/>
                  <a:pt x="931319" y="170769"/>
                  <a:pt x="926269" y="170769"/>
                </a:cubicBezTo>
                <a:close/>
                <a:moveTo>
                  <a:pt x="898275" y="170769"/>
                </a:moveTo>
                <a:cubicBezTo>
                  <a:pt x="893225" y="170769"/>
                  <a:pt x="889131" y="166675"/>
                  <a:pt x="889131" y="161625"/>
                </a:cubicBezTo>
                <a:lnTo>
                  <a:pt x="889131" y="88473"/>
                </a:lnTo>
                <a:cubicBezTo>
                  <a:pt x="889131" y="83423"/>
                  <a:pt x="893225" y="79329"/>
                  <a:pt x="898275" y="79329"/>
                </a:cubicBezTo>
                <a:cubicBezTo>
                  <a:pt x="903325" y="79329"/>
                  <a:pt x="907419" y="83423"/>
                  <a:pt x="907419" y="88473"/>
                </a:cubicBezTo>
                <a:lnTo>
                  <a:pt x="907419" y="161625"/>
                </a:lnTo>
                <a:cubicBezTo>
                  <a:pt x="907419" y="166675"/>
                  <a:pt x="903325" y="170769"/>
                  <a:pt x="898275" y="170769"/>
                </a:cubicBezTo>
                <a:close/>
                <a:moveTo>
                  <a:pt x="870281" y="170769"/>
                </a:moveTo>
                <a:cubicBezTo>
                  <a:pt x="865231" y="170769"/>
                  <a:pt x="861137" y="166675"/>
                  <a:pt x="861137" y="161625"/>
                </a:cubicBezTo>
                <a:lnTo>
                  <a:pt x="861137" y="88473"/>
                </a:lnTo>
                <a:cubicBezTo>
                  <a:pt x="861137" y="83423"/>
                  <a:pt x="865231" y="79329"/>
                  <a:pt x="870281" y="79329"/>
                </a:cubicBezTo>
                <a:cubicBezTo>
                  <a:pt x="875331" y="79329"/>
                  <a:pt x="879425" y="83423"/>
                  <a:pt x="879425" y="88473"/>
                </a:cubicBezTo>
                <a:lnTo>
                  <a:pt x="879425" y="161625"/>
                </a:lnTo>
                <a:cubicBezTo>
                  <a:pt x="879425" y="166675"/>
                  <a:pt x="875331" y="170769"/>
                  <a:pt x="870281" y="170769"/>
                </a:cubicBezTo>
                <a:close/>
                <a:moveTo>
                  <a:pt x="842287" y="170769"/>
                </a:moveTo>
                <a:cubicBezTo>
                  <a:pt x="837237" y="170769"/>
                  <a:pt x="833143" y="166675"/>
                  <a:pt x="833143" y="161625"/>
                </a:cubicBezTo>
                <a:lnTo>
                  <a:pt x="833143" y="88473"/>
                </a:lnTo>
                <a:cubicBezTo>
                  <a:pt x="833143" y="83423"/>
                  <a:pt x="837237" y="79329"/>
                  <a:pt x="842287" y="79329"/>
                </a:cubicBezTo>
                <a:cubicBezTo>
                  <a:pt x="847337" y="79329"/>
                  <a:pt x="851431" y="83423"/>
                  <a:pt x="851431" y="88473"/>
                </a:cubicBezTo>
                <a:lnTo>
                  <a:pt x="851431" y="161625"/>
                </a:lnTo>
                <a:cubicBezTo>
                  <a:pt x="851431" y="166675"/>
                  <a:pt x="847337" y="170769"/>
                  <a:pt x="842287" y="170769"/>
                </a:cubicBezTo>
                <a:close/>
                <a:moveTo>
                  <a:pt x="814293" y="170769"/>
                </a:moveTo>
                <a:cubicBezTo>
                  <a:pt x="809243" y="170769"/>
                  <a:pt x="805149" y="166675"/>
                  <a:pt x="805149" y="161625"/>
                </a:cubicBezTo>
                <a:lnTo>
                  <a:pt x="805149" y="88473"/>
                </a:lnTo>
                <a:cubicBezTo>
                  <a:pt x="805149" y="83423"/>
                  <a:pt x="809243" y="79329"/>
                  <a:pt x="814293" y="79329"/>
                </a:cubicBezTo>
                <a:cubicBezTo>
                  <a:pt x="819343" y="79329"/>
                  <a:pt x="823437" y="83423"/>
                  <a:pt x="823437" y="88473"/>
                </a:cubicBezTo>
                <a:lnTo>
                  <a:pt x="823437" y="161625"/>
                </a:lnTo>
                <a:cubicBezTo>
                  <a:pt x="823437" y="166675"/>
                  <a:pt x="819343" y="170769"/>
                  <a:pt x="814293" y="170769"/>
                </a:cubicBezTo>
                <a:close/>
                <a:moveTo>
                  <a:pt x="786299" y="170769"/>
                </a:moveTo>
                <a:cubicBezTo>
                  <a:pt x="781249" y="170769"/>
                  <a:pt x="777155" y="166675"/>
                  <a:pt x="777155" y="161625"/>
                </a:cubicBezTo>
                <a:lnTo>
                  <a:pt x="777155" y="88473"/>
                </a:lnTo>
                <a:cubicBezTo>
                  <a:pt x="777155" y="83423"/>
                  <a:pt x="781249" y="79329"/>
                  <a:pt x="786299" y="79329"/>
                </a:cubicBezTo>
                <a:cubicBezTo>
                  <a:pt x="791349" y="79329"/>
                  <a:pt x="795443" y="83423"/>
                  <a:pt x="795443" y="88473"/>
                </a:cubicBezTo>
                <a:lnTo>
                  <a:pt x="795443" y="161625"/>
                </a:lnTo>
                <a:cubicBezTo>
                  <a:pt x="795443" y="166675"/>
                  <a:pt x="791349" y="170769"/>
                  <a:pt x="786299" y="170769"/>
                </a:cubicBezTo>
                <a:close/>
                <a:moveTo>
                  <a:pt x="758305" y="170769"/>
                </a:moveTo>
                <a:cubicBezTo>
                  <a:pt x="753255" y="170769"/>
                  <a:pt x="749161" y="166675"/>
                  <a:pt x="749161" y="161625"/>
                </a:cubicBezTo>
                <a:lnTo>
                  <a:pt x="749161" y="88473"/>
                </a:lnTo>
                <a:cubicBezTo>
                  <a:pt x="749161" y="83423"/>
                  <a:pt x="753255" y="79329"/>
                  <a:pt x="758305" y="79329"/>
                </a:cubicBezTo>
                <a:cubicBezTo>
                  <a:pt x="763355" y="79329"/>
                  <a:pt x="767449" y="83423"/>
                  <a:pt x="767449" y="88473"/>
                </a:cubicBezTo>
                <a:lnTo>
                  <a:pt x="767449" y="161625"/>
                </a:lnTo>
                <a:cubicBezTo>
                  <a:pt x="767449" y="166675"/>
                  <a:pt x="763355" y="170769"/>
                  <a:pt x="758305" y="170769"/>
                </a:cubicBezTo>
                <a:close/>
                <a:moveTo>
                  <a:pt x="730311" y="170769"/>
                </a:moveTo>
                <a:cubicBezTo>
                  <a:pt x="725261" y="170769"/>
                  <a:pt x="721167" y="166675"/>
                  <a:pt x="721167" y="161625"/>
                </a:cubicBezTo>
                <a:lnTo>
                  <a:pt x="721167" y="88473"/>
                </a:lnTo>
                <a:cubicBezTo>
                  <a:pt x="721167" y="83423"/>
                  <a:pt x="725261" y="79329"/>
                  <a:pt x="730311" y="79329"/>
                </a:cubicBezTo>
                <a:cubicBezTo>
                  <a:pt x="735361" y="79329"/>
                  <a:pt x="739455" y="83423"/>
                  <a:pt x="739455" y="88473"/>
                </a:cubicBezTo>
                <a:lnTo>
                  <a:pt x="739455" y="161625"/>
                </a:lnTo>
                <a:cubicBezTo>
                  <a:pt x="739455" y="166675"/>
                  <a:pt x="735361" y="170769"/>
                  <a:pt x="730311" y="170769"/>
                </a:cubicBezTo>
                <a:close/>
                <a:moveTo>
                  <a:pt x="702317" y="170769"/>
                </a:moveTo>
                <a:cubicBezTo>
                  <a:pt x="697267" y="170769"/>
                  <a:pt x="693173" y="166675"/>
                  <a:pt x="693173" y="161625"/>
                </a:cubicBezTo>
                <a:lnTo>
                  <a:pt x="693173" y="88473"/>
                </a:lnTo>
                <a:cubicBezTo>
                  <a:pt x="693173" y="83423"/>
                  <a:pt x="697267" y="79329"/>
                  <a:pt x="702317" y="79329"/>
                </a:cubicBezTo>
                <a:cubicBezTo>
                  <a:pt x="707367" y="79329"/>
                  <a:pt x="711461" y="83423"/>
                  <a:pt x="711461" y="88473"/>
                </a:cubicBezTo>
                <a:lnTo>
                  <a:pt x="711461" y="161625"/>
                </a:lnTo>
                <a:cubicBezTo>
                  <a:pt x="711461" y="166675"/>
                  <a:pt x="707367" y="170769"/>
                  <a:pt x="702317" y="170769"/>
                </a:cubicBezTo>
                <a:close/>
                <a:moveTo>
                  <a:pt x="674323" y="170769"/>
                </a:moveTo>
                <a:cubicBezTo>
                  <a:pt x="669273" y="170769"/>
                  <a:pt x="665179" y="166675"/>
                  <a:pt x="665179" y="161625"/>
                </a:cubicBezTo>
                <a:lnTo>
                  <a:pt x="665179" y="88473"/>
                </a:lnTo>
                <a:cubicBezTo>
                  <a:pt x="665179" y="83423"/>
                  <a:pt x="669273" y="79329"/>
                  <a:pt x="674323" y="79329"/>
                </a:cubicBezTo>
                <a:cubicBezTo>
                  <a:pt x="679373" y="79329"/>
                  <a:pt x="683467" y="83423"/>
                  <a:pt x="683467" y="88473"/>
                </a:cubicBezTo>
                <a:lnTo>
                  <a:pt x="683467" y="161625"/>
                </a:lnTo>
                <a:cubicBezTo>
                  <a:pt x="683467" y="166675"/>
                  <a:pt x="679373" y="170769"/>
                  <a:pt x="674323" y="170769"/>
                </a:cubicBezTo>
                <a:close/>
                <a:moveTo>
                  <a:pt x="646329" y="170769"/>
                </a:moveTo>
                <a:cubicBezTo>
                  <a:pt x="641279" y="170769"/>
                  <a:pt x="637185" y="166675"/>
                  <a:pt x="637185" y="161625"/>
                </a:cubicBezTo>
                <a:lnTo>
                  <a:pt x="637185" y="88473"/>
                </a:lnTo>
                <a:cubicBezTo>
                  <a:pt x="637185" y="83423"/>
                  <a:pt x="641279" y="79329"/>
                  <a:pt x="646329" y="79329"/>
                </a:cubicBezTo>
                <a:cubicBezTo>
                  <a:pt x="651379" y="79329"/>
                  <a:pt x="655473" y="83423"/>
                  <a:pt x="655473" y="88473"/>
                </a:cubicBezTo>
                <a:lnTo>
                  <a:pt x="655473" y="161625"/>
                </a:lnTo>
                <a:cubicBezTo>
                  <a:pt x="655473" y="166675"/>
                  <a:pt x="651379" y="170769"/>
                  <a:pt x="646329" y="170769"/>
                </a:cubicBezTo>
                <a:close/>
                <a:moveTo>
                  <a:pt x="618335" y="170769"/>
                </a:moveTo>
                <a:cubicBezTo>
                  <a:pt x="613285" y="170769"/>
                  <a:pt x="609191" y="166675"/>
                  <a:pt x="609191" y="161625"/>
                </a:cubicBezTo>
                <a:lnTo>
                  <a:pt x="609191" y="88473"/>
                </a:lnTo>
                <a:cubicBezTo>
                  <a:pt x="609191" y="83423"/>
                  <a:pt x="613285" y="79329"/>
                  <a:pt x="618335" y="79329"/>
                </a:cubicBezTo>
                <a:cubicBezTo>
                  <a:pt x="623385" y="79329"/>
                  <a:pt x="627479" y="83423"/>
                  <a:pt x="627479" y="88473"/>
                </a:cubicBezTo>
                <a:lnTo>
                  <a:pt x="627479" y="161625"/>
                </a:lnTo>
                <a:cubicBezTo>
                  <a:pt x="627479" y="166675"/>
                  <a:pt x="623385" y="170769"/>
                  <a:pt x="618335" y="170769"/>
                </a:cubicBezTo>
                <a:close/>
                <a:moveTo>
                  <a:pt x="590341" y="170769"/>
                </a:moveTo>
                <a:cubicBezTo>
                  <a:pt x="585291" y="170769"/>
                  <a:pt x="581197" y="166675"/>
                  <a:pt x="581197" y="161625"/>
                </a:cubicBezTo>
                <a:lnTo>
                  <a:pt x="581197" y="88473"/>
                </a:lnTo>
                <a:cubicBezTo>
                  <a:pt x="581197" y="83423"/>
                  <a:pt x="585291" y="79329"/>
                  <a:pt x="590341" y="79329"/>
                </a:cubicBezTo>
                <a:cubicBezTo>
                  <a:pt x="595391" y="79329"/>
                  <a:pt x="599485" y="83423"/>
                  <a:pt x="599485" y="88473"/>
                </a:cubicBezTo>
                <a:lnTo>
                  <a:pt x="599485" y="161625"/>
                </a:lnTo>
                <a:cubicBezTo>
                  <a:pt x="599485" y="166675"/>
                  <a:pt x="595391" y="170769"/>
                  <a:pt x="590341" y="170769"/>
                </a:cubicBezTo>
                <a:close/>
                <a:moveTo>
                  <a:pt x="562347" y="170769"/>
                </a:moveTo>
                <a:cubicBezTo>
                  <a:pt x="557297" y="170769"/>
                  <a:pt x="553203" y="166675"/>
                  <a:pt x="553203" y="161625"/>
                </a:cubicBezTo>
                <a:lnTo>
                  <a:pt x="553203" y="88473"/>
                </a:lnTo>
                <a:cubicBezTo>
                  <a:pt x="553203" y="83423"/>
                  <a:pt x="557297" y="79329"/>
                  <a:pt x="562347" y="79329"/>
                </a:cubicBezTo>
                <a:cubicBezTo>
                  <a:pt x="567397" y="79329"/>
                  <a:pt x="571491" y="83423"/>
                  <a:pt x="571491" y="88473"/>
                </a:cubicBezTo>
                <a:lnTo>
                  <a:pt x="571491" y="161625"/>
                </a:lnTo>
                <a:cubicBezTo>
                  <a:pt x="571491" y="166675"/>
                  <a:pt x="567397" y="170769"/>
                  <a:pt x="562347" y="170769"/>
                </a:cubicBezTo>
                <a:close/>
                <a:moveTo>
                  <a:pt x="534353" y="170769"/>
                </a:moveTo>
                <a:cubicBezTo>
                  <a:pt x="529303" y="170769"/>
                  <a:pt x="525209" y="166675"/>
                  <a:pt x="525209" y="161625"/>
                </a:cubicBezTo>
                <a:lnTo>
                  <a:pt x="525209" y="88473"/>
                </a:lnTo>
                <a:cubicBezTo>
                  <a:pt x="525209" y="83423"/>
                  <a:pt x="529303" y="79329"/>
                  <a:pt x="534353" y="79329"/>
                </a:cubicBezTo>
                <a:cubicBezTo>
                  <a:pt x="539403" y="79329"/>
                  <a:pt x="543497" y="83423"/>
                  <a:pt x="543497" y="88473"/>
                </a:cubicBezTo>
                <a:lnTo>
                  <a:pt x="543497" y="161625"/>
                </a:lnTo>
                <a:cubicBezTo>
                  <a:pt x="543497" y="166675"/>
                  <a:pt x="539403" y="170769"/>
                  <a:pt x="534353" y="170769"/>
                </a:cubicBezTo>
                <a:close/>
                <a:moveTo>
                  <a:pt x="506359" y="170769"/>
                </a:moveTo>
                <a:cubicBezTo>
                  <a:pt x="501309" y="170769"/>
                  <a:pt x="497215" y="166675"/>
                  <a:pt x="497215" y="161625"/>
                </a:cubicBezTo>
                <a:lnTo>
                  <a:pt x="497215" y="88473"/>
                </a:lnTo>
                <a:cubicBezTo>
                  <a:pt x="497215" y="83423"/>
                  <a:pt x="501309" y="79329"/>
                  <a:pt x="506359" y="79329"/>
                </a:cubicBezTo>
                <a:cubicBezTo>
                  <a:pt x="511409" y="79329"/>
                  <a:pt x="515503" y="83423"/>
                  <a:pt x="515503" y="88473"/>
                </a:cubicBezTo>
                <a:lnTo>
                  <a:pt x="515503" y="161625"/>
                </a:lnTo>
                <a:cubicBezTo>
                  <a:pt x="515503" y="166675"/>
                  <a:pt x="511409" y="170769"/>
                  <a:pt x="506359" y="170769"/>
                </a:cubicBezTo>
                <a:close/>
                <a:moveTo>
                  <a:pt x="478365" y="170769"/>
                </a:moveTo>
                <a:cubicBezTo>
                  <a:pt x="473315" y="170769"/>
                  <a:pt x="469221" y="166675"/>
                  <a:pt x="469221" y="161625"/>
                </a:cubicBezTo>
                <a:lnTo>
                  <a:pt x="469221" y="88473"/>
                </a:lnTo>
                <a:cubicBezTo>
                  <a:pt x="469221" y="83423"/>
                  <a:pt x="473315" y="79329"/>
                  <a:pt x="478365" y="79329"/>
                </a:cubicBezTo>
                <a:cubicBezTo>
                  <a:pt x="483415" y="79329"/>
                  <a:pt x="487509" y="83423"/>
                  <a:pt x="487509" y="88473"/>
                </a:cubicBezTo>
                <a:lnTo>
                  <a:pt x="487509" y="161625"/>
                </a:lnTo>
                <a:cubicBezTo>
                  <a:pt x="487509" y="166675"/>
                  <a:pt x="483415" y="170769"/>
                  <a:pt x="478365" y="170769"/>
                </a:cubicBezTo>
                <a:close/>
                <a:moveTo>
                  <a:pt x="450371" y="170769"/>
                </a:moveTo>
                <a:cubicBezTo>
                  <a:pt x="445321" y="170769"/>
                  <a:pt x="441227" y="166675"/>
                  <a:pt x="441227" y="161625"/>
                </a:cubicBezTo>
                <a:lnTo>
                  <a:pt x="441227" y="88473"/>
                </a:lnTo>
                <a:cubicBezTo>
                  <a:pt x="441227" y="83423"/>
                  <a:pt x="445321" y="79329"/>
                  <a:pt x="450371" y="79329"/>
                </a:cubicBezTo>
                <a:cubicBezTo>
                  <a:pt x="455421" y="79329"/>
                  <a:pt x="459515" y="83423"/>
                  <a:pt x="459515" y="88473"/>
                </a:cubicBezTo>
                <a:lnTo>
                  <a:pt x="459515" y="161625"/>
                </a:lnTo>
                <a:cubicBezTo>
                  <a:pt x="459515" y="166675"/>
                  <a:pt x="455421" y="170769"/>
                  <a:pt x="450371" y="170769"/>
                </a:cubicBezTo>
                <a:close/>
                <a:moveTo>
                  <a:pt x="422377" y="170769"/>
                </a:moveTo>
                <a:cubicBezTo>
                  <a:pt x="417327" y="170769"/>
                  <a:pt x="413233" y="166675"/>
                  <a:pt x="413233" y="161625"/>
                </a:cubicBezTo>
                <a:lnTo>
                  <a:pt x="413233" y="88473"/>
                </a:lnTo>
                <a:cubicBezTo>
                  <a:pt x="413233" y="83423"/>
                  <a:pt x="417327" y="79329"/>
                  <a:pt x="422377" y="79329"/>
                </a:cubicBezTo>
                <a:cubicBezTo>
                  <a:pt x="427427" y="79329"/>
                  <a:pt x="431521" y="83423"/>
                  <a:pt x="431521" y="88473"/>
                </a:cubicBezTo>
                <a:lnTo>
                  <a:pt x="431521" y="161625"/>
                </a:lnTo>
                <a:cubicBezTo>
                  <a:pt x="431521" y="166675"/>
                  <a:pt x="427427" y="170769"/>
                  <a:pt x="422377" y="170769"/>
                </a:cubicBezTo>
                <a:close/>
                <a:moveTo>
                  <a:pt x="394383" y="170769"/>
                </a:moveTo>
                <a:cubicBezTo>
                  <a:pt x="389333" y="170769"/>
                  <a:pt x="385239" y="166675"/>
                  <a:pt x="385239" y="161625"/>
                </a:cubicBezTo>
                <a:lnTo>
                  <a:pt x="385239" y="88473"/>
                </a:lnTo>
                <a:cubicBezTo>
                  <a:pt x="385239" y="83423"/>
                  <a:pt x="389333" y="79329"/>
                  <a:pt x="394383" y="79329"/>
                </a:cubicBezTo>
                <a:cubicBezTo>
                  <a:pt x="399433" y="79329"/>
                  <a:pt x="403527" y="83423"/>
                  <a:pt x="403527" y="88473"/>
                </a:cubicBezTo>
                <a:lnTo>
                  <a:pt x="403527" y="161625"/>
                </a:lnTo>
                <a:cubicBezTo>
                  <a:pt x="403527" y="166675"/>
                  <a:pt x="399433" y="170769"/>
                  <a:pt x="394383" y="170769"/>
                </a:cubicBezTo>
                <a:close/>
                <a:moveTo>
                  <a:pt x="366389" y="170769"/>
                </a:moveTo>
                <a:cubicBezTo>
                  <a:pt x="361339" y="170769"/>
                  <a:pt x="357245" y="166675"/>
                  <a:pt x="357245" y="161625"/>
                </a:cubicBezTo>
                <a:lnTo>
                  <a:pt x="357245" y="88473"/>
                </a:lnTo>
                <a:cubicBezTo>
                  <a:pt x="357245" y="83423"/>
                  <a:pt x="361339" y="79329"/>
                  <a:pt x="366389" y="79329"/>
                </a:cubicBezTo>
                <a:cubicBezTo>
                  <a:pt x="371439" y="79329"/>
                  <a:pt x="375533" y="83423"/>
                  <a:pt x="375533" y="88473"/>
                </a:cubicBezTo>
                <a:lnTo>
                  <a:pt x="375533" y="161625"/>
                </a:lnTo>
                <a:cubicBezTo>
                  <a:pt x="375533" y="166675"/>
                  <a:pt x="371439" y="170769"/>
                  <a:pt x="366389" y="170769"/>
                </a:cubicBezTo>
                <a:close/>
                <a:moveTo>
                  <a:pt x="338395" y="170769"/>
                </a:moveTo>
                <a:cubicBezTo>
                  <a:pt x="333345" y="170769"/>
                  <a:pt x="329251" y="166675"/>
                  <a:pt x="329251" y="161625"/>
                </a:cubicBezTo>
                <a:lnTo>
                  <a:pt x="329251" y="88473"/>
                </a:lnTo>
                <a:cubicBezTo>
                  <a:pt x="329251" y="83423"/>
                  <a:pt x="333345" y="79329"/>
                  <a:pt x="338395" y="79329"/>
                </a:cubicBezTo>
                <a:cubicBezTo>
                  <a:pt x="343445" y="79329"/>
                  <a:pt x="347539" y="83423"/>
                  <a:pt x="347539" y="88473"/>
                </a:cubicBezTo>
                <a:lnTo>
                  <a:pt x="347539" y="161625"/>
                </a:lnTo>
                <a:cubicBezTo>
                  <a:pt x="347539" y="166675"/>
                  <a:pt x="343445" y="170769"/>
                  <a:pt x="338395" y="170769"/>
                </a:cubicBezTo>
                <a:close/>
                <a:moveTo>
                  <a:pt x="310401" y="170769"/>
                </a:moveTo>
                <a:cubicBezTo>
                  <a:pt x="305351" y="170769"/>
                  <a:pt x="301257" y="166675"/>
                  <a:pt x="301257" y="161625"/>
                </a:cubicBezTo>
                <a:lnTo>
                  <a:pt x="301257" y="88473"/>
                </a:lnTo>
                <a:cubicBezTo>
                  <a:pt x="301257" y="83423"/>
                  <a:pt x="305351" y="79329"/>
                  <a:pt x="310401" y="79329"/>
                </a:cubicBezTo>
                <a:cubicBezTo>
                  <a:pt x="315451" y="79329"/>
                  <a:pt x="319545" y="83423"/>
                  <a:pt x="319545" y="88473"/>
                </a:cubicBezTo>
                <a:lnTo>
                  <a:pt x="319545" y="161625"/>
                </a:lnTo>
                <a:cubicBezTo>
                  <a:pt x="319545" y="166675"/>
                  <a:pt x="315451" y="170769"/>
                  <a:pt x="310401" y="170769"/>
                </a:cubicBezTo>
                <a:close/>
                <a:moveTo>
                  <a:pt x="282407" y="170769"/>
                </a:moveTo>
                <a:cubicBezTo>
                  <a:pt x="277357" y="170769"/>
                  <a:pt x="273263" y="166675"/>
                  <a:pt x="273263" y="161625"/>
                </a:cubicBezTo>
                <a:lnTo>
                  <a:pt x="273263" y="88473"/>
                </a:lnTo>
                <a:cubicBezTo>
                  <a:pt x="273263" y="83423"/>
                  <a:pt x="277357" y="79329"/>
                  <a:pt x="282407" y="79329"/>
                </a:cubicBezTo>
                <a:cubicBezTo>
                  <a:pt x="287457" y="79329"/>
                  <a:pt x="291551" y="83423"/>
                  <a:pt x="291551" y="88473"/>
                </a:cubicBezTo>
                <a:lnTo>
                  <a:pt x="291551" y="161625"/>
                </a:lnTo>
                <a:cubicBezTo>
                  <a:pt x="291551" y="166675"/>
                  <a:pt x="287457" y="170769"/>
                  <a:pt x="282407" y="170769"/>
                </a:cubicBezTo>
                <a:close/>
                <a:moveTo>
                  <a:pt x="0" y="187436"/>
                </a:moveTo>
                <a:lnTo>
                  <a:pt x="1402492" y="187436"/>
                </a:lnTo>
                <a:lnTo>
                  <a:pt x="1402492" y="56158"/>
                </a:lnTo>
                <a:lnTo>
                  <a:pt x="0" y="56158"/>
                </a:lnTo>
                <a:close/>
                <a:moveTo>
                  <a:pt x="448311" y="646221"/>
                </a:moveTo>
                <a:cubicBezTo>
                  <a:pt x="435378" y="646221"/>
                  <a:pt x="424893" y="635736"/>
                  <a:pt x="424893" y="622803"/>
                </a:cubicBezTo>
                <a:lnTo>
                  <a:pt x="424893" y="400558"/>
                </a:lnTo>
                <a:cubicBezTo>
                  <a:pt x="424893" y="387625"/>
                  <a:pt x="435378" y="377140"/>
                  <a:pt x="448311" y="377140"/>
                </a:cubicBezTo>
                <a:lnTo>
                  <a:pt x="1211100" y="377140"/>
                </a:lnTo>
                <a:cubicBezTo>
                  <a:pt x="1224033" y="377140"/>
                  <a:pt x="1234518" y="387625"/>
                  <a:pt x="1234518" y="400558"/>
                </a:cubicBezTo>
                <a:lnTo>
                  <a:pt x="1234518" y="622803"/>
                </a:lnTo>
                <a:cubicBezTo>
                  <a:pt x="1234518" y="635736"/>
                  <a:pt x="1224033" y="646221"/>
                  <a:pt x="1211100" y="646221"/>
                </a:cubicBezTo>
                <a:close/>
                <a:moveTo>
                  <a:pt x="1157297" y="896251"/>
                </a:moveTo>
                <a:cubicBezTo>
                  <a:pt x="1142981" y="896251"/>
                  <a:pt x="1131375" y="884645"/>
                  <a:pt x="1131375" y="870329"/>
                </a:cubicBezTo>
                <a:lnTo>
                  <a:pt x="1131375" y="765012"/>
                </a:lnTo>
                <a:cubicBezTo>
                  <a:pt x="1131375" y="750696"/>
                  <a:pt x="1142981" y="739090"/>
                  <a:pt x="1157297" y="739090"/>
                </a:cubicBezTo>
                <a:lnTo>
                  <a:pt x="1260983" y="739090"/>
                </a:lnTo>
                <a:cubicBezTo>
                  <a:pt x="1275299" y="739090"/>
                  <a:pt x="1286905" y="750696"/>
                  <a:pt x="1286905" y="765012"/>
                </a:cubicBezTo>
                <a:lnTo>
                  <a:pt x="1286905" y="870329"/>
                </a:lnTo>
                <a:cubicBezTo>
                  <a:pt x="1286905" y="884645"/>
                  <a:pt x="1275299" y="896251"/>
                  <a:pt x="1260983" y="896251"/>
                </a:cubicBezTo>
                <a:close/>
                <a:moveTo>
                  <a:pt x="193380" y="1417901"/>
                </a:moveTo>
                <a:lnTo>
                  <a:pt x="236685" y="1417901"/>
                </a:lnTo>
                <a:lnTo>
                  <a:pt x="276969" y="1362511"/>
                </a:lnTo>
                <a:lnTo>
                  <a:pt x="276969" y="1190793"/>
                </a:lnTo>
                <a:lnTo>
                  <a:pt x="319776" y="1190793"/>
                </a:lnTo>
                <a:lnTo>
                  <a:pt x="319049" y="1364525"/>
                </a:lnTo>
                <a:lnTo>
                  <a:pt x="355305" y="1417901"/>
                </a:lnTo>
                <a:lnTo>
                  <a:pt x="398610" y="1417901"/>
                </a:lnTo>
                <a:lnTo>
                  <a:pt x="438894" y="1362511"/>
                </a:lnTo>
                <a:lnTo>
                  <a:pt x="438894" y="1190793"/>
                </a:lnTo>
                <a:lnTo>
                  <a:pt x="486464" y="1190793"/>
                </a:lnTo>
                <a:lnTo>
                  <a:pt x="485737" y="1364525"/>
                </a:lnTo>
                <a:lnTo>
                  <a:pt x="521993" y="1417901"/>
                </a:lnTo>
                <a:lnTo>
                  <a:pt x="565298" y="1417901"/>
                </a:lnTo>
                <a:lnTo>
                  <a:pt x="605582" y="1362511"/>
                </a:lnTo>
                <a:lnTo>
                  <a:pt x="605582" y="1190793"/>
                </a:lnTo>
                <a:lnTo>
                  <a:pt x="658202" y="1190793"/>
                </a:lnTo>
                <a:lnTo>
                  <a:pt x="657475" y="1364525"/>
                </a:lnTo>
                <a:lnTo>
                  <a:pt x="693731" y="1417901"/>
                </a:lnTo>
                <a:lnTo>
                  <a:pt x="737036" y="1417901"/>
                </a:lnTo>
                <a:lnTo>
                  <a:pt x="777320" y="1362511"/>
                </a:lnTo>
                <a:lnTo>
                  <a:pt x="777320" y="1190793"/>
                </a:lnTo>
                <a:lnTo>
                  <a:pt x="811843" y="1190793"/>
                </a:lnTo>
                <a:lnTo>
                  <a:pt x="811843" y="1092914"/>
                </a:lnTo>
                <a:lnTo>
                  <a:pt x="126043" y="1092914"/>
                </a:lnTo>
                <a:lnTo>
                  <a:pt x="126043" y="1190793"/>
                </a:lnTo>
                <a:lnTo>
                  <a:pt x="157851" y="1190793"/>
                </a:lnTo>
                <a:lnTo>
                  <a:pt x="157124" y="1364525"/>
                </a:lnTo>
                <a:close/>
                <a:moveTo>
                  <a:pt x="715384" y="1461206"/>
                </a:moveTo>
                <a:lnTo>
                  <a:pt x="733542" y="1459289"/>
                </a:lnTo>
                <a:lnTo>
                  <a:pt x="739046" y="1457208"/>
                </a:lnTo>
                <a:lnTo>
                  <a:pt x="741065" y="1454659"/>
                </a:lnTo>
                <a:lnTo>
                  <a:pt x="741065" y="1428476"/>
                </a:lnTo>
                <a:lnTo>
                  <a:pt x="739046" y="1425927"/>
                </a:lnTo>
                <a:lnTo>
                  <a:pt x="733542" y="1423846"/>
                </a:lnTo>
                <a:cubicBezTo>
                  <a:pt x="728894" y="1422661"/>
                  <a:pt x="722474" y="1421929"/>
                  <a:pt x="715384" y="1421929"/>
                </a:cubicBezTo>
                <a:cubicBezTo>
                  <a:pt x="704748" y="1421929"/>
                  <a:pt x="695620" y="1423577"/>
                  <a:pt x="691721" y="1425927"/>
                </a:cubicBezTo>
                <a:cubicBezTo>
                  <a:pt x="690421" y="1426711"/>
                  <a:pt x="689703" y="1427572"/>
                  <a:pt x="689703" y="1428476"/>
                </a:cubicBezTo>
                <a:lnTo>
                  <a:pt x="689703" y="1454659"/>
                </a:lnTo>
                <a:cubicBezTo>
                  <a:pt x="689703" y="1456467"/>
                  <a:pt x="692578" y="1458104"/>
                  <a:pt x="697225" y="1459289"/>
                </a:cubicBezTo>
                <a:cubicBezTo>
                  <a:pt x="701873" y="1460473"/>
                  <a:pt x="708293" y="1461206"/>
                  <a:pt x="715384" y="1461206"/>
                </a:cubicBezTo>
                <a:close/>
                <a:moveTo>
                  <a:pt x="543646" y="1461206"/>
                </a:moveTo>
                <a:lnTo>
                  <a:pt x="561804" y="1459289"/>
                </a:lnTo>
                <a:lnTo>
                  <a:pt x="567308" y="1457208"/>
                </a:lnTo>
                <a:lnTo>
                  <a:pt x="569327" y="1454659"/>
                </a:lnTo>
                <a:lnTo>
                  <a:pt x="569327" y="1428476"/>
                </a:lnTo>
                <a:lnTo>
                  <a:pt x="567308" y="1425927"/>
                </a:lnTo>
                <a:lnTo>
                  <a:pt x="561804" y="1423846"/>
                </a:lnTo>
                <a:cubicBezTo>
                  <a:pt x="557156" y="1422661"/>
                  <a:pt x="550736" y="1421929"/>
                  <a:pt x="543646" y="1421929"/>
                </a:cubicBezTo>
                <a:cubicBezTo>
                  <a:pt x="533010" y="1421929"/>
                  <a:pt x="523882" y="1423577"/>
                  <a:pt x="519983" y="1425927"/>
                </a:cubicBezTo>
                <a:cubicBezTo>
                  <a:pt x="518683" y="1426711"/>
                  <a:pt x="517965" y="1427572"/>
                  <a:pt x="517965" y="1428476"/>
                </a:cubicBezTo>
                <a:lnTo>
                  <a:pt x="517965" y="1454659"/>
                </a:lnTo>
                <a:cubicBezTo>
                  <a:pt x="517965" y="1456467"/>
                  <a:pt x="520840" y="1458104"/>
                  <a:pt x="525487" y="1459289"/>
                </a:cubicBezTo>
                <a:cubicBezTo>
                  <a:pt x="530135" y="1460473"/>
                  <a:pt x="536555" y="1461206"/>
                  <a:pt x="543646" y="1461206"/>
                </a:cubicBezTo>
                <a:close/>
                <a:moveTo>
                  <a:pt x="376958" y="1461206"/>
                </a:moveTo>
                <a:lnTo>
                  <a:pt x="395116" y="1459289"/>
                </a:lnTo>
                <a:lnTo>
                  <a:pt x="400620" y="1457208"/>
                </a:lnTo>
                <a:lnTo>
                  <a:pt x="402639" y="1454659"/>
                </a:lnTo>
                <a:lnTo>
                  <a:pt x="402639" y="1428476"/>
                </a:lnTo>
                <a:lnTo>
                  <a:pt x="400620" y="1425927"/>
                </a:lnTo>
                <a:lnTo>
                  <a:pt x="395116" y="1423846"/>
                </a:lnTo>
                <a:cubicBezTo>
                  <a:pt x="390468" y="1422661"/>
                  <a:pt x="384048" y="1421929"/>
                  <a:pt x="376958" y="1421929"/>
                </a:cubicBezTo>
                <a:cubicBezTo>
                  <a:pt x="366322" y="1421929"/>
                  <a:pt x="357194" y="1423577"/>
                  <a:pt x="353295" y="1425927"/>
                </a:cubicBezTo>
                <a:cubicBezTo>
                  <a:pt x="351995" y="1426711"/>
                  <a:pt x="351277" y="1427572"/>
                  <a:pt x="351277" y="1428476"/>
                </a:cubicBezTo>
                <a:lnTo>
                  <a:pt x="351277" y="1454659"/>
                </a:lnTo>
                <a:cubicBezTo>
                  <a:pt x="351277" y="1456467"/>
                  <a:pt x="354152" y="1458104"/>
                  <a:pt x="358799" y="1459289"/>
                </a:cubicBezTo>
                <a:cubicBezTo>
                  <a:pt x="363447" y="1460473"/>
                  <a:pt x="369867" y="1461206"/>
                  <a:pt x="376958" y="1461206"/>
                </a:cubicBezTo>
                <a:close/>
                <a:moveTo>
                  <a:pt x="215033" y="1461206"/>
                </a:moveTo>
                <a:lnTo>
                  <a:pt x="233191" y="1459289"/>
                </a:lnTo>
                <a:lnTo>
                  <a:pt x="238695" y="1457208"/>
                </a:lnTo>
                <a:lnTo>
                  <a:pt x="240714" y="1454659"/>
                </a:lnTo>
                <a:lnTo>
                  <a:pt x="240714" y="1428476"/>
                </a:lnTo>
                <a:lnTo>
                  <a:pt x="238695" y="1425927"/>
                </a:lnTo>
                <a:lnTo>
                  <a:pt x="233191" y="1423846"/>
                </a:lnTo>
                <a:cubicBezTo>
                  <a:pt x="228543" y="1422661"/>
                  <a:pt x="222123" y="1421929"/>
                  <a:pt x="215033" y="1421929"/>
                </a:cubicBezTo>
                <a:cubicBezTo>
                  <a:pt x="204397" y="1421929"/>
                  <a:pt x="195269" y="1423577"/>
                  <a:pt x="191370" y="1425927"/>
                </a:cubicBezTo>
                <a:cubicBezTo>
                  <a:pt x="190070" y="1426711"/>
                  <a:pt x="189352" y="1427572"/>
                  <a:pt x="189352" y="1428476"/>
                </a:cubicBezTo>
                <a:lnTo>
                  <a:pt x="189352" y="1454659"/>
                </a:lnTo>
                <a:cubicBezTo>
                  <a:pt x="189352" y="1456467"/>
                  <a:pt x="192227" y="1458104"/>
                  <a:pt x="196874" y="1459289"/>
                </a:cubicBezTo>
                <a:cubicBezTo>
                  <a:pt x="201522" y="1460473"/>
                  <a:pt x="207942" y="1461206"/>
                  <a:pt x="215033" y="1461206"/>
                </a:cubicBezTo>
                <a:close/>
                <a:moveTo>
                  <a:pt x="486552" y="1531448"/>
                </a:moveTo>
                <a:cubicBezTo>
                  <a:pt x="486158" y="1531123"/>
                  <a:pt x="486146" y="1530770"/>
                  <a:pt x="486146" y="1530415"/>
                </a:cubicBezTo>
                <a:lnTo>
                  <a:pt x="486560" y="1529359"/>
                </a:lnTo>
                <a:close/>
                <a:moveTo>
                  <a:pt x="319858" y="1532686"/>
                </a:moveTo>
                <a:cubicBezTo>
                  <a:pt x="319027" y="1532018"/>
                  <a:pt x="318967" y="1531224"/>
                  <a:pt x="318967" y="1530415"/>
                </a:cubicBezTo>
                <a:lnTo>
                  <a:pt x="319878" y="1528094"/>
                </a:lnTo>
                <a:close/>
                <a:moveTo>
                  <a:pt x="157929" y="1533624"/>
                </a:moveTo>
                <a:cubicBezTo>
                  <a:pt x="156796" y="1532725"/>
                  <a:pt x="156670" y="1531585"/>
                  <a:pt x="156670" y="1530415"/>
                </a:cubicBezTo>
                <a:lnTo>
                  <a:pt x="157957" y="1527136"/>
                </a:lnTo>
                <a:close/>
                <a:moveTo>
                  <a:pt x="658276" y="1534776"/>
                </a:moveTo>
                <a:cubicBezTo>
                  <a:pt x="656808" y="1533616"/>
                  <a:pt x="656564" y="1532045"/>
                  <a:pt x="656564" y="1530415"/>
                </a:cubicBezTo>
                <a:lnTo>
                  <a:pt x="658313" y="1525960"/>
                </a:lnTo>
                <a:close/>
                <a:moveTo>
                  <a:pt x="1191766" y="1623750"/>
                </a:moveTo>
                <a:lnTo>
                  <a:pt x="1199790" y="1623750"/>
                </a:lnTo>
                <a:lnTo>
                  <a:pt x="1199790" y="1566817"/>
                </a:lnTo>
                <a:lnTo>
                  <a:pt x="1191766" y="1566817"/>
                </a:lnTo>
                <a:close/>
                <a:moveTo>
                  <a:pt x="1197062" y="1639589"/>
                </a:moveTo>
                <a:cubicBezTo>
                  <a:pt x="1172200" y="1639589"/>
                  <a:pt x="1152046" y="1619435"/>
                  <a:pt x="1152046" y="1594573"/>
                </a:cubicBezTo>
                <a:cubicBezTo>
                  <a:pt x="1152046" y="1569711"/>
                  <a:pt x="1172200" y="1549557"/>
                  <a:pt x="1197062" y="1549557"/>
                </a:cubicBezTo>
                <a:cubicBezTo>
                  <a:pt x="1221924" y="1549557"/>
                  <a:pt x="1242079" y="1569711"/>
                  <a:pt x="1242079" y="1594573"/>
                </a:cubicBezTo>
                <a:cubicBezTo>
                  <a:pt x="1242079" y="1619435"/>
                  <a:pt x="1221924" y="1639589"/>
                  <a:pt x="1197062" y="1639589"/>
                </a:cubicBezTo>
                <a:close/>
                <a:moveTo>
                  <a:pt x="193380" y="1779536"/>
                </a:moveTo>
                <a:lnTo>
                  <a:pt x="236685" y="1779536"/>
                </a:lnTo>
                <a:lnTo>
                  <a:pt x="276969" y="1724146"/>
                </a:lnTo>
                <a:lnTo>
                  <a:pt x="276969" y="1571626"/>
                </a:lnTo>
                <a:lnTo>
                  <a:pt x="319696" y="1571626"/>
                </a:lnTo>
                <a:lnTo>
                  <a:pt x="319049" y="1726160"/>
                </a:lnTo>
                <a:lnTo>
                  <a:pt x="355305" y="1779536"/>
                </a:lnTo>
                <a:lnTo>
                  <a:pt x="398610" y="1779536"/>
                </a:lnTo>
                <a:lnTo>
                  <a:pt x="438894" y="1724146"/>
                </a:lnTo>
                <a:lnTo>
                  <a:pt x="438894" y="1571626"/>
                </a:lnTo>
                <a:lnTo>
                  <a:pt x="486384" y="1571626"/>
                </a:lnTo>
                <a:lnTo>
                  <a:pt x="485737" y="1726160"/>
                </a:lnTo>
                <a:lnTo>
                  <a:pt x="521993" y="1779536"/>
                </a:lnTo>
                <a:lnTo>
                  <a:pt x="565298" y="1779536"/>
                </a:lnTo>
                <a:lnTo>
                  <a:pt x="605582" y="1724146"/>
                </a:lnTo>
                <a:lnTo>
                  <a:pt x="605582" y="1571626"/>
                </a:lnTo>
                <a:lnTo>
                  <a:pt x="658122" y="1571626"/>
                </a:lnTo>
                <a:lnTo>
                  <a:pt x="657475" y="1726160"/>
                </a:lnTo>
                <a:lnTo>
                  <a:pt x="693731" y="1779536"/>
                </a:lnTo>
                <a:lnTo>
                  <a:pt x="737036" y="1779536"/>
                </a:lnTo>
                <a:lnTo>
                  <a:pt x="777320" y="1724146"/>
                </a:lnTo>
                <a:lnTo>
                  <a:pt x="777320" y="1571626"/>
                </a:lnTo>
                <a:lnTo>
                  <a:pt x="807081" y="1571626"/>
                </a:lnTo>
                <a:lnTo>
                  <a:pt x="807081" y="1473747"/>
                </a:lnTo>
                <a:lnTo>
                  <a:pt x="121281" y="1473747"/>
                </a:lnTo>
                <a:lnTo>
                  <a:pt x="121281" y="1571626"/>
                </a:lnTo>
                <a:lnTo>
                  <a:pt x="157771" y="1571626"/>
                </a:lnTo>
                <a:lnTo>
                  <a:pt x="157124" y="1726160"/>
                </a:lnTo>
                <a:close/>
                <a:moveTo>
                  <a:pt x="715384" y="1822841"/>
                </a:moveTo>
                <a:lnTo>
                  <a:pt x="733542" y="1820924"/>
                </a:lnTo>
                <a:lnTo>
                  <a:pt x="739046" y="1818843"/>
                </a:lnTo>
                <a:lnTo>
                  <a:pt x="741065" y="1816294"/>
                </a:lnTo>
                <a:lnTo>
                  <a:pt x="741065" y="1790112"/>
                </a:lnTo>
                <a:lnTo>
                  <a:pt x="739046" y="1787563"/>
                </a:lnTo>
                <a:lnTo>
                  <a:pt x="733542" y="1785481"/>
                </a:lnTo>
                <a:cubicBezTo>
                  <a:pt x="728894" y="1784297"/>
                  <a:pt x="722474" y="1783564"/>
                  <a:pt x="715384" y="1783564"/>
                </a:cubicBezTo>
                <a:cubicBezTo>
                  <a:pt x="704748" y="1783564"/>
                  <a:pt x="695620" y="1785212"/>
                  <a:pt x="691721" y="1787563"/>
                </a:cubicBezTo>
                <a:cubicBezTo>
                  <a:pt x="690421" y="1788346"/>
                  <a:pt x="689703" y="1789207"/>
                  <a:pt x="689703" y="1790112"/>
                </a:cubicBezTo>
                <a:lnTo>
                  <a:pt x="689703" y="1816294"/>
                </a:lnTo>
                <a:cubicBezTo>
                  <a:pt x="689703" y="1818102"/>
                  <a:pt x="692578" y="1819739"/>
                  <a:pt x="697225" y="1820924"/>
                </a:cubicBezTo>
                <a:cubicBezTo>
                  <a:pt x="701873" y="1822109"/>
                  <a:pt x="708293" y="1822841"/>
                  <a:pt x="715384" y="1822841"/>
                </a:cubicBezTo>
                <a:close/>
                <a:moveTo>
                  <a:pt x="543646" y="1822841"/>
                </a:moveTo>
                <a:lnTo>
                  <a:pt x="561804" y="1820924"/>
                </a:lnTo>
                <a:lnTo>
                  <a:pt x="567308" y="1818843"/>
                </a:lnTo>
                <a:lnTo>
                  <a:pt x="569327" y="1816294"/>
                </a:lnTo>
                <a:lnTo>
                  <a:pt x="569327" y="1790112"/>
                </a:lnTo>
                <a:lnTo>
                  <a:pt x="567308" y="1787563"/>
                </a:lnTo>
                <a:lnTo>
                  <a:pt x="561804" y="1785481"/>
                </a:lnTo>
                <a:cubicBezTo>
                  <a:pt x="557156" y="1784297"/>
                  <a:pt x="550736" y="1783564"/>
                  <a:pt x="543646" y="1783564"/>
                </a:cubicBezTo>
                <a:cubicBezTo>
                  <a:pt x="533010" y="1783564"/>
                  <a:pt x="523882" y="1785212"/>
                  <a:pt x="519983" y="1787563"/>
                </a:cubicBezTo>
                <a:cubicBezTo>
                  <a:pt x="518683" y="1788346"/>
                  <a:pt x="517965" y="1789207"/>
                  <a:pt x="517965" y="1790112"/>
                </a:cubicBezTo>
                <a:lnTo>
                  <a:pt x="517965" y="1816294"/>
                </a:lnTo>
                <a:cubicBezTo>
                  <a:pt x="517965" y="1818102"/>
                  <a:pt x="520840" y="1819739"/>
                  <a:pt x="525487" y="1820924"/>
                </a:cubicBezTo>
                <a:cubicBezTo>
                  <a:pt x="530135" y="1822109"/>
                  <a:pt x="536555" y="1822841"/>
                  <a:pt x="543646" y="1822841"/>
                </a:cubicBezTo>
                <a:close/>
                <a:moveTo>
                  <a:pt x="376958" y="1822841"/>
                </a:moveTo>
                <a:lnTo>
                  <a:pt x="395116" y="1820924"/>
                </a:lnTo>
                <a:lnTo>
                  <a:pt x="400620" y="1818843"/>
                </a:lnTo>
                <a:lnTo>
                  <a:pt x="402639" y="1816294"/>
                </a:lnTo>
                <a:lnTo>
                  <a:pt x="402639" y="1790112"/>
                </a:lnTo>
                <a:lnTo>
                  <a:pt x="400620" y="1787563"/>
                </a:lnTo>
                <a:lnTo>
                  <a:pt x="395116" y="1785481"/>
                </a:lnTo>
                <a:cubicBezTo>
                  <a:pt x="390468" y="1784297"/>
                  <a:pt x="384048" y="1783564"/>
                  <a:pt x="376958" y="1783564"/>
                </a:cubicBezTo>
                <a:cubicBezTo>
                  <a:pt x="366322" y="1783564"/>
                  <a:pt x="357194" y="1785212"/>
                  <a:pt x="353295" y="1787563"/>
                </a:cubicBezTo>
                <a:cubicBezTo>
                  <a:pt x="351995" y="1788346"/>
                  <a:pt x="351277" y="1789207"/>
                  <a:pt x="351277" y="1790112"/>
                </a:cubicBezTo>
                <a:lnTo>
                  <a:pt x="351277" y="1816294"/>
                </a:lnTo>
                <a:cubicBezTo>
                  <a:pt x="351277" y="1818102"/>
                  <a:pt x="354152" y="1819739"/>
                  <a:pt x="358799" y="1820924"/>
                </a:cubicBezTo>
                <a:cubicBezTo>
                  <a:pt x="363447" y="1822109"/>
                  <a:pt x="369867" y="1822841"/>
                  <a:pt x="376958" y="1822841"/>
                </a:cubicBezTo>
                <a:close/>
                <a:moveTo>
                  <a:pt x="215033" y="1822841"/>
                </a:moveTo>
                <a:lnTo>
                  <a:pt x="233191" y="1820924"/>
                </a:lnTo>
                <a:lnTo>
                  <a:pt x="238695" y="1818843"/>
                </a:lnTo>
                <a:lnTo>
                  <a:pt x="240714" y="1816294"/>
                </a:lnTo>
                <a:lnTo>
                  <a:pt x="240714" y="1790112"/>
                </a:lnTo>
                <a:lnTo>
                  <a:pt x="238695" y="1787563"/>
                </a:lnTo>
                <a:lnTo>
                  <a:pt x="233191" y="1785481"/>
                </a:lnTo>
                <a:cubicBezTo>
                  <a:pt x="228543" y="1784297"/>
                  <a:pt x="222123" y="1783564"/>
                  <a:pt x="215033" y="1783564"/>
                </a:cubicBezTo>
                <a:cubicBezTo>
                  <a:pt x="204397" y="1783564"/>
                  <a:pt x="195269" y="1785212"/>
                  <a:pt x="191370" y="1787563"/>
                </a:cubicBezTo>
                <a:cubicBezTo>
                  <a:pt x="190070" y="1788346"/>
                  <a:pt x="189352" y="1789207"/>
                  <a:pt x="189352" y="1790112"/>
                </a:cubicBezTo>
                <a:lnTo>
                  <a:pt x="189352" y="1816294"/>
                </a:lnTo>
                <a:cubicBezTo>
                  <a:pt x="189352" y="1818102"/>
                  <a:pt x="192227" y="1819739"/>
                  <a:pt x="196874" y="1820924"/>
                </a:cubicBezTo>
                <a:cubicBezTo>
                  <a:pt x="201522" y="1822109"/>
                  <a:pt x="207942" y="1822841"/>
                  <a:pt x="215033" y="1822841"/>
                </a:cubicBezTo>
                <a:close/>
                <a:moveTo>
                  <a:pt x="986109" y="1830956"/>
                </a:moveTo>
                <a:lnTo>
                  <a:pt x="986109" y="1782631"/>
                </a:lnTo>
                <a:lnTo>
                  <a:pt x="1102789" y="1782631"/>
                </a:lnTo>
                <a:lnTo>
                  <a:pt x="1102789" y="1830956"/>
                </a:lnTo>
                <a:close/>
                <a:moveTo>
                  <a:pt x="486503" y="1896847"/>
                </a:moveTo>
                <a:cubicBezTo>
                  <a:pt x="486155" y="1896558"/>
                  <a:pt x="486146" y="1896249"/>
                  <a:pt x="486146" y="1895937"/>
                </a:cubicBezTo>
                <a:lnTo>
                  <a:pt x="486511" y="1895007"/>
                </a:lnTo>
                <a:close/>
                <a:moveTo>
                  <a:pt x="319810" y="1898084"/>
                </a:moveTo>
                <a:cubicBezTo>
                  <a:pt x="319020" y="1897449"/>
                  <a:pt x="318967" y="1896699"/>
                  <a:pt x="318967" y="1895937"/>
                </a:cubicBezTo>
                <a:lnTo>
                  <a:pt x="319828" y="1893743"/>
                </a:lnTo>
                <a:close/>
                <a:moveTo>
                  <a:pt x="157881" y="1899022"/>
                </a:moveTo>
                <a:cubicBezTo>
                  <a:pt x="156786" y="1898152"/>
                  <a:pt x="156670" y="1897059"/>
                  <a:pt x="156670" y="1895937"/>
                </a:cubicBezTo>
                <a:lnTo>
                  <a:pt x="157907" y="1892784"/>
                </a:lnTo>
                <a:close/>
                <a:moveTo>
                  <a:pt x="658227" y="1900174"/>
                </a:moveTo>
                <a:cubicBezTo>
                  <a:pt x="656794" y="1899041"/>
                  <a:pt x="656564" y="1897517"/>
                  <a:pt x="656564" y="1895937"/>
                </a:cubicBezTo>
                <a:lnTo>
                  <a:pt x="658263" y="1891608"/>
                </a:lnTo>
                <a:close/>
                <a:moveTo>
                  <a:pt x="967231" y="1907087"/>
                </a:moveTo>
                <a:lnTo>
                  <a:pt x="1121668" y="1907087"/>
                </a:lnTo>
                <a:cubicBezTo>
                  <a:pt x="1127283" y="1907087"/>
                  <a:pt x="1131834" y="1902535"/>
                  <a:pt x="1131834" y="1896920"/>
                </a:cubicBezTo>
                <a:lnTo>
                  <a:pt x="1131834" y="1764992"/>
                </a:lnTo>
                <a:cubicBezTo>
                  <a:pt x="1131834" y="1759378"/>
                  <a:pt x="1127283" y="1754826"/>
                  <a:pt x="1121668" y="1754826"/>
                </a:cubicBezTo>
                <a:lnTo>
                  <a:pt x="967231" y="1754826"/>
                </a:lnTo>
                <a:cubicBezTo>
                  <a:pt x="961616" y="1754826"/>
                  <a:pt x="957065" y="1759378"/>
                  <a:pt x="957065" y="1764992"/>
                </a:cubicBezTo>
                <a:lnTo>
                  <a:pt x="957065" y="1896920"/>
                </a:lnTo>
                <a:cubicBezTo>
                  <a:pt x="957065" y="1902535"/>
                  <a:pt x="961616" y="1907087"/>
                  <a:pt x="967231" y="1907087"/>
                </a:cubicBezTo>
                <a:close/>
                <a:moveTo>
                  <a:pt x="970657" y="1920328"/>
                </a:moveTo>
                <a:cubicBezTo>
                  <a:pt x="954570" y="1920328"/>
                  <a:pt x="941528" y="1907287"/>
                  <a:pt x="941528" y="1891200"/>
                </a:cubicBezTo>
                <a:lnTo>
                  <a:pt x="941528" y="1774688"/>
                </a:lnTo>
                <a:cubicBezTo>
                  <a:pt x="941528" y="1758600"/>
                  <a:pt x="954570" y="1745559"/>
                  <a:pt x="970657" y="1745559"/>
                </a:cubicBezTo>
                <a:lnTo>
                  <a:pt x="1114973" y="1745559"/>
                </a:lnTo>
                <a:cubicBezTo>
                  <a:pt x="1131061" y="1745559"/>
                  <a:pt x="1144102" y="1758600"/>
                  <a:pt x="1144102" y="1774688"/>
                </a:cubicBezTo>
                <a:lnTo>
                  <a:pt x="1144102" y="1891200"/>
                </a:lnTo>
                <a:cubicBezTo>
                  <a:pt x="1144102" y="1907287"/>
                  <a:pt x="1131061" y="1920328"/>
                  <a:pt x="1114973" y="1920328"/>
                </a:cubicBezTo>
                <a:close/>
                <a:moveTo>
                  <a:pt x="1109480" y="1998069"/>
                </a:moveTo>
                <a:cubicBezTo>
                  <a:pt x="1115019" y="1998069"/>
                  <a:pt x="1119510" y="1993578"/>
                  <a:pt x="1119510" y="1988039"/>
                </a:cubicBezTo>
                <a:cubicBezTo>
                  <a:pt x="1119510" y="1982500"/>
                  <a:pt x="1115019" y="1978010"/>
                  <a:pt x="1109480" y="1978010"/>
                </a:cubicBezTo>
                <a:cubicBezTo>
                  <a:pt x="1103941" y="1978010"/>
                  <a:pt x="1099451" y="1982500"/>
                  <a:pt x="1099451" y="1988039"/>
                </a:cubicBezTo>
                <a:cubicBezTo>
                  <a:pt x="1099451" y="1993578"/>
                  <a:pt x="1103941" y="1998069"/>
                  <a:pt x="1109480" y="1998069"/>
                </a:cubicBezTo>
                <a:close/>
                <a:moveTo>
                  <a:pt x="1064099" y="1998069"/>
                </a:moveTo>
                <a:cubicBezTo>
                  <a:pt x="1069638" y="1998069"/>
                  <a:pt x="1074128" y="1993578"/>
                  <a:pt x="1074128" y="1988039"/>
                </a:cubicBezTo>
                <a:cubicBezTo>
                  <a:pt x="1074128" y="1982500"/>
                  <a:pt x="1069638" y="1978010"/>
                  <a:pt x="1064099" y="1978010"/>
                </a:cubicBezTo>
                <a:cubicBezTo>
                  <a:pt x="1058560" y="1978010"/>
                  <a:pt x="1054069" y="1982500"/>
                  <a:pt x="1054069" y="1988039"/>
                </a:cubicBezTo>
                <a:cubicBezTo>
                  <a:pt x="1054069" y="1993578"/>
                  <a:pt x="1058560" y="1998069"/>
                  <a:pt x="1064099" y="1998069"/>
                </a:cubicBezTo>
                <a:close/>
                <a:moveTo>
                  <a:pt x="1015110" y="1998069"/>
                </a:moveTo>
                <a:cubicBezTo>
                  <a:pt x="1020649" y="1998069"/>
                  <a:pt x="1025139" y="1993578"/>
                  <a:pt x="1025139" y="1988039"/>
                </a:cubicBezTo>
                <a:cubicBezTo>
                  <a:pt x="1025139" y="1982500"/>
                  <a:pt x="1020649" y="1978010"/>
                  <a:pt x="1015110" y="1978010"/>
                </a:cubicBezTo>
                <a:cubicBezTo>
                  <a:pt x="1009571" y="1978010"/>
                  <a:pt x="1005081" y="1982500"/>
                  <a:pt x="1005081" y="1988039"/>
                </a:cubicBezTo>
                <a:cubicBezTo>
                  <a:pt x="1005081" y="1993578"/>
                  <a:pt x="1009571" y="1998069"/>
                  <a:pt x="1015110" y="1998069"/>
                </a:cubicBezTo>
                <a:close/>
                <a:moveTo>
                  <a:pt x="972742" y="1998069"/>
                </a:moveTo>
                <a:cubicBezTo>
                  <a:pt x="978281" y="1998069"/>
                  <a:pt x="982771" y="1993578"/>
                  <a:pt x="982771" y="1988039"/>
                </a:cubicBezTo>
                <a:cubicBezTo>
                  <a:pt x="982771" y="1982500"/>
                  <a:pt x="978281" y="1978010"/>
                  <a:pt x="972742" y="1978010"/>
                </a:cubicBezTo>
                <a:cubicBezTo>
                  <a:pt x="967203" y="1978010"/>
                  <a:pt x="962712" y="1982500"/>
                  <a:pt x="962712" y="1988039"/>
                </a:cubicBezTo>
                <a:cubicBezTo>
                  <a:pt x="962712" y="1993578"/>
                  <a:pt x="967203" y="1998069"/>
                  <a:pt x="972742" y="1998069"/>
                </a:cubicBezTo>
                <a:close/>
                <a:moveTo>
                  <a:pt x="954327" y="2039489"/>
                </a:moveTo>
                <a:cubicBezTo>
                  <a:pt x="947259" y="2039489"/>
                  <a:pt x="941528" y="2033759"/>
                  <a:pt x="941528" y="2026690"/>
                </a:cubicBezTo>
                <a:lnTo>
                  <a:pt x="941528" y="1975495"/>
                </a:lnTo>
                <a:cubicBezTo>
                  <a:pt x="941528" y="1968426"/>
                  <a:pt x="947259" y="1962696"/>
                  <a:pt x="954327" y="1962696"/>
                </a:cubicBezTo>
                <a:lnTo>
                  <a:pt x="1131303" y="1962696"/>
                </a:lnTo>
                <a:cubicBezTo>
                  <a:pt x="1138372" y="1962696"/>
                  <a:pt x="1144102" y="1968426"/>
                  <a:pt x="1144102" y="1975495"/>
                </a:cubicBezTo>
                <a:lnTo>
                  <a:pt x="1144102" y="2026690"/>
                </a:lnTo>
                <a:cubicBezTo>
                  <a:pt x="1144102" y="2033759"/>
                  <a:pt x="1138372" y="2039489"/>
                  <a:pt x="1131303" y="2039489"/>
                </a:cubicBezTo>
                <a:close/>
                <a:moveTo>
                  <a:pt x="921012" y="2072589"/>
                </a:moveTo>
                <a:lnTo>
                  <a:pt x="1276369" y="2072589"/>
                </a:lnTo>
                <a:cubicBezTo>
                  <a:pt x="1285949" y="2072589"/>
                  <a:pt x="1293715" y="2064823"/>
                  <a:pt x="1293715" y="2055243"/>
                </a:cubicBezTo>
                <a:lnTo>
                  <a:pt x="1293715" y="1533850"/>
                </a:lnTo>
                <a:cubicBezTo>
                  <a:pt x="1293715" y="1524271"/>
                  <a:pt x="1285949" y="1516505"/>
                  <a:pt x="1276369" y="1516505"/>
                </a:cubicBezTo>
                <a:lnTo>
                  <a:pt x="921012" y="1516505"/>
                </a:lnTo>
                <a:cubicBezTo>
                  <a:pt x="911432" y="1516505"/>
                  <a:pt x="903666" y="1524271"/>
                  <a:pt x="903666" y="1533850"/>
                </a:cubicBezTo>
                <a:lnTo>
                  <a:pt x="903666" y="2055243"/>
                </a:lnTo>
                <a:cubicBezTo>
                  <a:pt x="903666" y="2064823"/>
                  <a:pt x="911432" y="2072589"/>
                  <a:pt x="921012" y="2072589"/>
                </a:cubicBezTo>
                <a:close/>
                <a:moveTo>
                  <a:pt x="902336" y="2084495"/>
                </a:moveTo>
                <a:cubicBezTo>
                  <a:pt x="893786" y="2084495"/>
                  <a:pt x="886855" y="2077564"/>
                  <a:pt x="886855" y="2069014"/>
                </a:cubicBezTo>
                <a:lnTo>
                  <a:pt x="886855" y="1516570"/>
                </a:lnTo>
                <a:cubicBezTo>
                  <a:pt x="886855" y="1508020"/>
                  <a:pt x="893786" y="1501089"/>
                  <a:pt x="902336" y="1501089"/>
                </a:cubicBezTo>
                <a:lnTo>
                  <a:pt x="1292855" y="1501089"/>
                </a:lnTo>
                <a:cubicBezTo>
                  <a:pt x="1301405" y="1501089"/>
                  <a:pt x="1308336" y="1508020"/>
                  <a:pt x="1308336" y="1516570"/>
                </a:cubicBezTo>
                <a:lnTo>
                  <a:pt x="1308336" y="2069014"/>
                </a:lnTo>
                <a:cubicBezTo>
                  <a:pt x="1308336" y="2077564"/>
                  <a:pt x="1301405" y="2084495"/>
                  <a:pt x="1292855" y="2084495"/>
                </a:cubicBezTo>
                <a:close/>
                <a:moveTo>
                  <a:pt x="193380" y="2133342"/>
                </a:moveTo>
                <a:lnTo>
                  <a:pt x="236685" y="2133342"/>
                </a:lnTo>
                <a:lnTo>
                  <a:pt x="276969" y="2077952"/>
                </a:lnTo>
                <a:lnTo>
                  <a:pt x="276969" y="1937148"/>
                </a:lnTo>
                <a:lnTo>
                  <a:pt x="319647" y="1937148"/>
                </a:lnTo>
                <a:lnTo>
                  <a:pt x="319049" y="2079966"/>
                </a:lnTo>
                <a:lnTo>
                  <a:pt x="355305" y="2133342"/>
                </a:lnTo>
                <a:lnTo>
                  <a:pt x="398610" y="2133342"/>
                </a:lnTo>
                <a:lnTo>
                  <a:pt x="438894" y="2077952"/>
                </a:lnTo>
                <a:lnTo>
                  <a:pt x="438894" y="1937148"/>
                </a:lnTo>
                <a:lnTo>
                  <a:pt x="486335" y="1937148"/>
                </a:lnTo>
                <a:lnTo>
                  <a:pt x="485737" y="2079966"/>
                </a:lnTo>
                <a:lnTo>
                  <a:pt x="521993" y="2133342"/>
                </a:lnTo>
                <a:lnTo>
                  <a:pt x="565298" y="2133342"/>
                </a:lnTo>
                <a:lnTo>
                  <a:pt x="605582" y="2077952"/>
                </a:lnTo>
                <a:lnTo>
                  <a:pt x="605582" y="1937148"/>
                </a:lnTo>
                <a:lnTo>
                  <a:pt x="658072" y="1937148"/>
                </a:lnTo>
                <a:lnTo>
                  <a:pt x="657475" y="2079966"/>
                </a:lnTo>
                <a:lnTo>
                  <a:pt x="693731" y="2133342"/>
                </a:lnTo>
                <a:lnTo>
                  <a:pt x="737036" y="2133342"/>
                </a:lnTo>
                <a:lnTo>
                  <a:pt x="777320" y="2077952"/>
                </a:lnTo>
                <a:lnTo>
                  <a:pt x="777320" y="1937148"/>
                </a:lnTo>
                <a:lnTo>
                  <a:pt x="807081" y="1937148"/>
                </a:lnTo>
                <a:lnTo>
                  <a:pt x="807081" y="1839269"/>
                </a:lnTo>
                <a:lnTo>
                  <a:pt x="777320" y="1839269"/>
                </a:lnTo>
                <a:lnTo>
                  <a:pt x="658482" y="1839269"/>
                </a:lnTo>
                <a:lnTo>
                  <a:pt x="605582" y="1839269"/>
                </a:lnTo>
                <a:lnTo>
                  <a:pt x="486744" y="1839269"/>
                </a:lnTo>
                <a:lnTo>
                  <a:pt x="438894" y="1839269"/>
                </a:lnTo>
                <a:lnTo>
                  <a:pt x="320056" y="1839269"/>
                </a:lnTo>
                <a:lnTo>
                  <a:pt x="276969" y="1839269"/>
                </a:lnTo>
                <a:lnTo>
                  <a:pt x="158131" y="1839269"/>
                </a:lnTo>
                <a:lnTo>
                  <a:pt x="121281" y="1839269"/>
                </a:lnTo>
                <a:lnTo>
                  <a:pt x="121281" y="1937148"/>
                </a:lnTo>
                <a:lnTo>
                  <a:pt x="157721" y="1937148"/>
                </a:lnTo>
                <a:lnTo>
                  <a:pt x="157124" y="2079966"/>
                </a:lnTo>
                <a:close/>
                <a:moveTo>
                  <a:pt x="715384" y="2176647"/>
                </a:moveTo>
                <a:lnTo>
                  <a:pt x="733542" y="2174730"/>
                </a:lnTo>
                <a:lnTo>
                  <a:pt x="739046" y="2172649"/>
                </a:lnTo>
                <a:lnTo>
                  <a:pt x="741065" y="2170100"/>
                </a:lnTo>
                <a:lnTo>
                  <a:pt x="741065" y="2143918"/>
                </a:lnTo>
                <a:lnTo>
                  <a:pt x="739046" y="2141369"/>
                </a:lnTo>
                <a:lnTo>
                  <a:pt x="733542" y="2139287"/>
                </a:lnTo>
                <a:cubicBezTo>
                  <a:pt x="728894" y="2138103"/>
                  <a:pt x="722474" y="2137370"/>
                  <a:pt x="715384" y="2137370"/>
                </a:cubicBezTo>
                <a:cubicBezTo>
                  <a:pt x="704748" y="2137370"/>
                  <a:pt x="695620" y="2139018"/>
                  <a:pt x="691721" y="2141369"/>
                </a:cubicBezTo>
                <a:cubicBezTo>
                  <a:pt x="690421" y="2142152"/>
                  <a:pt x="689703" y="2143013"/>
                  <a:pt x="689703" y="2143918"/>
                </a:cubicBezTo>
                <a:lnTo>
                  <a:pt x="689703" y="2170100"/>
                </a:lnTo>
                <a:cubicBezTo>
                  <a:pt x="689703" y="2171908"/>
                  <a:pt x="692578" y="2173545"/>
                  <a:pt x="697225" y="2174730"/>
                </a:cubicBezTo>
                <a:cubicBezTo>
                  <a:pt x="701873" y="2175915"/>
                  <a:pt x="708293" y="2176647"/>
                  <a:pt x="715384" y="2176647"/>
                </a:cubicBezTo>
                <a:close/>
                <a:moveTo>
                  <a:pt x="543646" y="2176647"/>
                </a:moveTo>
                <a:lnTo>
                  <a:pt x="561804" y="2174730"/>
                </a:lnTo>
                <a:lnTo>
                  <a:pt x="567308" y="2172649"/>
                </a:lnTo>
                <a:lnTo>
                  <a:pt x="569327" y="2170100"/>
                </a:lnTo>
                <a:lnTo>
                  <a:pt x="569327" y="2143918"/>
                </a:lnTo>
                <a:lnTo>
                  <a:pt x="567308" y="2141369"/>
                </a:lnTo>
                <a:lnTo>
                  <a:pt x="561804" y="2139287"/>
                </a:lnTo>
                <a:cubicBezTo>
                  <a:pt x="557156" y="2138103"/>
                  <a:pt x="550736" y="2137370"/>
                  <a:pt x="543646" y="2137370"/>
                </a:cubicBezTo>
                <a:cubicBezTo>
                  <a:pt x="533010" y="2137370"/>
                  <a:pt x="523882" y="2139018"/>
                  <a:pt x="519983" y="2141369"/>
                </a:cubicBezTo>
                <a:cubicBezTo>
                  <a:pt x="518683" y="2142152"/>
                  <a:pt x="517965" y="2143013"/>
                  <a:pt x="517965" y="2143918"/>
                </a:cubicBezTo>
                <a:lnTo>
                  <a:pt x="517965" y="2170100"/>
                </a:lnTo>
                <a:cubicBezTo>
                  <a:pt x="517965" y="2171908"/>
                  <a:pt x="520840" y="2173545"/>
                  <a:pt x="525487" y="2174730"/>
                </a:cubicBezTo>
                <a:cubicBezTo>
                  <a:pt x="530135" y="2175915"/>
                  <a:pt x="536555" y="2176647"/>
                  <a:pt x="543646" y="2176647"/>
                </a:cubicBezTo>
                <a:close/>
                <a:moveTo>
                  <a:pt x="376958" y="2176647"/>
                </a:moveTo>
                <a:lnTo>
                  <a:pt x="395116" y="2174730"/>
                </a:lnTo>
                <a:lnTo>
                  <a:pt x="400620" y="2172649"/>
                </a:lnTo>
                <a:lnTo>
                  <a:pt x="402639" y="2170100"/>
                </a:lnTo>
                <a:lnTo>
                  <a:pt x="402639" y="2143918"/>
                </a:lnTo>
                <a:lnTo>
                  <a:pt x="400620" y="2141369"/>
                </a:lnTo>
                <a:lnTo>
                  <a:pt x="395116" y="2139287"/>
                </a:lnTo>
                <a:cubicBezTo>
                  <a:pt x="390468" y="2138103"/>
                  <a:pt x="384048" y="2137370"/>
                  <a:pt x="376958" y="2137370"/>
                </a:cubicBezTo>
                <a:cubicBezTo>
                  <a:pt x="366322" y="2137370"/>
                  <a:pt x="357194" y="2139018"/>
                  <a:pt x="353295" y="2141369"/>
                </a:cubicBezTo>
                <a:cubicBezTo>
                  <a:pt x="351995" y="2142152"/>
                  <a:pt x="351277" y="2143013"/>
                  <a:pt x="351277" y="2143918"/>
                </a:cubicBezTo>
                <a:lnTo>
                  <a:pt x="351277" y="2170100"/>
                </a:lnTo>
                <a:cubicBezTo>
                  <a:pt x="351277" y="2171908"/>
                  <a:pt x="354152" y="2173545"/>
                  <a:pt x="358799" y="2174730"/>
                </a:cubicBezTo>
                <a:cubicBezTo>
                  <a:pt x="363447" y="2175915"/>
                  <a:pt x="369867" y="2176647"/>
                  <a:pt x="376958" y="2176647"/>
                </a:cubicBezTo>
                <a:close/>
                <a:moveTo>
                  <a:pt x="215033" y="2176647"/>
                </a:moveTo>
                <a:lnTo>
                  <a:pt x="233191" y="2174730"/>
                </a:lnTo>
                <a:lnTo>
                  <a:pt x="238695" y="2172649"/>
                </a:lnTo>
                <a:lnTo>
                  <a:pt x="240714" y="2170100"/>
                </a:lnTo>
                <a:lnTo>
                  <a:pt x="240714" y="2143918"/>
                </a:lnTo>
                <a:lnTo>
                  <a:pt x="238695" y="2141369"/>
                </a:lnTo>
                <a:lnTo>
                  <a:pt x="233191" y="2139287"/>
                </a:lnTo>
                <a:cubicBezTo>
                  <a:pt x="228543" y="2138103"/>
                  <a:pt x="222123" y="2137370"/>
                  <a:pt x="215033" y="2137370"/>
                </a:cubicBezTo>
                <a:cubicBezTo>
                  <a:pt x="204397" y="2137370"/>
                  <a:pt x="195269" y="2139018"/>
                  <a:pt x="191370" y="2141369"/>
                </a:cubicBezTo>
                <a:cubicBezTo>
                  <a:pt x="190070" y="2142152"/>
                  <a:pt x="189352" y="2143013"/>
                  <a:pt x="189352" y="2143918"/>
                </a:cubicBezTo>
                <a:lnTo>
                  <a:pt x="189352" y="2170100"/>
                </a:lnTo>
                <a:cubicBezTo>
                  <a:pt x="189352" y="2171908"/>
                  <a:pt x="192227" y="2173545"/>
                  <a:pt x="196874" y="2174730"/>
                </a:cubicBezTo>
                <a:cubicBezTo>
                  <a:pt x="201522" y="2175915"/>
                  <a:pt x="207942" y="2176647"/>
                  <a:pt x="215033" y="2176647"/>
                </a:cubicBezTo>
                <a:close/>
                <a:moveTo>
                  <a:pt x="193380" y="2523867"/>
                </a:moveTo>
                <a:lnTo>
                  <a:pt x="236685" y="2523867"/>
                </a:lnTo>
                <a:lnTo>
                  <a:pt x="276969" y="2468477"/>
                </a:lnTo>
                <a:lnTo>
                  <a:pt x="276969" y="2311314"/>
                </a:lnTo>
                <a:lnTo>
                  <a:pt x="319938" y="2311314"/>
                </a:lnTo>
                <a:lnTo>
                  <a:pt x="319272" y="2470491"/>
                </a:lnTo>
                <a:lnTo>
                  <a:pt x="355528" y="2523867"/>
                </a:lnTo>
                <a:lnTo>
                  <a:pt x="398833" y="2523867"/>
                </a:lnTo>
                <a:lnTo>
                  <a:pt x="439117" y="2468477"/>
                </a:lnTo>
                <a:lnTo>
                  <a:pt x="439117" y="2311314"/>
                </a:lnTo>
                <a:lnTo>
                  <a:pt x="482085" y="2311314"/>
                </a:lnTo>
                <a:lnTo>
                  <a:pt x="481419" y="2470491"/>
                </a:lnTo>
                <a:lnTo>
                  <a:pt x="517675" y="2523867"/>
                </a:lnTo>
                <a:lnTo>
                  <a:pt x="560980" y="2523867"/>
                </a:lnTo>
                <a:lnTo>
                  <a:pt x="601264" y="2468477"/>
                </a:lnTo>
                <a:lnTo>
                  <a:pt x="601264" y="2311314"/>
                </a:lnTo>
                <a:lnTo>
                  <a:pt x="644232" y="2311314"/>
                </a:lnTo>
                <a:lnTo>
                  <a:pt x="643566" y="2470491"/>
                </a:lnTo>
                <a:lnTo>
                  <a:pt x="679822" y="2523867"/>
                </a:lnTo>
                <a:lnTo>
                  <a:pt x="723127" y="2523867"/>
                </a:lnTo>
                <a:lnTo>
                  <a:pt x="763411" y="2468477"/>
                </a:lnTo>
                <a:lnTo>
                  <a:pt x="763411" y="2311314"/>
                </a:lnTo>
                <a:lnTo>
                  <a:pt x="806379" y="2311314"/>
                </a:lnTo>
                <a:lnTo>
                  <a:pt x="805713" y="2470491"/>
                </a:lnTo>
                <a:lnTo>
                  <a:pt x="841969" y="2523867"/>
                </a:lnTo>
                <a:lnTo>
                  <a:pt x="885274" y="2523867"/>
                </a:lnTo>
                <a:lnTo>
                  <a:pt x="925558" y="2468477"/>
                </a:lnTo>
                <a:lnTo>
                  <a:pt x="925558" y="2311314"/>
                </a:lnTo>
                <a:lnTo>
                  <a:pt x="968527" y="2311314"/>
                </a:lnTo>
                <a:lnTo>
                  <a:pt x="967861" y="2470491"/>
                </a:lnTo>
                <a:lnTo>
                  <a:pt x="1004117" y="2523867"/>
                </a:lnTo>
                <a:lnTo>
                  <a:pt x="1047422" y="2523867"/>
                </a:lnTo>
                <a:lnTo>
                  <a:pt x="1087706" y="2468477"/>
                </a:lnTo>
                <a:lnTo>
                  <a:pt x="1087706" y="2311314"/>
                </a:lnTo>
                <a:lnTo>
                  <a:pt x="1130675" y="2311314"/>
                </a:lnTo>
                <a:lnTo>
                  <a:pt x="1130009" y="2470491"/>
                </a:lnTo>
                <a:lnTo>
                  <a:pt x="1166265" y="2523867"/>
                </a:lnTo>
                <a:lnTo>
                  <a:pt x="1209570" y="2523867"/>
                </a:lnTo>
                <a:lnTo>
                  <a:pt x="1249854" y="2468477"/>
                </a:lnTo>
                <a:lnTo>
                  <a:pt x="1249854" y="2311314"/>
                </a:lnTo>
                <a:lnTo>
                  <a:pt x="1273424" y="2311314"/>
                </a:lnTo>
                <a:lnTo>
                  <a:pt x="1273424" y="2229586"/>
                </a:lnTo>
                <a:lnTo>
                  <a:pt x="121280" y="2229586"/>
                </a:lnTo>
                <a:lnTo>
                  <a:pt x="121280" y="2311314"/>
                </a:lnTo>
                <a:lnTo>
                  <a:pt x="157790" y="2311314"/>
                </a:lnTo>
                <a:lnTo>
                  <a:pt x="157124" y="2470491"/>
                </a:lnTo>
                <a:close/>
                <a:moveTo>
                  <a:pt x="1187918" y="2567172"/>
                </a:moveTo>
                <a:lnTo>
                  <a:pt x="1206076" y="2565255"/>
                </a:lnTo>
                <a:lnTo>
                  <a:pt x="1211580" y="2563174"/>
                </a:lnTo>
                <a:lnTo>
                  <a:pt x="1213599" y="2560625"/>
                </a:lnTo>
                <a:lnTo>
                  <a:pt x="1213599" y="2534442"/>
                </a:lnTo>
                <a:lnTo>
                  <a:pt x="1211580" y="2531893"/>
                </a:lnTo>
                <a:lnTo>
                  <a:pt x="1206076" y="2529812"/>
                </a:lnTo>
                <a:cubicBezTo>
                  <a:pt x="1201428" y="2528628"/>
                  <a:pt x="1195008" y="2527895"/>
                  <a:pt x="1187918" y="2527895"/>
                </a:cubicBezTo>
                <a:cubicBezTo>
                  <a:pt x="1177282" y="2527895"/>
                  <a:pt x="1168154" y="2529543"/>
                  <a:pt x="1164255" y="2531893"/>
                </a:cubicBezTo>
                <a:cubicBezTo>
                  <a:pt x="1162955" y="2532677"/>
                  <a:pt x="1162237" y="2533538"/>
                  <a:pt x="1162237" y="2534442"/>
                </a:cubicBezTo>
                <a:lnTo>
                  <a:pt x="1162237" y="2560625"/>
                </a:lnTo>
                <a:cubicBezTo>
                  <a:pt x="1162237" y="2562433"/>
                  <a:pt x="1165112" y="2564070"/>
                  <a:pt x="1169759" y="2565255"/>
                </a:cubicBezTo>
                <a:cubicBezTo>
                  <a:pt x="1174407" y="2566440"/>
                  <a:pt x="1180827" y="2567172"/>
                  <a:pt x="1187918" y="2567172"/>
                </a:cubicBezTo>
                <a:close/>
                <a:moveTo>
                  <a:pt x="1025770" y="2567172"/>
                </a:moveTo>
                <a:lnTo>
                  <a:pt x="1043928" y="2565255"/>
                </a:lnTo>
                <a:lnTo>
                  <a:pt x="1049432" y="2563174"/>
                </a:lnTo>
                <a:lnTo>
                  <a:pt x="1051451" y="2560625"/>
                </a:lnTo>
                <a:lnTo>
                  <a:pt x="1051451" y="2534442"/>
                </a:lnTo>
                <a:lnTo>
                  <a:pt x="1049432" y="2531893"/>
                </a:lnTo>
                <a:lnTo>
                  <a:pt x="1043928" y="2529812"/>
                </a:lnTo>
                <a:cubicBezTo>
                  <a:pt x="1039280" y="2528628"/>
                  <a:pt x="1032860" y="2527895"/>
                  <a:pt x="1025770" y="2527895"/>
                </a:cubicBezTo>
                <a:cubicBezTo>
                  <a:pt x="1015134" y="2527895"/>
                  <a:pt x="1006006" y="2529543"/>
                  <a:pt x="1002107" y="2531893"/>
                </a:cubicBezTo>
                <a:cubicBezTo>
                  <a:pt x="1000807" y="2532677"/>
                  <a:pt x="1000089" y="2533538"/>
                  <a:pt x="1000089" y="2534442"/>
                </a:cubicBezTo>
                <a:lnTo>
                  <a:pt x="1000089" y="2560625"/>
                </a:lnTo>
                <a:cubicBezTo>
                  <a:pt x="1000089" y="2562433"/>
                  <a:pt x="1002964" y="2564070"/>
                  <a:pt x="1007611" y="2565255"/>
                </a:cubicBezTo>
                <a:cubicBezTo>
                  <a:pt x="1012259" y="2566440"/>
                  <a:pt x="1018679" y="2567172"/>
                  <a:pt x="1025770" y="2567172"/>
                </a:cubicBezTo>
                <a:close/>
                <a:moveTo>
                  <a:pt x="863622" y="2567172"/>
                </a:moveTo>
                <a:lnTo>
                  <a:pt x="881780" y="2565255"/>
                </a:lnTo>
                <a:lnTo>
                  <a:pt x="887284" y="2563174"/>
                </a:lnTo>
                <a:lnTo>
                  <a:pt x="889303" y="2560625"/>
                </a:lnTo>
                <a:lnTo>
                  <a:pt x="889303" y="2534442"/>
                </a:lnTo>
                <a:lnTo>
                  <a:pt x="887284" y="2531893"/>
                </a:lnTo>
                <a:lnTo>
                  <a:pt x="881780" y="2529812"/>
                </a:lnTo>
                <a:cubicBezTo>
                  <a:pt x="877132" y="2528628"/>
                  <a:pt x="870712" y="2527895"/>
                  <a:pt x="863622" y="2527895"/>
                </a:cubicBezTo>
                <a:cubicBezTo>
                  <a:pt x="852986" y="2527895"/>
                  <a:pt x="843858" y="2529543"/>
                  <a:pt x="839959" y="2531893"/>
                </a:cubicBezTo>
                <a:cubicBezTo>
                  <a:pt x="838659" y="2532677"/>
                  <a:pt x="837941" y="2533538"/>
                  <a:pt x="837941" y="2534442"/>
                </a:cubicBezTo>
                <a:lnTo>
                  <a:pt x="837941" y="2560625"/>
                </a:lnTo>
                <a:cubicBezTo>
                  <a:pt x="837941" y="2562433"/>
                  <a:pt x="840816" y="2564070"/>
                  <a:pt x="845463" y="2565255"/>
                </a:cubicBezTo>
                <a:cubicBezTo>
                  <a:pt x="850111" y="2566440"/>
                  <a:pt x="856531" y="2567172"/>
                  <a:pt x="863622" y="2567172"/>
                </a:cubicBezTo>
                <a:close/>
                <a:moveTo>
                  <a:pt x="701475" y="2567172"/>
                </a:moveTo>
                <a:lnTo>
                  <a:pt x="719633" y="2565255"/>
                </a:lnTo>
                <a:lnTo>
                  <a:pt x="725137" y="2563174"/>
                </a:lnTo>
                <a:lnTo>
                  <a:pt x="727156" y="2560625"/>
                </a:lnTo>
                <a:lnTo>
                  <a:pt x="727156" y="2534442"/>
                </a:lnTo>
                <a:lnTo>
                  <a:pt x="725137" y="2531893"/>
                </a:lnTo>
                <a:lnTo>
                  <a:pt x="719633" y="2529812"/>
                </a:lnTo>
                <a:cubicBezTo>
                  <a:pt x="714985" y="2528628"/>
                  <a:pt x="708565" y="2527895"/>
                  <a:pt x="701475" y="2527895"/>
                </a:cubicBezTo>
                <a:cubicBezTo>
                  <a:pt x="690839" y="2527895"/>
                  <a:pt x="681711" y="2529543"/>
                  <a:pt x="677812" y="2531893"/>
                </a:cubicBezTo>
                <a:cubicBezTo>
                  <a:pt x="676512" y="2532677"/>
                  <a:pt x="675794" y="2533538"/>
                  <a:pt x="675794" y="2534442"/>
                </a:cubicBezTo>
                <a:lnTo>
                  <a:pt x="675794" y="2560625"/>
                </a:lnTo>
                <a:cubicBezTo>
                  <a:pt x="675794" y="2562433"/>
                  <a:pt x="678669" y="2564070"/>
                  <a:pt x="683316" y="2565255"/>
                </a:cubicBezTo>
                <a:cubicBezTo>
                  <a:pt x="687964" y="2566440"/>
                  <a:pt x="694384" y="2567172"/>
                  <a:pt x="701475" y="2567172"/>
                </a:cubicBezTo>
                <a:close/>
                <a:moveTo>
                  <a:pt x="539328" y="2567172"/>
                </a:moveTo>
                <a:lnTo>
                  <a:pt x="557486" y="2565255"/>
                </a:lnTo>
                <a:lnTo>
                  <a:pt x="562990" y="2563174"/>
                </a:lnTo>
                <a:lnTo>
                  <a:pt x="565009" y="2560625"/>
                </a:lnTo>
                <a:lnTo>
                  <a:pt x="565009" y="2534442"/>
                </a:lnTo>
                <a:lnTo>
                  <a:pt x="562990" y="2531893"/>
                </a:lnTo>
                <a:lnTo>
                  <a:pt x="557486" y="2529812"/>
                </a:lnTo>
                <a:cubicBezTo>
                  <a:pt x="552838" y="2528628"/>
                  <a:pt x="546418" y="2527895"/>
                  <a:pt x="539328" y="2527895"/>
                </a:cubicBezTo>
                <a:cubicBezTo>
                  <a:pt x="528692" y="2527895"/>
                  <a:pt x="519564" y="2529543"/>
                  <a:pt x="515665" y="2531893"/>
                </a:cubicBezTo>
                <a:cubicBezTo>
                  <a:pt x="514365" y="2532677"/>
                  <a:pt x="513647" y="2533538"/>
                  <a:pt x="513647" y="2534442"/>
                </a:cubicBezTo>
                <a:lnTo>
                  <a:pt x="513647" y="2560625"/>
                </a:lnTo>
                <a:cubicBezTo>
                  <a:pt x="513647" y="2562433"/>
                  <a:pt x="516522" y="2564070"/>
                  <a:pt x="521169" y="2565255"/>
                </a:cubicBezTo>
                <a:cubicBezTo>
                  <a:pt x="525817" y="2566440"/>
                  <a:pt x="532237" y="2567172"/>
                  <a:pt x="539328" y="2567172"/>
                </a:cubicBezTo>
                <a:close/>
                <a:moveTo>
                  <a:pt x="377181" y="2567172"/>
                </a:moveTo>
                <a:lnTo>
                  <a:pt x="395339" y="2565255"/>
                </a:lnTo>
                <a:lnTo>
                  <a:pt x="400843" y="2563174"/>
                </a:lnTo>
                <a:lnTo>
                  <a:pt x="402862" y="2560625"/>
                </a:lnTo>
                <a:lnTo>
                  <a:pt x="402862" y="2534442"/>
                </a:lnTo>
                <a:lnTo>
                  <a:pt x="400843" y="2531893"/>
                </a:lnTo>
                <a:lnTo>
                  <a:pt x="395339" y="2529812"/>
                </a:lnTo>
                <a:cubicBezTo>
                  <a:pt x="390691" y="2528628"/>
                  <a:pt x="384271" y="2527895"/>
                  <a:pt x="377181" y="2527895"/>
                </a:cubicBezTo>
                <a:cubicBezTo>
                  <a:pt x="366545" y="2527895"/>
                  <a:pt x="357417" y="2529543"/>
                  <a:pt x="353518" y="2531893"/>
                </a:cubicBezTo>
                <a:cubicBezTo>
                  <a:pt x="352218" y="2532677"/>
                  <a:pt x="351500" y="2533538"/>
                  <a:pt x="351500" y="2534442"/>
                </a:cubicBezTo>
                <a:lnTo>
                  <a:pt x="351500" y="2560625"/>
                </a:lnTo>
                <a:cubicBezTo>
                  <a:pt x="351500" y="2562433"/>
                  <a:pt x="354375" y="2564070"/>
                  <a:pt x="359022" y="2565255"/>
                </a:cubicBezTo>
                <a:cubicBezTo>
                  <a:pt x="363670" y="2566440"/>
                  <a:pt x="370090" y="2567172"/>
                  <a:pt x="377181" y="2567172"/>
                </a:cubicBezTo>
                <a:close/>
                <a:moveTo>
                  <a:pt x="215033" y="2567172"/>
                </a:moveTo>
                <a:lnTo>
                  <a:pt x="233191" y="2565255"/>
                </a:lnTo>
                <a:lnTo>
                  <a:pt x="238695" y="2563174"/>
                </a:lnTo>
                <a:lnTo>
                  <a:pt x="240714" y="2560625"/>
                </a:lnTo>
                <a:lnTo>
                  <a:pt x="240714" y="2534442"/>
                </a:lnTo>
                <a:lnTo>
                  <a:pt x="238695" y="2531893"/>
                </a:lnTo>
                <a:lnTo>
                  <a:pt x="233191" y="2529812"/>
                </a:lnTo>
                <a:cubicBezTo>
                  <a:pt x="228543" y="2528628"/>
                  <a:pt x="222123" y="2527895"/>
                  <a:pt x="215033" y="2527895"/>
                </a:cubicBezTo>
                <a:cubicBezTo>
                  <a:pt x="204397" y="2527895"/>
                  <a:pt x="195269" y="2529543"/>
                  <a:pt x="191370" y="2531893"/>
                </a:cubicBezTo>
                <a:cubicBezTo>
                  <a:pt x="190070" y="2532677"/>
                  <a:pt x="189352" y="2533538"/>
                  <a:pt x="189352" y="2534442"/>
                </a:cubicBezTo>
                <a:lnTo>
                  <a:pt x="189352" y="2560625"/>
                </a:lnTo>
                <a:cubicBezTo>
                  <a:pt x="189352" y="2562433"/>
                  <a:pt x="192227" y="2564070"/>
                  <a:pt x="196874" y="2565255"/>
                </a:cubicBezTo>
                <a:cubicBezTo>
                  <a:pt x="201522" y="2566440"/>
                  <a:pt x="207942" y="2567172"/>
                  <a:pt x="215033" y="2567172"/>
                </a:cubicBezTo>
                <a:close/>
                <a:moveTo>
                  <a:pt x="146290" y="2789345"/>
                </a:moveTo>
                <a:cubicBezTo>
                  <a:pt x="123931" y="2789345"/>
                  <a:pt x="105805" y="2771219"/>
                  <a:pt x="105805" y="2748860"/>
                </a:cubicBezTo>
                <a:lnTo>
                  <a:pt x="105805" y="2201180"/>
                </a:lnTo>
                <a:lnTo>
                  <a:pt x="107588" y="2196877"/>
                </a:lnTo>
                <a:lnTo>
                  <a:pt x="105805" y="2188048"/>
                </a:lnTo>
                <a:lnTo>
                  <a:pt x="105805" y="1092736"/>
                </a:lnTo>
                <a:cubicBezTo>
                  <a:pt x="105805" y="1067074"/>
                  <a:pt x="126609" y="1046270"/>
                  <a:pt x="152271" y="1046270"/>
                </a:cubicBezTo>
                <a:lnTo>
                  <a:pt x="780858" y="1046270"/>
                </a:lnTo>
                <a:cubicBezTo>
                  <a:pt x="806520" y="1046270"/>
                  <a:pt x="827324" y="1067074"/>
                  <a:pt x="827324" y="1092736"/>
                </a:cubicBezTo>
                <a:lnTo>
                  <a:pt x="827324" y="2160695"/>
                </a:lnTo>
                <a:lnTo>
                  <a:pt x="1255945" y="2160695"/>
                </a:lnTo>
                <a:cubicBezTo>
                  <a:pt x="1278304" y="2160695"/>
                  <a:pt x="1296430" y="2178821"/>
                  <a:pt x="1296430" y="2201180"/>
                </a:cubicBezTo>
                <a:lnTo>
                  <a:pt x="1296430" y="2748860"/>
                </a:lnTo>
                <a:cubicBezTo>
                  <a:pt x="1296430" y="2771219"/>
                  <a:pt x="1278304" y="2789345"/>
                  <a:pt x="1255945" y="2789345"/>
                </a:cubicBezTo>
                <a:close/>
                <a:moveTo>
                  <a:pt x="0" y="2959444"/>
                </a:moveTo>
                <a:lnTo>
                  <a:pt x="1402492" y="2959444"/>
                </a:lnTo>
                <a:lnTo>
                  <a:pt x="1402492" y="205724"/>
                </a:lnTo>
                <a:lnTo>
                  <a:pt x="0" y="205724"/>
                </a:lnTo>
                <a:close/>
              </a:path>
            </a:pathLst>
          </a:custGeom>
          <a:solidFill>
            <a:schemeClr val="bg1"/>
          </a:solidFill>
          <a:ln>
            <a:no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89606" tIns="44803" rIns="44803" bIns="89606" numCol="1" spcCol="0" rtlCol="0" fromWordArt="0" anchor="b" anchorCtr="0" forceAA="0" compatLnSpc="1">
            <a:prstTxWarp prst="textNoShape">
              <a:avLst/>
            </a:prstTxWarp>
            <a:noAutofit/>
          </a:bodyPr>
          <a:lstStyle/>
          <a:p>
            <a:pPr algn="ctr" defTabSz="895736" fontAlgn="base">
              <a:spcBef>
                <a:spcPct val="0"/>
              </a:spcBef>
              <a:spcAft>
                <a:spcPct val="0"/>
              </a:spcAft>
              <a:defRPr/>
            </a:pPr>
            <a:endParaRPr lang="en-US" sz="980" kern="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0159899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fade">
                                      <p:cBhvr>
                                        <p:cTn id="11" dur="500"/>
                                        <p:tgtEl>
                                          <p:spTgt spid="10"/>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fade">
                                      <p:cBhvr>
                                        <p:cTn id="15" dur="500"/>
                                        <p:tgtEl>
                                          <p:spTgt spid="9"/>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16"/>
                                        </p:tgtEl>
                                        <p:attrNameLst>
                                          <p:attrName>style.visibility</p:attrName>
                                        </p:attrNameLst>
                                      </p:cBhvr>
                                      <p:to>
                                        <p:strVal val="visible"/>
                                      </p:to>
                                    </p:set>
                                    <p:animEffect transition="in" filter="fade">
                                      <p:cBhvr>
                                        <p:cTn id="23" dur="500"/>
                                        <p:tgtEl>
                                          <p:spTgt spid="16"/>
                                        </p:tgtEl>
                                      </p:cBhvr>
                                    </p:animEffect>
                                  </p:childTnLst>
                                </p:cTn>
                              </p:par>
                            </p:childTnLst>
                          </p:cTn>
                        </p:par>
                      </p:childTnLst>
                    </p:cTn>
                  </p:par>
                  <p:par>
                    <p:cTn id="24" fill="hold">
                      <p:stCondLst>
                        <p:cond delay="indefinite"/>
                      </p:stCondLst>
                      <p:childTnLst>
                        <p:par>
                          <p:cTn id="25" fill="hold">
                            <p:stCondLst>
                              <p:cond delay="0"/>
                            </p:stCondLst>
                            <p:childTnLst>
                              <p:par>
                                <p:cTn id="26" presetID="16" presetClass="entr" presetSubtype="21" fill="hold" grpId="0" nodeType="clickEffect">
                                  <p:stCondLst>
                                    <p:cond delay="0"/>
                                  </p:stCondLst>
                                  <p:childTnLst>
                                    <p:set>
                                      <p:cBhvr>
                                        <p:cTn id="27" dur="1" fill="hold">
                                          <p:stCondLst>
                                            <p:cond delay="0"/>
                                          </p:stCondLst>
                                        </p:cTn>
                                        <p:tgtEl>
                                          <p:spTgt spid="5"/>
                                        </p:tgtEl>
                                        <p:attrNameLst>
                                          <p:attrName>style.visibility</p:attrName>
                                        </p:attrNameLst>
                                      </p:cBhvr>
                                      <p:to>
                                        <p:strVal val="visible"/>
                                      </p:to>
                                    </p:set>
                                    <p:animEffect transition="in" filter="barn(inVertical)">
                                      <p:cBhvr>
                                        <p:cTn id="28" dur="500"/>
                                        <p:tgtEl>
                                          <p:spTgt spid="5"/>
                                        </p:tgtEl>
                                      </p:cBhvr>
                                    </p:animEffect>
                                  </p:childTnLst>
                                </p:cTn>
                              </p:par>
                            </p:childTnLst>
                          </p:cTn>
                        </p:par>
                        <p:par>
                          <p:cTn id="29" fill="hold">
                            <p:stCondLst>
                              <p:cond delay="500"/>
                            </p:stCondLst>
                            <p:childTnLst>
                              <p:par>
                                <p:cTn id="30" presetID="10" presetClass="entr" presetSubtype="0" fill="hold" nodeType="after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par>
                          <p:cTn id="33" fill="hold">
                            <p:stCondLst>
                              <p:cond delay="1000"/>
                            </p:stCondLst>
                            <p:childTnLst>
                              <p:par>
                                <p:cTn id="34" presetID="10" presetClass="entr" presetSubtype="0" fill="hold" nodeType="afterEffect">
                                  <p:stCondLst>
                                    <p:cond delay="0"/>
                                  </p:stCondLst>
                                  <p:childTnLst>
                                    <p:set>
                                      <p:cBhvr>
                                        <p:cTn id="35" dur="1" fill="hold">
                                          <p:stCondLst>
                                            <p:cond delay="0"/>
                                          </p:stCondLst>
                                        </p:cTn>
                                        <p:tgtEl>
                                          <p:spTgt spid="14"/>
                                        </p:tgtEl>
                                        <p:attrNameLst>
                                          <p:attrName>style.visibility</p:attrName>
                                        </p:attrNameLst>
                                      </p:cBhvr>
                                      <p:to>
                                        <p:strVal val="visible"/>
                                      </p:to>
                                    </p:set>
                                    <p:animEffect transition="in" filter="fade">
                                      <p:cBhvr>
                                        <p:cTn id="36" dur="500"/>
                                        <p:tgtEl>
                                          <p:spTgt spid="14"/>
                                        </p:tgtEl>
                                      </p:cBhvr>
                                    </p:animEffect>
                                  </p:childTnLst>
                                </p:cTn>
                              </p:par>
                            </p:childTnLst>
                          </p:cTn>
                        </p:par>
                        <p:par>
                          <p:cTn id="37" fill="hold">
                            <p:stCondLst>
                              <p:cond delay="1500"/>
                            </p:stCondLst>
                            <p:childTnLst>
                              <p:par>
                                <p:cTn id="38" presetID="10" presetClass="entr" presetSubtype="0" fill="hold" nodeType="afterEffect">
                                  <p:stCondLst>
                                    <p:cond delay="0"/>
                                  </p:stCondLst>
                                  <p:childTnLst>
                                    <p:set>
                                      <p:cBhvr>
                                        <p:cTn id="39" dur="1" fill="hold">
                                          <p:stCondLst>
                                            <p:cond delay="0"/>
                                          </p:stCondLst>
                                        </p:cTn>
                                        <p:tgtEl>
                                          <p:spTgt spid="12"/>
                                        </p:tgtEl>
                                        <p:attrNameLst>
                                          <p:attrName>style.visibility</p:attrName>
                                        </p:attrNameLst>
                                      </p:cBhvr>
                                      <p:to>
                                        <p:strVal val="visible"/>
                                      </p:to>
                                    </p:set>
                                    <p:animEffect transition="in" filter="fade">
                                      <p:cBhvr>
                                        <p:cTn id="40" dur="500"/>
                                        <p:tgtEl>
                                          <p:spTgt spid="12"/>
                                        </p:tgtEl>
                                      </p:cBhvr>
                                    </p:animEffect>
                                  </p:childTnLst>
                                </p:cTn>
                              </p:par>
                            </p:childTnLst>
                          </p:cTn>
                        </p:par>
                        <p:par>
                          <p:cTn id="41" fill="hold">
                            <p:stCondLst>
                              <p:cond delay="2000"/>
                            </p:stCondLst>
                            <p:childTnLst>
                              <p:par>
                                <p:cTn id="42" presetID="10" presetClass="entr" presetSubtype="0" fill="hold" nodeType="afterEffect">
                                  <p:stCondLst>
                                    <p:cond delay="0"/>
                                  </p:stCondLst>
                                  <p:childTnLst>
                                    <p:set>
                                      <p:cBhvr>
                                        <p:cTn id="43" dur="1" fill="hold">
                                          <p:stCondLst>
                                            <p:cond delay="0"/>
                                          </p:stCondLst>
                                        </p:cTn>
                                        <p:tgtEl>
                                          <p:spTgt spid="11"/>
                                        </p:tgtEl>
                                        <p:attrNameLst>
                                          <p:attrName>style.visibility</p:attrName>
                                        </p:attrNameLst>
                                      </p:cBhvr>
                                      <p:to>
                                        <p:strVal val="visible"/>
                                      </p:to>
                                    </p:set>
                                    <p:animEffect transition="in" filter="fade">
                                      <p:cBhvr>
                                        <p:cTn id="4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7030A0">
            <a:alpha val="87000"/>
          </a:srgbClr>
        </a:solidFill>
        <a:effectLst/>
      </p:bgPr>
    </p:bg>
    <p:spTree>
      <p:nvGrpSpPr>
        <p:cNvPr id="1" name=""/>
        <p:cNvGrpSpPr/>
        <p:nvPr/>
      </p:nvGrpSpPr>
      <p:grpSpPr>
        <a:xfrm>
          <a:off x="0" y="0"/>
          <a:ext cx="0" cy="0"/>
          <a:chOff x="0" y="0"/>
          <a:chExt cx="0" cy="0"/>
        </a:xfrm>
      </p:grpSpPr>
      <p:pic>
        <p:nvPicPr>
          <p:cNvPr id="10" name="Picture 6" descr="\\MAGNUM\Projects\Microsoft\Cloud Power FY12\Design\ICONS_PNG\Cloud.png"/>
          <p:cNvPicPr>
            <a:picLocks noChangeAspect="1" noChangeArrowheads="1"/>
          </p:cNvPicPr>
          <p:nvPr/>
        </p:nvPicPr>
        <p:blipFill rotWithShape="1">
          <a:blip r:embed="rId3" cstate="print">
            <a:duotone>
              <a:prstClr val="black"/>
              <a:schemeClr val="tx2">
                <a:tint val="45000"/>
                <a:satMod val="400000"/>
              </a:schemeClr>
            </a:duotone>
          </a:blip>
          <a:srcRect t="16631" b="16846"/>
          <a:stretch/>
        </p:blipFill>
        <p:spPr bwMode="auto">
          <a:xfrm>
            <a:off x="1394457" y="1022260"/>
            <a:ext cx="9608801" cy="5718190"/>
          </a:xfrm>
          <a:prstGeom prst="rect">
            <a:avLst/>
          </a:prstGeom>
          <a:noFill/>
        </p:spPr>
      </p:pic>
      <p:cxnSp>
        <p:nvCxnSpPr>
          <p:cNvPr id="13" name="Straight Connector 12"/>
          <p:cNvCxnSpPr/>
          <p:nvPr/>
        </p:nvCxnSpPr>
        <p:spPr>
          <a:xfrm flipH="1">
            <a:off x="7134857" y="4550406"/>
            <a:ext cx="89135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 name="Oval 14"/>
          <p:cNvSpPr/>
          <p:nvPr/>
        </p:nvSpPr>
        <p:spPr>
          <a:xfrm>
            <a:off x="4090001" y="2430419"/>
            <a:ext cx="1090940" cy="1090940"/>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sp>
        <p:nvSpPr>
          <p:cNvPr id="16" name="Oval 15"/>
          <p:cNvSpPr/>
          <p:nvPr/>
        </p:nvSpPr>
        <p:spPr>
          <a:xfrm>
            <a:off x="2795575" y="3814866"/>
            <a:ext cx="1478205" cy="1478205"/>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sp>
        <p:nvSpPr>
          <p:cNvPr id="17" name="Oval 16"/>
          <p:cNvSpPr/>
          <p:nvPr/>
        </p:nvSpPr>
        <p:spPr>
          <a:xfrm>
            <a:off x="8039328" y="3814866"/>
            <a:ext cx="1478205" cy="1478205"/>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sp>
        <p:nvSpPr>
          <p:cNvPr id="18" name="Oval 17"/>
          <p:cNvSpPr/>
          <p:nvPr/>
        </p:nvSpPr>
        <p:spPr>
          <a:xfrm>
            <a:off x="7116181" y="2430419"/>
            <a:ext cx="1090940" cy="1090940"/>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sp>
        <p:nvSpPr>
          <p:cNvPr id="19" name="Oval 18"/>
          <p:cNvSpPr/>
          <p:nvPr/>
        </p:nvSpPr>
        <p:spPr>
          <a:xfrm>
            <a:off x="9317770" y="2430419"/>
            <a:ext cx="1090940" cy="1090940"/>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sp>
        <p:nvSpPr>
          <p:cNvPr id="20" name="Oval 19"/>
          <p:cNvSpPr/>
          <p:nvPr/>
        </p:nvSpPr>
        <p:spPr>
          <a:xfrm>
            <a:off x="1888412" y="2430419"/>
            <a:ext cx="1090940" cy="1090940"/>
          </a:xfrm>
          <a:prstGeom prst="ellipse">
            <a:avLst/>
          </a:prstGeom>
          <a:solidFill>
            <a:schemeClr val="tx2"/>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grpSp>
        <p:nvGrpSpPr>
          <p:cNvPr id="21" name="Group 20"/>
          <p:cNvGrpSpPr/>
          <p:nvPr/>
        </p:nvGrpSpPr>
        <p:grpSpPr>
          <a:xfrm>
            <a:off x="4322574" y="2716876"/>
            <a:ext cx="625795" cy="518026"/>
            <a:chOff x="16659225" y="-4403725"/>
            <a:chExt cx="3724275" cy="3082925"/>
          </a:xfrm>
          <a:solidFill>
            <a:schemeClr val="bg1">
              <a:lumMod val="95000"/>
            </a:schemeClr>
          </a:solidFill>
        </p:grpSpPr>
        <p:sp>
          <p:nvSpPr>
            <p:cNvPr id="22"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23"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nvGrpSpPr>
          <p:cNvPr id="24" name="Group 23"/>
          <p:cNvGrpSpPr/>
          <p:nvPr/>
        </p:nvGrpSpPr>
        <p:grpSpPr>
          <a:xfrm>
            <a:off x="3196738" y="4246173"/>
            <a:ext cx="749873" cy="595872"/>
            <a:chOff x="-3435350" y="5073650"/>
            <a:chExt cx="3192462" cy="2536826"/>
          </a:xfrm>
          <a:solidFill>
            <a:schemeClr val="bg1">
              <a:lumMod val="95000"/>
            </a:schemeClr>
          </a:solidFill>
        </p:grpSpPr>
        <p:sp>
          <p:nvSpPr>
            <p:cNvPr id="25"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26"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27"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28"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29"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30"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31"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32"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33"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nvGrpSpPr>
          <p:cNvPr id="34" name="Group 33"/>
          <p:cNvGrpSpPr/>
          <p:nvPr/>
        </p:nvGrpSpPr>
        <p:grpSpPr>
          <a:xfrm>
            <a:off x="8541941" y="4112266"/>
            <a:ext cx="441013" cy="883402"/>
            <a:chOff x="-4067175" y="1268413"/>
            <a:chExt cx="2540000" cy="5087937"/>
          </a:xfrm>
          <a:solidFill>
            <a:schemeClr val="bg1">
              <a:lumMod val="95000"/>
            </a:schemeClr>
          </a:solidFill>
        </p:grpSpPr>
        <p:sp>
          <p:nvSpPr>
            <p:cNvPr id="35" name="Freeform 5"/>
            <p:cNvSpPr>
              <a:spLocks noEditPoints="1"/>
            </p:cNvSpPr>
            <p:nvPr/>
          </p:nvSpPr>
          <p:spPr bwMode="auto">
            <a:xfrm>
              <a:off x="-4067175" y="1268413"/>
              <a:ext cx="2540000" cy="4457700"/>
            </a:xfrm>
            <a:custGeom>
              <a:avLst/>
              <a:gdLst>
                <a:gd name="T0" fmla="*/ 0 w 675"/>
                <a:gd name="T1" fmla="*/ 1186 h 1186"/>
                <a:gd name="T2" fmla="*/ 675 w 675"/>
                <a:gd name="T3" fmla="*/ 0 h 1186"/>
                <a:gd name="T4" fmla="*/ 618 w 675"/>
                <a:gd name="T5" fmla="*/ 1104 h 1186"/>
                <a:gd name="T6" fmla="*/ 71 w 675"/>
                <a:gd name="T7" fmla="*/ 1118 h 1186"/>
                <a:gd name="T8" fmla="*/ 58 w 675"/>
                <a:gd name="T9" fmla="*/ 1048 h 1186"/>
                <a:gd name="T10" fmla="*/ 604 w 675"/>
                <a:gd name="T11" fmla="*/ 1034 h 1186"/>
                <a:gd name="T12" fmla="*/ 618 w 675"/>
                <a:gd name="T13" fmla="*/ 1104 h 1186"/>
                <a:gd name="T14" fmla="*/ 498 w 675"/>
                <a:gd name="T15" fmla="*/ 567 h 1186"/>
                <a:gd name="T16" fmla="*/ 514 w 675"/>
                <a:gd name="T17" fmla="*/ 583 h 1186"/>
                <a:gd name="T18" fmla="*/ 497 w 675"/>
                <a:gd name="T19" fmla="*/ 599 h 1186"/>
                <a:gd name="T20" fmla="*/ 482 w 675"/>
                <a:gd name="T21" fmla="*/ 583 h 1186"/>
                <a:gd name="T22" fmla="*/ 482 w 675"/>
                <a:gd name="T23" fmla="*/ 530 h 1186"/>
                <a:gd name="T24" fmla="*/ 497 w 675"/>
                <a:gd name="T25" fmla="*/ 514 h 1186"/>
                <a:gd name="T26" fmla="*/ 514 w 675"/>
                <a:gd name="T27" fmla="*/ 530 h 1186"/>
                <a:gd name="T28" fmla="*/ 498 w 675"/>
                <a:gd name="T29" fmla="*/ 546 h 1186"/>
                <a:gd name="T30" fmla="*/ 482 w 675"/>
                <a:gd name="T31" fmla="*/ 530 h 1186"/>
                <a:gd name="T32" fmla="*/ 498 w 675"/>
                <a:gd name="T33" fmla="*/ 621 h 1186"/>
                <a:gd name="T34" fmla="*/ 514 w 675"/>
                <a:gd name="T35" fmla="*/ 637 h 1186"/>
                <a:gd name="T36" fmla="*/ 497 w 675"/>
                <a:gd name="T37" fmla="*/ 653 h 1186"/>
                <a:gd name="T38" fmla="*/ 482 w 675"/>
                <a:gd name="T39" fmla="*/ 637 h 1186"/>
                <a:gd name="T40" fmla="*/ 549 w 675"/>
                <a:gd name="T41" fmla="*/ 567 h 1186"/>
                <a:gd name="T42" fmla="*/ 566 w 675"/>
                <a:gd name="T43" fmla="*/ 583 h 1186"/>
                <a:gd name="T44" fmla="*/ 550 w 675"/>
                <a:gd name="T45" fmla="*/ 599 h 1186"/>
                <a:gd name="T46" fmla="*/ 534 w 675"/>
                <a:gd name="T47" fmla="*/ 583 h 1186"/>
                <a:gd name="T48" fmla="*/ 549 w 675"/>
                <a:gd name="T49" fmla="*/ 567 h 1186"/>
                <a:gd name="T50" fmla="*/ 534 w 675"/>
                <a:gd name="T51" fmla="*/ 530 h 1186"/>
                <a:gd name="T52" fmla="*/ 550 w 675"/>
                <a:gd name="T53" fmla="*/ 514 h 1186"/>
                <a:gd name="T54" fmla="*/ 566 w 675"/>
                <a:gd name="T55" fmla="*/ 530 h 1186"/>
                <a:gd name="T56" fmla="*/ 549 w 675"/>
                <a:gd name="T57" fmla="*/ 546 h 1186"/>
                <a:gd name="T58" fmla="*/ 549 w 675"/>
                <a:gd name="T59" fmla="*/ 621 h 1186"/>
                <a:gd name="T60" fmla="*/ 566 w 675"/>
                <a:gd name="T61" fmla="*/ 637 h 1186"/>
                <a:gd name="T62" fmla="*/ 550 w 675"/>
                <a:gd name="T63" fmla="*/ 653 h 1186"/>
                <a:gd name="T64" fmla="*/ 534 w 675"/>
                <a:gd name="T65" fmla="*/ 637 h 1186"/>
                <a:gd name="T66" fmla="*/ 549 w 675"/>
                <a:gd name="T67" fmla="*/ 621 h 1186"/>
                <a:gd name="T68" fmla="*/ 550 w 675"/>
                <a:gd name="T69" fmla="*/ 673 h 1186"/>
                <a:gd name="T70" fmla="*/ 566 w 675"/>
                <a:gd name="T71" fmla="*/ 689 h 1186"/>
                <a:gd name="T72" fmla="*/ 549 w 675"/>
                <a:gd name="T73" fmla="*/ 705 h 1186"/>
                <a:gd name="T74" fmla="*/ 534 w 675"/>
                <a:gd name="T75" fmla="*/ 689 h 1186"/>
                <a:gd name="T76" fmla="*/ 618 w 675"/>
                <a:gd name="T77" fmla="*/ 637 h 1186"/>
                <a:gd name="T78" fmla="*/ 601 w 675"/>
                <a:gd name="T79" fmla="*/ 653 h 1186"/>
                <a:gd name="T80" fmla="*/ 586 w 675"/>
                <a:gd name="T81" fmla="*/ 637 h 1186"/>
                <a:gd name="T82" fmla="*/ 602 w 675"/>
                <a:gd name="T83" fmla="*/ 621 h 1186"/>
                <a:gd name="T84" fmla="*/ 618 w 675"/>
                <a:gd name="T85" fmla="*/ 583 h 1186"/>
                <a:gd name="T86" fmla="*/ 601 w 675"/>
                <a:gd name="T87" fmla="*/ 599 h 1186"/>
                <a:gd name="T88" fmla="*/ 586 w 675"/>
                <a:gd name="T89" fmla="*/ 583 h 1186"/>
                <a:gd name="T90" fmla="*/ 602 w 675"/>
                <a:gd name="T91" fmla="*/ 567 h 1186"/>
                <a:gd name="T92" fmla="*/ 618 w 675"/>
                <a:gd name="T93" fmla="*/ 530 h 1186"/>
                <a:gd name="T94" fmla="*/ 601 w 675"/>
                <a:gd name="T95" fmla="*/ 546 h 1186"/>
                <a:gd name="T96" fmla="*/ 586 w 675"/>
                <a:gd name="T97" fmla="*/ 530 h 1186"/>
                <a:gd name="T98" fmla="*/ 602 w 675"/>
                <a:gd name="T99" fmla="*/ 514 h 1186"/>
                <a:gd name="T100" fmla="*/ 618 w 675"/>
                <a:gd name="T101" fmla="*/ 414 h 1186"/>
                <a:gd name="T102" fmla="*/ 384 w 675"/>
                <a:gd name="T103" fmla="*/ 431 h 1186"/>
                <a:gd name="T104" fmla="*/ 368 w 675"/>
                <a:gd name="T105" fmla="*/ 974 h 1186"/>
                <a:gd name="T106" fmla="*/ 74 w 675"/>
                <a:gd name="T107" fmla="*/ 991 h 1186"/>
                <a:gd name="T108" fmla="*/ 58 w 675"/>
                <a:gd name="T109" fmla="*/ 74 h 1186"/>
                <a:gd name="T110" fmla="*/ 601 w 675"/>
                <a:gd name="T111" fmla="*/ 57 h 1186"/>
                <a:gd name="T112" fmla="*/ 618 w 675"/>
                <a:gd name="T113" fmla="*/ 41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5" h="1186">
                  <a:moveTo>
                    <a:pt x="0" y="0"/>
                  </a:moveTo>
                  <a:cubicBezTo>
                    <a:pt x="0" y="1186"/>
                    <a:pt x="0" y="1186"/>
                    <a:pt x="0" y="1186"/>
                  </a:cubicBezTo>
                  <a:cubicBezTo>
                    <a:pt x="675" y="1186"/>
                    <a:pt x="675" y="1186"/>
                    <a:pt x="675" y="1186"/>
                  </a:cubicBezTo>
                  <a:cubicBezTo>
                    <a:pt x="675" y="0"/>
                    <a:pt x="675" y="0"/>
                    <a:pt x="675" y="0"/>
                  </a:cubicBezTo>
                  <a:lnTo>
                    <a:pt x="0" y="0"/>
                  </a:lnTo>
                  <a:close/>
                  <a:moveTo>
                    <a:pt x="618" y="1104"/>
                  </a:moveTo>
                  <a:cubicBezTo>
                    <a:pt x="618" y="1112"/>
                    <a:pt x="612" y="1118"/>
                    <a:pt x="604" y="1118"/>
                  </a:cubicBezTo>
                  <a:cubicBezTo>
                    <a:pt x="71" y="1118"/>
                    <a:pt x="71" y="1118"/>
                    <a:pt x="71" y="1118"/>
                  </a:cubicBezTo>
                  <a:cubicBezTo>
                    <a:pt x="64" y="1118"/>
                    <a:pt x="58" y="1112"/>
                    <a:pt x="58" y="1104"/>
                  </a:cubicBezTo>
                  <a:cubicBezTo>
                    <a:pt x="58" y="1048"/>
                    <a:pt x="58" y="1048"/>
                    <a:pt x="58" y="1048"/>
                  </a:cubicBezTo>
                  <a:cubicBezTo>
                    <a:pt x="58" y="1040"/>
                    <a:pt x="64" y="1034"/>
                    <a:pt x="71" y="1034"/>
                  </a:cubicBezTo>
                  <a:cubicBezTo>
                    <a:pt x="604" y="1034"/>
                    <a:pt x="604" y="1034"/>
                    <a:pt x="604" y="1034"/>
                  </a:cubicBezTo>
                  <a:cubicBezTo>
                    <a:pt x="612" y="1034"/>
                    <a:pt x="618" y="1040"/>
                    <a:pt x="618" y="1048"/>
                  </a:cubicBezTo>
                  <a:lnTo>
                    <a:pt x="618" y="1104"/>
                  </a:lnTo>
                  <a:close/>
                  <a:moveTo>
                    <a:pt x="497" y="567"/>
                  </a:moveTo>
                  <a:cubicBezTo>
                    <a:pt x="498" y="567"/>
                    <a:pt x="498" y="567"/>
                    <a:pt x="498" y="567"/>
                  </a:cubicBezTo>
                  <a:cubicBezTo>
                    <a:pt x="507" y="567"/>
                    <a:pt x="514" y="574"/>
                    <a:pt x="514" y="583"/>
                  </a:cubicBezTo>
                  <a:cubicBezTo>
                    <a:pt x="514" y="583"/>
                    <a:pt x="514" y="583"/>
                    <a:pt x="514" y="583"/>
                  </a:cubicBezTo>
                  <a:cubicBezTo>
                    <a:pt x="514" y="592"/>
                    <a:pt x="507" y="599"/>
                    <a:pt x="498" y="599"/>
                  </a:cubicBezTo>
                  <a:cubicBezTo>
                    <a:pt x="497" y="599"/>
                    <a:pt x="497" y="599"/>
                    <a:pt x="497" y="599"/>
                  </a:cubicBezTo>
                  <a:cubicBezTo>
                    <a:pt x="489" y="599"/>
                    <a:pt x="482" y="592"/>
                    <a:pt x="482" y="583"/>
                  </a:cubicBezTo>
                  <a:cubicBezTo>
                    <a:pt x="482" y="583"/>
                    <a:pt x="482" y="583"/>
                    <a:pt x="482" y="583"/>
                  </a:cubicBezTo>
                  <a:cubicBezTo>
                    <a:pt x="482" y="574"/>
                    <a:pt x="489" y="567"/>
                    <a:pt x="497" y="567"/>
                  </a:cubicBezTo>
                  <a:close/>
                  <a:moveTo>
                    <a:pt x="482" y="530"/>
                  </a:moveTo>
                  <a:cubicBezTo>
                    <a:pt x="482" y="530"/>
                    <a:pt x="482" y="530"/>
                    <a:pt x="482" y="530"/>
                  </a:cubicBezTo>
                  <a:cubicBezTo>
                    <a:pt x="482" y="521"/>
                    <a:pt x="489" y="514"/>
                    <a:pt x="497" y="514"/>
                  </a:cubicBezTo>
                  <a:cubicBezTo>
                    <a:pt x="498" y="514"/>
                    <a:pt x="498" y="514"/>
                    <a:pt x="498" y="514"/>
                  </a:cubicBezTo>
                  <a:cubicBezTo>
                    <a:pt x="507" y="514"/>
                    <a:pt x="514" y="521"/>
                    <a:pt x="514" y="530"/>
                  </a:cubicBezTo>
                  <a:cubicBezTo>
                    <a:pt x="514" y="530"/>
                    <a:pt x="514" y="530"/>
                    <a:pt x="514" y="530"/>
                  </a:cubicBezTo>
                  <a:cubicBezTo>
                    <a:pt x="514" y="539"/>
                    <a:pt x="507" y="546"/>
                    <a:pt x="498" y="546"/>
                  </a:cubicBezTo>
                  <a:cubicBezTo>
                    <a:pt x="497" y="546"/>
                    <a:pt x="497" y="546"/>
                    <a:pt x="497" y="546"/>
                  </a:cubicBezTo>
                  <a:cubicBezTo>
                    <a:pt x="489" y="546"/>
                    <a:pt x="482" y="539"/>
                    <a:pt x="482" y="530"/>
                  </a:cubicBezTo>
                  <a:close/>
                  <a:moveTo>
                    <a:pt x="497" y="621"/>
                  </a:moveTo>
                  <a:cubicBezTo>
                    <a:pt x="498" y="621"/>
                    <a:pt x="498" y="621"/>
                    <a:pt x="498" y="621"/>
                  </a:cubicBezTo>
                  <a:cubicBezTo>
                    <a:pt x="507" y="621"/>
                    <a:pt x="514" y="628"/>
                    <a:pt x="514" y="637"/>
                  </a:cubicBezTo>
                  <a:cubicBezTo>
                    <a:pt x="514" y="637"/>
                    <a:pt x="514" y="637"/>
                    <a:pt x="514" y="637"/>
                  </a:cubicBezTo>
                  <a:cubicBezTo>
                    <a:pt x="514" y="646"/>
                    <a:pt x="507" y="653"/>
                    <a:pt x="498" y="653"/>
                  </a:cubicBezTo>
                  <a:cubicBezTo>
                    <a:pt x="497" y="653"/>
                    <a:pt x="497" y="653"/>
                    <a:pt x="497" y="653"/>
                  </a:cubicBezTo>
                  <a:cubicBezTo>
                    <a:pt x="489" y="653"/>
                    <a:pt x="482" y="646"/>
                    <a:pt x="482" y="637"/>
                  </a:cubicBezTo>
                  <a:cubicBezTo>
                    <a:pt x="482" y="637"/>
                    <a:pt x="482" y="637"/>
                    <a:pt x="482" y="637"/>
                  </a:cubicBezTo>
                  <a:cubicBezTo>
                    <a:pt x="482" y="628"/>
                    <a:pt x="489" y="621"/>
                    <a:pt x="497" y="621"/>
                  </a:cubicBezTo>
                  <a:close/>
                  <a:moveTo>
                    <a:pt x="549" y="567"/>
                  </a:moveTo>
                  <a:cubicBezTo>
                    <a:pt x="550" y="567"/>
                    <a:pt x="550" y="567"/>
                    <a:pt x="550" y="567"/>
                  </a:cubicBezTo>
                  <a:cubicBezTo>
                    <a:pt x="559" y="567"/>
                    <a:pt x="566" y="574"/>
                    <a:pt x="566" y="583"/>
                  </a:cubicBezTo>
                  <a:cubicBezTo>
                    <a:pt x="566" y="583"/>
                    <a:pt x="566" y="583"/>
                    <a:pt x="566" y="583"/>
                  </a:cubicBezTo>
                  <a:cubicBezTo>
                    <a:pt x="566" y="592"/>
                    <a:pt x="559" y="599"/>
                    <a:pt x="550" y="599"/>
                  </a:cubicBezTo>
                  <a:cubicBezTo>
                    <a:pt x="549" y="599"/>
                    <a:pt x="549" y="599"/>
                    <a:pt x="549" y="599"/>
                  </a:cubicBezTo>
                  <a:cubicBezTo>
                    <a:pt x="541" y="599"/>
                    <a:pt x="534" y="592"/>
                    <a:pt x="534" y="583"/>
                  </a:cubicBezTo>
                  <a:cubicBezTo>
                    <a:pt x="534" y="583"/>
                    <a:pt x="534" y="583"/>
                    <a:pt x="534" y="583"/>
                  </a:cubicBezTo>
                  <a:cubicBezTo>
                    <a:pt x="534" y="574"/>
                    <a:pt x="541" y="567"/>
                    <a:pt x="549" y="567"/>
                  </a:cubicBezTo>
                  <a:close/>
                  <a:moveTo>
                    <a:pt x="534" y="530"/>
                  </a:moveTo>
                  <a:cubicBezTo>
                    <a:pt x="534" y="530"/>
                    <a:pt x="534" y="530"/>
                    <a:pt x="534" y="530"/>
                  </a:cubicBezTo>
                  <a:cubicBezTo>
                    <a:pt x="534" y="521"/>
                    <a:pt x="541" y="514"/>
                    <a:pt x="549" y="514"/>
                  </a:cubicBezTo>
                  <a:cubicBezTo>
                    <a:pt x="550" y="514"/>
                    <a:pt x="550" y="514"/>
                    <a:pt x="550" y="514"/>
                  </a:cubicBezTo>
                  <a:cubicBezTo>
                    <a:pt x="559" y="514"/>
                    <a:pt x="566" y="521"/>
                    <a:pt x="566" y="530"/>
                  </a:cubicBezTo>
                  <a:cubicBezTo>
                    <a:pt x="566" y="530"/>
                    <a:pt x="566" y="530"/>
                    <a:pt x="566" y="530"/>
                  </a:cubicBezTo>
                  <a:cubicBezTo>
                    <a:pt x="566" y="539"/>
                    <a:pt x="559" y="546"/>
                    <a:pt x="550" y="546"/>
                  </a:cubicBezTo>
                  <a:cubicBezTo>
                    <a:pt x="549" y="546"/>
                    <a:pt x="549" y="546"/>
                    <a:pt x="549" y="546"/>
                  </a:cubicBezTo>
                  <a:cubicBezTo>
                    <a:pt x="541" y="546"/>
                    <a:pt x="534" y="539"/>
                    <a:pt x="534" y="530"/>
                  </a:cubicBezTo>
                  <a:close/>
                  <a:moveTo>
                    <a:pt x="549" y="621"/>
                  </a:moveTo>
                  <a:cubicBezTo>
                    <a:pt x="550" y="621"/>
                    <a:pt x="550" y="621"/>
                    <a:pt x="550" y="621"/>
                  </a:cubicBezTo>
                  <a:cubicBezTo>
                    <a:pt x="559" y="621"/>
                    <a:pt x="566" y="628"/>
                    <a:pt x="566" y="637"/>
                  </a:cubicBezTo>
                  <a:cubicBezTo>
                    <a:pt x="566" y="637"/>
                    <a:pt x="566" y="637"/>
                    <a:pt x="566" y="637"/>
                  </a:cubicBezTo>
                  <a:cubicBezTo>
                    <a:pt x="566" y="646"/>
                    <a:pt x="559" y="653"/>
                    <a:pt x="550" y="653"/>
                  </a:cubicBezTo>
                  <a:cubicBezTo>
                    <a:pt x="549" y="653"/>
                    <a:pt x="549" y="653"/>
                    <a:pt x="549" y="653"/>
                  </a:cubicBezTo>
                  <a:cubicBezTo>
                    <a:pt x="541" y="653"/>
                    <a:pt x="534" y="646"/>
                    <a:pt x="534" y="637"/>
                  </a:cubicBezTo>
                  <a:cubicBezTo>
                    <a:pt x="534" y="637"/>
                    <a:pt x="534" y="637"/>
                    <a:pt x="534" y="637"/>
                  </a:cubicBezTo>
                  <a:cubicBezTo>
                    <a:pt x="534" y="628"/>
                    <a:pt x="541" y="621"/>
                    <a:pt x="549" y="621"/>
                  </a:cubicBezTo>
                  <a:close/>
                  <a:moveTo>
                    <a:pt x="549" y="673"/>
                  </a:moveTo>
                  <a:cubicBezTo>
                    <a:pt x="550" y="673"/>
                    <a:pt x="550" y="673"/>
                    <a:pt x="550" y="673"/>
                  </a:cubicBezTo>
                  <a:cubicBezTo>
                    <a:pt x="559" y="673"/>
                    <a:pt x="566" y="680"/>
                    <a:pt x="566" y="689"/>
                  </a:cubicBezTo>
                  <a:cubicBezTo>
                    <a:pt x="566" y="689"/>
                    <a:pt x="566" y="689"/>
                    <a:pt x="566" y="689"/>
                  </a:cubicBezTo>
                  <a:cubicBezTo>
                    <a:pt x="566" y="698"/>
                    <a:pt x="559" y="705"/>
                    <a:pt x="550" y="705"/>
                  </a:cubicBezTo>
                  <a:cubicBezTo>
                    <a:pt x="549" y="705"/>
                    <a:pt x="549" y="705"/>
                    <a:pt x="549" y="705"/>
                  </a:cubicBezTo>
                  <a:cubicBezTo>
                    <a:pt x="541" y="705"/>
                    <a:pt x="534" y="698"/>
                    <a:pt x="534" y="689"/>
                  </a:cubicBezTo>
                  <a:cubicBezTo>
                    <a:pt x="534" y="689"/>
                    <a:pt x="534" y="689"/>
                    <a:pt x="534" y="689"/>
                  </a:cubicBezTo>
                  <a:cubicBezTo>
                    <a:pt x="534" y="680"/>
                    <a:pt x="541" y="673"/>
                    <a:pt x="549" y="673"/>
                  </a:cubicBezTo>
                  <a:close/>
                  <a:moveTo>
                    <a:pt x="618" y="637"/>
                  </a:moveTo>
                  <a:cubicBezTo>
                    <a:pt x="618" y="646"/>
                    <a:pt x="611" y="653"/>
                    <a:pt x="602" y="653"/>
                  </a:cubicBezTo>
                  <a:cubicBezTo>
                    <a:pt x="601" y="653"/>
                    <a:pt x="601" y="653"/>
                    <a:pt x="601" y="653"/>
                  </a:cubicBezTo>
                  <a:cubicBezTo>
                    <a:pt x="593" y="653"/>
                    <a:pt x="586" y="646"/>
                    <a:pt x="586" y="637"/>
                  </a:cubicBezTo>
                  <a:cubicBezTo>
                    <a:pt x="586" y="637"/>
                    <a:pt x="586" y="637"/>
                    <a:pt x="586" y="637"/>
                  </a:cubicBezTo>
                  <a:cubicBezTo>
                    <a:pt x="586" y="628"/>
                    <a:pt x="593" y="621"/>
                    <a:pt x="601" y="621"/>
                  </a:cubicBezTo>
                  <a:cubicBezTo>
                    <a:pt x="602" y="621"/>
                    <a:pt x="602" y="621"/>
                    <a:pt x="602" y="621"/>
                  </a:cubicBezTo>
                  <a:cubicBezTo>
                    <a:pt x="611" y="621"/>
                    <a:pt x="618" y="628"/>
                    <a:pt x="618" y="637"/>
                  </a:cubicBezTo>
                  <a:close/>
                  <a:moveTo>
                    <a:pt x="618" y="583"/>
                  </a:moveTo>
                  <a:cubicBezTo>
                    <a:pt x="618" y="592"/>
                    <a:pt x="611" y="599"/>
                    <a:pt x="602" y="599"/>
                  </a:cubicBezTo>
                  <a:cubicBezTo>
                    <a:pt x="601" y="599"/>
                    <a:pt x="601" y="599"/>
                    <a:pt x="601" y="599"/>
                  </a:cubicBezTo>
                  <a:cubicBezTo>
                    <a:pt x="593" y="599"/>
                    <a:pt x="586" y="592"/>
                    <a:pt x="586" y="583"/>
                  </a:cubicBezTo>
                  <a:cubicBezTo>
                    <a:pt x="586" y="583"/>
                    <a:pt x="586" y="583"/>
                    <a:pt x="586" y="583"/>
                  </a:cubicBezTo>
                  <a:cubicBezTo>
                    <a:pt x="586" y="574"/>
                    <a:pt x="593" y="567"/>
                    <a:pt x="601" y="567"/>
                  </a:cubicBezTo>
                  <a:cubicBezTo>
                    <a:pt x="602" y="567"/>
                    <a:pt x="602" y="567"/>
                    <a:pt x="602" y="567"/>
                  </a:cubicBezTo>
                  <a:cubicBezTo>
                    <a:pt x="611" y="567"/>
                    <a:pt x="618" y="574"/>
                    <a:pt x="618" y="583"/>
                  </a:cubicBezTo>
                  <a:close/>
                  <a:moveTo>
                    <a:pt x="618" y="530"/>
                  </a:moveTo>
                  <a:cubicBezTo>
                    <a:pt x="618" y="539"/>
                    <a:pt x="611" y="546"/>
                    <a:pt x="602" y="546"/>
                  </a:cubicBezTo>
                  <a:cubicBezTo>
                    <a:pt x="601" y="546"/>
                    <a:pt x="601" y="546"/>
                    <a:pt x="601" y="546"/>
                  </a:cubicBezTo>
                  <a:cubicBezTo>
                    <a:pt x="593" y="546"/>
                    <a:pt x="586" y="539"/>
                    <a:pt x="586" y="530"/>
                  </a:cubicBezTo>
                  <a:cubicBezTo>
                    <a:pt x="586" y="530"/>
                    <a:pt x="586" y="530"/>
                    <a:pt x="586" y="530"/>
                  </a:cubicBezTo>
                  <a:cubicBezTo>
                    <a:pt x="586" y="521"/>
                    <a:pt x="593" y="514"/>
                    <a:pt x="601" y="514"/>
                  </a:cubicBezTo>
                  <a:cubicBezTo>
                    <a:pt x="602" y="514"/>
                    <a:pt x="602" y="514"/>
                    <a:pt x="602" y="514"/>
                  </a:cubicBezTo>
                  <a:cubicBezTo>
                    <a:pt x="611" y="514"/>
                    <a:pt x="618" y="521"/>
                    <a:pt x="618" y="530"/>
                  </a:cubicBezTo>
                  <a:close/>
                  <a:moveTo>
                    <a:pt x="618" y="414"/>
                  </a:moveTo>
                  <a:cubicBezTo>
                    <a:pt x="618" y="423"/>
                    <a:pt x="610" y="431"/>
                    <a:pt x="601" y="431"/>
                  </a:cubicBezTo>
                  <a:cubicBezTo>
                    <a:pt x="384" y="431"/>
                    <a:pt x="384" y="431"/>
                    <a:pt x="384" y="431"/>
                  </a:cubicBezTo>
                  <a:cubicBezTo>
                    <a:pt x="375" y="431"/>
                    <a:pt x="368" y="438"/>
                    <a:pt x="368" y="447"/>
                  </a:cubicBezTo>
                  <a:cubicBezTo>
                    <a:pt x="368" y="974"/>
                    <a:pt x="368" y="974"/>
                    <a:pt x="368" y="974"/>
                  </a:cubicBezTo>
                  <a:cubicBezTo>
                    <a:pt x="368" y="983"/>
                    <a:pt x="360" y="991"/>
                    <a:pt x="351" y="991"/>
                  </a:cubicBezTo>
                  <a:cubicBezTo>
                    <a:pt x="74" y="991"/>
                    <a:pt x="74" y="991"/>
                    <a:pt x="74" y="991"/>
                  </a:cubicBezTo>
                  <a:cubicBezTo>
                    <a:pt x="65" y="991"/>
                    <a:pt x="58" y="983"/>
                    <a:pt x="58" y="974"/>
                  </a:cubicBezTo>
                  <a:cubicBezTo>
                    <a:pt x="58" y="74"/>
                    <a:pt x="58" y="74"/>
                    <a:pt x="58" y="74"/>
                  </a:cubicBezTo>
                  <a:cubicBezTo>
                    <a:pt x="58" y="65"/>
                    <a:pt x="65" y="57"/>
                    <a:pt x="74" y="57"/>
                  </a:cubicBezTo>
                  <a:cubicBezTo>
                    <a:pt x="601" y="57"/>
                    <a:pt x="601" y="57"/>
                    <a:pt x="601" y="57"/>
                  </a:cubicBezTo>
                  <a:cubicBezTo>
                    <a:pt x="610" y="57"/>
                    <a:pt x="618" y="65"/>
                    <a:pt x="618" y="74"/>
                  </a:cubicBezTo>
                  <a:lnTo>
                    <a:pt x="618"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36" name="Rectangle 6"/>
            <p:cNvSpPr>
              <a:spLocks noChangeArrowheads="1"/>
            </p:cNvSpPr>
            <p:nvPr/>
          </p:nvSpPr>
          <p:spPr bwMode="auto">
            <a:xfrm>
              <a:off x="-4067175" y="5792788"/>
              <a:ext cx="2540000" cy="5635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37" name="Freeform 7"/>
            <p:cNvSpPr>
              <a:spLocks/>
            </p:cNvSpPr>
            <p:nvPr/>
          </p:nvSpPr>
          <p:spPr bwMode="auto">
            <a:xfrm>
              <a:off x="-3709988" y="1711325"/>
              <a:ext cx="1814513" cy="534987"/>
            </a:xfrm>
            <a:custGeom>
              <a:avLst/>
              <a:gdLst>
                <a:gd name="T0" fmla="*/ 1084 w 1143"/>
                <a:gd name="T1" fmla="*/ 0 h 337"/>
                <a:gd name="T2" fmla="*/ 932 w 1143"/>
                <a:gd name="T3" fmla="*/ 0 h 337"/>
                <a:gd name="T4" fmla="*/ 932 w 1143"/>
                <a:gd name="T5" fmla="*/ 287 h 337"/>
                <a:gd name="T6" fmla="*/ 865 w 1143"/>
                <a:gd name="T7" fmla="*/ 287 h 337"/>
                <a:gd name="T8" fmla="*/ 865 w 1143"/>
                <a:gd name="T9" fmla="*/ 0 h 337"/>
                <a:gd name="T10" fmla="*/ 714 w 1143"/>
                <a:gd name="T11" fmla="*/ 0 h 337"/>
                <a:gd name="T12" fmla="*/ 714 w 1143"/>
                <a:gd name="T13" fmla="*/ 287 h 337"/>
                <a:gd name="T14" fmla="*/ 647 w 1143"/>
                <a:gd name="T15" fmla="*/ 287 h 337"/>
                <a:gd name="T16" fmla="*/ 647 w 1143"/>
                <a:gd name="T17" fmla="*/ 0 h 337"/>
                <a:gd name="T18" fmla="*/ 496 w 1143"/>
                <a:gd name="T19" fmla="*/ 0 h 337"/>
                <a:gd name="T20" fmla="*/ 496 w 1143"/>
                <a:gd name="T21" fmla="*/ 287 h 337"/>
                <a:gd name="T22" fmla="*/ 427 w 1143"/>
                <a:gd name="T23" fmla="*/ 287 h 337"/>
                <a:gd name="T24" fmla="*/ 427 w 1143"/>
                <a:gd name="T25" fmla="*/ 0 h 337"/>
                <a:gd name="T26" fmla="*/ 275 w 1143"/>
                <a:gd name="T27" fmla="*/ 0 h 337"/>
                <a:gd name="T28" fmla="*/ 275 w 1143"/>
                <a:gd name="T29" fmla="*/ 287 h 337"/>
                <a:gd name="T30" fmla="*/ 209 w 1143"/>
                <a:gd name="T31" fmla="*/ 287 h 337"/>
                <a:gd name="T32" fmla="*/ 209 w 1143"/>
                <a:gd name="T33" fmla="*/ 0 h 337"/>
                <a:gd name="T34" fmla="*/ 57 w 1143"/>
                <a:gd name="T35" fmla="*/ 0 h 337"/>
                <a:gd name="T36" fmla="*/ 57 w 1143"/>
                <a:gd name="T37" fmla="*/ 287 h 337"/>
                <a:gd name="T38" fmla="*/ 0 w 1143"/>
                <a:gd name="T39" fmla="*/ 287 h 337"/>
                <a:gd name="T40" fmla="*/ 0 w 1143"/>
                <a:gd name="T41" fmla="*/ 337 h 337"/>
                <a:gd name="T42" fmla="*/ 1143 w 1143"/>
                <a:gd name="T43" fmla="*/ 337 h 337"/>
                <a:gd name="T44" fmla="*/ 1143 w 1143"/>
                <a:gd name="T45" fmla="*/ 287 h 337"/>
                <a:gd name="T46" fmla="*/ 1084 w 1143"/>
                <a:gd name="T47" fmla="*/ 287 h 337"/>
                <a:gd name="T48" fmla="*/ 1084 w 1143"/>
                <a:gd name="T4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3" h="337">
                  <a:moveTo>
                    <a:pt x="1084" y="0"/>
                  </a:moveTo>
                  <a:lnTo>
                    <a:pt x="932" y="0"/>
                  </a:lnTo>
                  <a:lnTo>
                    <a:pt x="932" y="287"/>
                  </a:lnTo>
                  <a:lnTo>
                    <a:pt x="865" y="287"/>
                  </a:lnTo>
                  <a:lnTo>
                    <a:pt x="865" y="0"/>
                  </a:lnTo>
                  <a:lnTo>
                    <a:pt x="714" y="0"/>
                  </a:lnTo>
                  <a:lnTo>
                    <a:pt x="714" y="287"/>
                  </a:lnTo>
                  <a:lnTo>
                    <a:pt x="647" y="287"/>
                  </a:lnTo>
                  <a:lnTo>
                    <a:pt x="647" y="0"/>
                  </a:lnTo>
                  <a:lnTo>
                    <a:pt x="496" y="0"/>
                  </a:lnTo>
                  <a:lnTo>
                    <a:pt x="496" y="287"/>
                  </a:lnTo>
                  <a:lnTo>
                    <a:pt x="427" y="287"/>
                  </a:lnTo>
                  <a:lnTo>
                    <a:pt x="427" y="0"/>
                  </a:lnTo>
                  <a:lnTo>
                    <a:pt x="275" y="0"/>
                  </a:lnTo>
                  <a:lnTo>
                    <a:pt x="275" y="287"/>
                  </a:lnTo>
                  <a:lnTo>
                    <a:pt x="209" y="287"/>
                  </a:lnTo>
                  <a:lnTo>
                    <a:pt x="209" y="0"/>
                  </a:lnTo>
                  <a:lnTo>
                    <a:pt x="57" y="0"/>
                  </a:lnTo>
                  <a:lnTo>
                    <a:pt x="57" y="287"/>
                  </a:lnTo>
                  <a:lnTo>
                    <a:pt x="0" y="287"/>
                  </a:lnTo>
                  <a:lnTo>
                    <a:pt x="0" y="337"/>
                  </a:lnTo>
                  <a:lnTo>
                    <a:pt x="1143" y="337"/>
                  </a:lnTo>
                  <a:lnTo>
                    <a:pt x="1143" y="287"/>
                  </a:lnTo>
                  <a:lnTo>
                    <a:pt x="1084" y="287"/>
                  </a:lnTo>
                  <a:lnTo>
                    <a:pt x="108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38" name="Freeform 8"/>
            <p:cNvSpPr>
              <a:spLocks/>
            </p:cNvSpPr>
            <p:nvPr/>
          </p:nvSpPr>
          <p:spPr bwMode="auto">
            <a:xfrm>
              <a:off x="-3709988" y="2557463"/>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39" name="Freeform 9"/>
            <p:cNvSpPr>
              <a:spLocks/>
            </p:cNvSpPr>
            <p:nvPr/>
          </p:nvSpPr>
          <p:spPr bwMode="auto">
            <a:xfrm>
              <a:off x="-3709988" y="3403600"/>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40" name="Freeform 10"/>
            <p:cNvSpPr>
              <a:spLocks/>
            </p:cNvSpPr>
            <p:nvPr/>
          </p:nvSpPr>
          <p:spPr bwMode="auto">
            <a:xfrm>
              <a:off x="-3709988" y="4248150"/>
              <a:ext cx="787400" cy="533400"/>
            </a:xfrm>
            <a:custGeom>
              <a:avLst/>
              <a:gdLst>
                <a:gd name="T0" fmla="*/ 427 w 496"/>
                <a:gd name="T1" fmla="*/ 0 h 336"/>
                <a:gd name="T2" fmla="*/ 275 w 496"/>
                <a:gd name="T3" fmla="*/ 0 h 336"/>
                <a:gd name="T4" fmla="*/ 275 w 496"/>
                <a:gd name="T5" fmla="*/ 287 h 336"/>
                <a:gd name="T6" fmla="*/ 209 w 496"/>
                <a:gd name="T7" fmla="*/ 287 h 336"/>
                <a:gd name="T8" fmla="*/ 209 w 496"/>
                <a:gd name="T9" fmla="*/ 0 h 336"/>
                <a:gd name="T10" fmla="*/ 57 w 496"/>
                <a:gd name="T11" fmla="*/ 0 h 336"/>
                <a:gd name="T12" fmla="*/ 57 w 496"/>
                <a:gd name="T13" fmla="*/ 287 h 336"/>
                <a:gd name="T14" fmla="*/ 0 w 496"/>
                <a:gd name="T15" fmla="*/ 287 h 336"/>
                <a:gd name="T16" fmla="*/ 0 w 496"/>
                <a:gd name="T17" fmla="*/ 336 h 336"/>
                <a:gd name="T18" fmla="*/ 496 w 496"/>
                <a:gd name="T19" fmla="*/ 336 h 336"/>
                <a:gd name="T20" fmla="*/ 496 w 496"/>
                <a:gd name="T21" fmla="*/ 287 h 336"/>
                <a:gd name="T22" fmla="*/ 427 w 496"/>
                <a:gd name="T23" fmla="*/ 287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7"/>
                  </a:lnTo>
                  <a:lnTo>
                    <a:pt x="209" y="287"/>
                  </a:lnTo>
                  <a:lnTo>
                    <a:pt x="209" y="0"/>
                  </a:lnTo>
                  <a:lnTo>
                    <a:pt x="57" y="0"/>
                  </a:lnTo>
                  <a:lnTo>
                    <a:pt x="57" y="287"/>
                  </a:lnTo>
                  <a:lnTo>
                    <a:pt x="0" y="287"/>
                  </a:lnTo>
                  <a:lnTo>
                    <a:pt x="0" y="336"/>
                  </a:lnTo>
                  <a:lnTo>
                    <a:pt x="496" y="336"/>
                  </a:lnTo>
                  <a:lnTo>
                    <a:pt x="496" y="287"/>
                  </a:lnTo>
                  <a:lnTo>
                    <a:pt x="427" y="287"/>
                  </a:lnTo>
                  <a:lnTo>
                    <a:pt x="4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nvGrpSpPr>
          <p:cNvPr id="41" name="Group 40"/>
          <p:cNvGrpSpPr>
            <a:grpSpLocks noChangeAspect="1"/>
          </p:cNvGrpSpPr>
          <p:nvPr/>
        </p:nvGrpSpPr>
        <p:grpSpPr>
          <a:xfrm>
            <a:off x="7424317" y="2824259"/>
            <a:ext cx="474668" cy="336363"/>
            <a:chOff x="2722563" y="4257676"/>
            <a:chExt cx="2887662" cy="2046288"/>
          </a:xfrm>
          <a:solidFill>
            <a:schemeClr val="bg1">
              <a:lumMod val="95000"/>
            </a:schemeClr>
          </a:solidFill>
        </p:grpSpPr>
        <p:sp>
          <p:nvSpPr>
            <p:cNvPr id="42" name="Rectangle 14"/>
            <p:cNvSpPr>
              <a:spLocks noChangeArrowheads="1"/>
            </p:cNvSpPr>
            <p:nvPr/>
          </p:nvSpPr>
          <p:spPr bwMode="auto">
            <a:xfrm>
              <a:off x="4600575"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43" name="Rectangle 15"/>
            <p:cNvSpPr>
              <a:spLocks noChangeArrowheads="1"/>
            </p:cNvSpPr>
            <p:nvPr/>
          </p:nvSpPr>
          <p:spPr bwMode="auto">
            <a:xfrm>
              <a:off x="489426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44" name="Rectangle 16"/>
            <p:cNvSpPr>
              <a:spLocks noChangeArrowheads="1"/>
            </p:cNvSpPr>
            <p:nvPr/>
          </p:nvSpPr>
          <p:spPr bwMode="auto">
            <a:xfrm>
              <a:off x="4221163" y="5508626"/>
              <a:ext cx="85725"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45" name="Rectangle 17"/>
            <p:cNvSpPr>
              <a:spLocks noChangeArrowheads="1"/>
            </p:cNvSpPr>
            <p:nvPr/>
          </p:nvSpPr>
          <p:spPr bwMode="auto">
            <a:xfrm>
              <a:off x="4333875" y="5508626"/>
              <a:ext cx="214312"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46" name="Rectangle 18"/>
            <p:cNvSpPr>
              <a:spLocks noChangeArrowheads="1"/>
            </p:cNvSpPr>
            <p:nvPr/>
          </p:nvSpPr>
          <p:spPr bwMode="auto">
            <a:xfrm>
              <a:off x="5281613" y="5508626"/>
              <a:ext cx="9048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47" name="Freeform 19"/>
            <p:cNvSpPr>
              <a:spLocks/>
            </p:cNvSpPr>
            <p:nvPr/>
          </p:nvSpPr>
          <p:spPr bwMode="auto">
            <a:xfrm>
              <a:off x="2722563" y="4257676"/>
              <a:ext cx="2887662" cy="2046288"/>
            </a:xfrm>
            <a:custGeom>
              <a:avLst/>
              <a:gdLst>
                <a:gd name="T0" fmla="*/ 865 w 1819"/>
                <a:gd name="T1" fmla="*/ 620 h 1289"/>
                <a:gd name="T2" fmla="*/ 1629 w 1819"/>
                <a:gd name="T3" fmla="*/ 620 h 1289"/>
                <a:gd name="T4" fmla="*/ 1819 w 1819"/>
                <a:gd name="T5" fmla="*/ 223 h 1289"/>
                <a:gd name="T6" fmla="*/ 1819 w 1819"/>
                <a:gd name="T7" fmla="*/ 216 h 1289"/>
                <a:gd name="T8" fmla="*/ 439 w 1819"/>
                <a:gd name="T9" fmla="*/ 216 h 1289"/>
                <a:gd name="T10" fmla="*/ 439 w 1819"/>
                <a:gd name="T11" fmla="*/ 114 h 1289"/>
                <a:gd name="T12" fmla="*/ 1816 w 1819"/>
                <a:gd name="T13" fmla="*/ 114 h 1289"/>
                <a:gd name="T14" fmla="*/ 1814 w 1819"/>
                <a:gd name="T15" fmla="*/ 0 h 1289"/>
                <a:gd name="T16" fmla="*/ 0 w 1819"/>
                <a:gd name="T17" fmla="*/ 0 h 1289"/>
                <a:gd name="T18" fmla="*/ 0 w 1819"/>
                <a:gd name="T19" fmla="*/ 631 h 1289"/>
                <a:gd name="T20" fmla="*/ 349 w 1819"/>
                <a:gd name="T21" fmla="*/ 631 h 1289"/>
                <a:gd name="T22" fmla="*/ 204 w 1819"/>
                <a:gd name="T23" fmla="*/ 1289 h 1289"/>
                <a:gd name="T24" fmla="*/ 498 w 1819"/>
                <a:gd name="T25" fmla="*/ 1282 h 1289"/>
                <a:gd name="T26" fmla="*/ 626 w 1819"/>
                <a:gd name="T27" fmla="*/ 926 h 1289"/>
                <a:gd name="T28" fmla="*/ 669 w 1819"/>
                <a:gd name="T29" fmla="*/ 814 h 1289"/>
                <a:gd name="T30" fmla="*/ 754 w 1819"/>
                <a:gd name="T31" fmla="*/ 843 h 1289"/>
                <a:gd name="T32" fmla="*/ 873 w 1819"/>
                <a:gd name="T33" fmla="*/ 627 h 1289"/>
                <a:gd name="T34" fmla="*/ 863 w 1819"/>
                <a:gd name="T35" fmla="*/ 627 h 1289"/>
                <a:gd name="T36" fmla="*/ 865 w 1819"/>
                <a:gd name="T37" fmla="*/ 62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9" h="1289">
                  <a:moveTo>
                    <a:pt x="865" y="620"/>
                  </a:moveTo>
                  <a:lnTo>
                    <a:pt x="1629" y="620"/>
                  </a:lnTo>
                  <a:lnTo>
                    <a:pt x="1819" y="223"/>
                  </a:lnTo>
                  <a:lnTo>
                    <a:pt x="1819" y="216"/>
                  </a:lnTo>
                  <a:lnTo>
                    <a:pt x="439" y="216"/>
                  </a:lnTo>
                  <a:lnTo>
                    <a:pt x="439" y="114"/>
                  </a:lnTo>
                  <a:lnTo>
                    <a:pt x="1816" y="114"/>
                  </a:lnTo>
                  <a:lnTo>
                    <a:pt x="1814" y="0"/>
                  </a:lnTo>
                  <a:lnTo>
                    <a:pt x="0" y="0"/>
                  </a:lnTo>
                  <a:lnTo>
                    <a:pt x="0" y="631"/>
                  </a:lnTo>
                  <a:lnTo>
                    <a:pt x="349" y="631"/>
                  </a:lnTo>
                  <a:lnTo>
                    <a:pt x="204" y="1289"/>
                  </a:lnTo>
                  <a:lnTo>
                    <a:pt x="498" y="1282"/>
                  </a:lnTo>
                  <a:lnTo>
                    <a:pt x="626" y="926"/>
                  </a:lnTo>
                  <a:lnTo>
                    <a:pt x="669" y="814"/>
                  </a:lnTo>
                  <a:lnTo>
                    <a:pt x="754" y="843"/>
                  </a:lnTo>
                  <a:lnTo>
                    <a:pt x="873" y="627"/>
                  </a:lnTo>
                  <a:lnTo>
                    <a:pt x="863" y="627"/>
                  </a:lnTo>
                  <a:lnTo>
                    <a:pt x="865" y="6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48" name="Rectangle 20"/>
            <p:cNvSpPr>
              <a:spLocks noChangeArrowheads="1"/>
            </p:cNvSpPr>
            <p:nvPr/>
          </p:nvSpPr>
          <p:spPr bwMode="auto">
            <a:xfrm>
              <a:off x="5424488" y="5508626"/>
              <a:ext cx="185737" cy="7477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nvGrpSpPr>
          <p:cNvPr id="53" name="Group 52"/>
          <p:cNvGrpSpPr/>
          <p:nvPr/>
        </p:nvGrpSpPr>
        <p:grpSpPr>
          <a:xfrm flipH="1">
            <a:off x="2102051" y="2832578"/>
            <a:ext cx="729127" cy="314213"/>
            <a:chOff x="18524538" y="-23752175"/>
            <a:chExt cx="41830625" cy="18087975"/>
          </a:xfrm>
          <a:solidFill>
            <a:schemeClr val="bg1">
              <a:lumMod val="95000"/>
            </a:schemeClr>
          </a:solidFill>
        </p:grpSpPr>
        <p:sp>
          <p:nvSpPr>
            <p:cNvPr id="54" name="Freeform 53"/>
            <p:cNvSpPr>
              <a:spLocks noEditPoints="1"/>
            </p:cNvSpPr>
            <p:nvPr/>
          </p:nvSpPr>
          <p:spPr bwMode="auto">
            <a:xfrm>
              <a:off x="21202651"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941">
                <a:solidFill>
                  <a:prstClr val="black"/>
                </a:solidFill>
              </a:endParaRPr>
            </a:p>
          </p:txBody>
        </p:sp>
        <p:sp>
          <p:nvSpPr>
            <p:cNvPr id="55" name="Freeform 54"/>
            <p:cNvSpPr>
              <a:spLocks noEditPoints="1"/>
            </p:cNvSpPr>
            <p:nvPr/>
          </p:nvSpPr>
          <p:spPr bwMode="auto">
            <a:xfrm>
              <a:off x="46015276" y="-10680700"/>
              <a:ext cx="5014913" cy="5016500"/>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941">
                <a:solidFill>
                  <a:prstClr val="black"/>
                </a:solidFill>
              </a:endParaRPr>
            </a:p>
          </p:txBody>
        </p:sp>
        <p:sp>
          <p:nvSpPr>
            <p:cNvPr id="56" name="Freeform 55"/>
            <p:cNvSpPr>
              <a:spLocks noEditPoints="1"/>
            </p:cNvSpPr>
            <p:nvPr/>
          </p:nvSpPr>
          <p:spPr bwMode="auto">
            <a:xfrm>
              <a:off x="18524538" y="-23752175"/>
              <a:ext cx="41830625" cy="15690850"/>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sz="2941">
                <a:solidFill>
                  <a:prstClr val="black"/>
                </a:solidFill>
              </a:endParaRPr>
            </a:p>
          </p:txBody>
        </p:sp>
      </p:grpSp>
      <p:sp>
        <p:nvSpPr>
          <p:cNvPr id="59" name="Oval 58"/>
          <p:cNvSpPr/>
          <p:nvPr/>
        </p:nvSpPr>
        <p:spPr>
          <a:xfrm>
            <a:off x="5173123" y="3260556"/>
            <a:ext cx="2051468" cy="2051468"/>
          </a:xfrm>
          <a:prstGeom prst="ellipse">
            <a:avLst/>
          </a:prstGeom>
          <a:solidFill>
            <a:schemeClr val="accent1"/>
          </a:solidFill>
          <a:ln>
            <a:noFill/>
          </a:ln>
          <a:effectLst>
            <a:innerShdw dist="1016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9642" tIns="44821" rIns="89642" bIns="44821" numCol="1" spcCol="0" rtlCol="0" fromWordArt="0" anchor="b" anchorCtr="0" forceAA="0" compatLnSpc="1">
            <a:prstTxWarp prst="textNoShape">
              <a:avLst/>
            </a:prstTxWarp>
            <a:noAutofit/>
          </a:bodyPr>
          <a:lstStyle/>
          <a:p>
            <a:pPr algn="ctr" defTabSz="914314"/>
            <a:r>
              <a:rPr lang="en-US" sz="1961" dirty="0">
                <a:solidFill>
                  <a:prstClr val="white"/>
                </a:solidFill>
                <a:latin typeface="Segoe UI Semilight" panose="020B0402040204020203" pitchFamily="34" charset="0"/>
                <a:cs typeface="Segoe UI Semilight" panose="020B0402040204020203" pitchFamily="34" charset="0"/>
              </a:rPr>
              <a:t>Enterprise</a:t>
            </a:r>
          </a:p>
        </p:txBody>
      </p:sp>
      <p:grpSp>
        <p:nvGrpSpPr>
          <p:cNvPr id="60" name="Group 59"/>
          <p:cNvGrpSpPr/>
          <p:nvPr/>
        </p:nvGrpSpPr>
        <p:grpSpPr>
          <a:xfrm>
            <a:off x="5820326" y="3684079"/>
            <a:ext cx="656471" cy="876127"/>
            <a:chOff x="4134941" y="2147707"/>
            <a:chExt cx="511681" cy="682890"/>
          </a:xfrm>
          <a:solidFill>
            <a:schemeClr val="bg1"/>
          </a:solidFill>
        </p:grpSpPr>
        <p:sp>
          <p:nvSpPr>
            <p:cNvPr id="61" name="Freeform 5"/>
            <p:cNvSpPr>
              <a:spLocks noEditPoints="1"/>
            </p:cNvSpPr>
            <p:nvPr/>
          </p:nvSpPr>
          <p:spPr bwMode="auto">
            <a:xfrm>
              <a:off x="4134941" y="2435649"/>
              <a:ext cx="321406" cy="394948"/>
            </a:xfrm>
            <a:custGeom>
              <a:avLst/>
              <a:gdLst>
                <a:gd name="T0" fmla="*/ 0 w 826"/>
                <a:gd name="T1" fmla="*/ 0 h 1015"/>
                <a:gd name="T2" fmla="*/ 0 w 826"/>
                <a:gd name="T3" fmla="*/ 1015 h 1015"/>
                <a:gd name="T4" fmla="*/ 268 w 826"/>
                <a:gd name="T5" fmla="*/ 1015 h 1015"/>
                <a:gd name="T6" fmla="*/ 268 w 826"/>
                <a:gd name="T7" fmla="*/ 806 h 1015"/>
                <a:gd name="T8" fmla="*/ 375 w 826"/>
                <a:gd name="T9" fmla="*/ 806 h 1015"/>
                <a:gd name="T10" fmla="*/ 375 w 826"/>
                <a:gd name="T11" fmla="*/ 1015 h 1015"/>
                <a:gd name="T12" fmla="*/ 453 w 826"/>
                <a:gd name="T13" fmla="*/ 1015 h 1015"/>
                <a:gd name="T14" fmla="*/ 453 w 826"/>
                <a:gd name="T15" fmla="*/ 806 h 1015"/>
                <a:gd name="T16" fmla="*/ 563 w 826"/>
                <a:gd name="T17" fmla="*/ 806 h 1015"/>
                <a:gd name="T18" fmla="*/ 563 w 826"/>
                <a:gd name="T19" fmla="*/ 1015 h 1015"/>
                <a:gd name="T20" fmla="*/ 826 w 826"/>
                <a:gd name="T21" fmla="*/ 1015 h 1015"/>
                <a:gd name="T22" fmla="*/ 826 w 826"/>
                <a:gd name="T23" fmla="*/ 0 h 1015"/>
                <a:gd name="T24" fmla="*/ 0 w 826"/>
                <a:gd name="T25" fmla="*/ 0 h 1015"/>
                <a:gd name="T26" fmla="*/ 748 w 826"/>
                <a:gd name="T27" fmla="*/ 740 h 1015"/>
                <a:gd name="T28" fmla="*/ 83 w 826"/>
                <a:gd name="T29" fmla="*/ 740 h 1015"/>
                <a:gd name="T30" fmla="*/ 83 w 826"/>
                <a:gd name="T31" fmla="*/ 633 h 1015"/>
                <a:gd name="T32" fmla="*/ 748 w 826"/>
                <a:gd name="T33" fmla="*/ 633 h 1015"/>
                <a:gd name="T34" fmla="*/ 748 w 826"/>
                <a:gd name="T35" fmla="*/ 740 h 1015"/>
                <a:gd name="T36" fmla="*/ 748 w 826"/>
                <a:gd name="T37" fmla="*/ 555 h 1015"/>
                <a:gd name="T38" fmla="*/ 83 w 826"/>
                <a:gd name="T39" fmla="*/ 555 h 1015"/>
                <a:gd name="T40" fmla="*/ 83 w 826"/>
                <a:gd name="T41" fmla="*/ 448 h 1015"/>
                <a:gd name="T42" fmla="*/ 748 w 826"/>
                <a:gd name="T43" fmla="*/ 448 h 1015"/>
                <a:gd name="T44" fmla="*/ 748 w 826"/>
                <a:gd name="T45" fmla="*/ 555 h 1015"/>
                <a:gd name="T46" fmla="*/ 748 w 826"/>
                <a:gd name="T47" fmla="*/ 372 h 1015"/>
                <a:gd name="T48" fmla="*/ 83 w 826"/>
                <a:gd name="T49" fmla="*/ 372 h 1015"/>
                <a:gd name="T50" fmla="*/ 83 w 826"/>
                <a:gd name="T51" fmla="*/ 266 h 1015"/>
                <a:gd name="T52" fmla="*/ 748 w 826"/>
                <a:gd name="T53" fmla="*/ 266 h 1015"/>
                <a:gd name="T54" fmla="*/ 748 w 826"/>
                <a:gd name="T55" fmla="*/ 372 h 1015"/>
                <a:gd name="T56" fmla="*/ 748 w 826"/>
                <a:gd name="T57" fmla="*/ 187 h 1015"/>
                <a:gd name="T58" fmla="*/ 83 w 826"/>
                <a:gd name="T59" fmla="*/ 187 h 1015"/>
                <a:gd name="T60" fmla="*/ 83 w 826"/>
                <a:gd name="T61" fmla="*/ 81 h 1015"/>
                <a:gd name="T62" fmla="*/ 748 w 826"/>
                <a:gd name="T63" fmla="*/ 81 h 1015"/>
                <a:gd name="T64" fmla="*/ 748 w 826"/>
                <a:gd name="T65" fmla="*/ 187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6" h="1015">
                  <a:moveTo>
                    <a:pt x="0" y="0"/>
                  </a:moveTo>
                  <a:lnTo>
                    <a:pt x="0" y="1015"/>
                  </a:lnTo>
                  <a:lnTo>
                    <a:pt x="268" y="1015"/>
                  </a:lnTo>
                  <a:lnTo>
                    <a:pt x="268" y="806"/>
                  </a:lnTo>
                  <a:lnTo>
                    <a:pt x="375" y="806"/>
                  </a:lnTo>
                  <a:lnTo>
                    <a:pt x="375" y="1015"/>
                  </a:lnTo>
                  <a:lnTo>
                    <a:pt x="453" y="1015"/>
                  </a:lnTo>
                  <a:lnTo>
                    <a:pt x="453" y="806"/>
                  </a:lnTo>
                  <a:lnTo>
                    <a:pt x="563" y="806"/>
                  </a:lnTo>
                  <a:lnTo>
                    <a:pt x="563" y="1015"/>
                  </a:lnTo>
                  <a:lnTo>
                    <a:pt x="826" y="1015"/>
                  </a:lnTo>
                  <a:lnTo>
                    <a:pt x="826" y="0"/>
                  </a:lnTo>
                  <a:lnTo>
                    <a:pt x="0" y="0"/>
                  </a:lnTo>
                  <a:close/>
                  <a:moveTo>
                    <a:pt x="748" y="740"/>
                  </a:moveTo>
                  <a:lnTo>
                    <a:pt x="83" y="740"/>
                  </a:lnTo>
                  <a:lnTo>
                    <a:pt x="83" y="633"/>
                  </a:lnTo>
                  <a:lnTo>
                    <a:pt x="748" y="633"/>
                  </a:lnTo>
                  <a:lnTo>
                    <a:pt x="748" y="740"/>
                  </a:lnTo>
                  <a:close/>
                  <a:moveTo>
                    <a:pt x="748" y="555"/>
                  </a:moveTo>
                  <a:lnTo>
                    <a:pt x="83" y="555"/>
                  </a:lnTo>
                  <a:lnTo>
                    <a:pt x="83" y="448"/>
                  </a:lnTo>
                  <a:lnTo>
                    <a:pt x="748" y="448"/>
                  </a:lnTo>
                  <a:lnTo>
                    <a:pt x="748" y="555"/>
                  </a:lnTo>
                  <a:close/>
                  <a:moveTo>
                    <a:pt x="748" y="372"/>
                  </a:moveTo>
                  <a:lnTo>
                    <a:pt x="83" y="372"/>
                  </a:lnTo>
                  <a:lnTo>
                    <a:pt x="83" y="266"/>
                  </a:lnTo>
                  <a:lnTo>
                    <a:pt x="748" y="266"/>
                  </a:lnTo>
                  <a:lnTo>
                    <a:pt x="748" y="372"/>
                  </a:lnTo>
                  <a:close/>
                  <a:moveTo>
                    <a:pt x="748" y="187"/>
                  </a:moveTo>
                  <a:lnTo>
                    <a:pt x="83" y="187"/>
                  </a:lnTo>
                  <a:lnTo>
                    <a:pt x="83" y="81"/>
                  </a:lnTo>
                  <a:lnTo>
                    <a:pt x="748" y="81"/>
                  </a:lnTo>
                  <a:lnTo>
                    <a:pt x="748"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62" name="Freeform 6"/>
            <p:cNvSpPr>
              <a:spLocks noEditPoints="1"/>
            </p:cNvSpPr>
            <p:nvPr/>
          </p:nvSpPr>
          <p:spPr bwMode="auto">
            <a:xfrm>
              <a:off x="4325994" y="2147707"/>
              <a:ext cx="320628" cy="682890"/>
            </a:xfrm>
            <a:custGeom>
              <a:avLst/>
              <a:gdLst>
                <a:gd name="T0" fmla="*/ 0 w 824"/>
                <a:gd name="T1" fmla="*/ 0 h 1755"/>
                <a:gd name="T2" fmla="*/ 0 w 824"/>
                <a:gd name="T3" fmla="*/ 686 h 1755"/>
                <a:gd name="T4" fmla="*/ 81 w 824"/>
                <a:gd name="T5" fmla="*/ 686 h 1755"/>
                <a:gd name="T6" fmla="*/ 81 w 824"/>
                <a:gd name="T7" fmla="*/ 636 h 1755"/>
                <a:gd name="T8" fmla="*/ 748 w 824"/>
                <a:gd name="T9" fmla="*/ 636 h 1755"/>
                <a:gd name="T10" fmla="*/ 748 w 824"/>
                <a:gd name="T11" fmla="*/ 742 h 1755"/>
                <a:gd name="T12" fmla="*/ 414 w 824"/>
                <a:gd name="T13" fmla="*/ 742 h 1755"/>
                <a:gd name="T14" fmla="*/ 414 w 824"/>
                <a:gd name="T15" fmla="*/ 821 h 1755"/>
                <a:gd name="T16" fmla="*/ 748 w 824"/>
                <a:gd name="T17" fmla="*/ 821 h 1755"/>
                <a:gd name="T18" fmla="*/ 748 w 824"/>
                <a:gd name="T19" fmla="*/ 927 h 1755"/>
                <a:gd name="T20" fmla="*/ 414 w 824"/>
                <a:gd name="T21" fmla="*/ 927 h 1755"/>
                <a:gd name="T22" fmla="*/ 414 w 824"/>
                <a:gd name="T23" fmla="*/ 1006 h 1755"/>
                <a:gd name="T24" fmla="*/ 748 w 824"/>
                <a:gd name="T25" fmla="*/ 1006 h 1755"/>
                <a:gd name="T26" fmla="*/ 748 w 824"/>
                <a:gd name="T27" fmla="*/ 1112 h 1755"/>
                <a:gd name="T28" fmla="*/ 414 w 824"/>
                <a:gd name="T29" fmla="*/ 1112 h 1755"/>
                <a:gd name="T30" fmla="*/ 414 w 824"/>
                <a:gd name="T31" fmla="*/ 1188 h 1755"/>
                <a:gd name="T32" fmla="*/ 748 w 824"/>
                <a:gd name="T33" fmla="*/ 1188 h 1755"/>
                <a:gd name="T34" fmla="*/ 748 w 824"/>
                <a:gd name="T35" fmla="*/ 1295 h 1755"/>
                <a:gd name="T36" fmla="*/ 414 w 824"/>
                <a:gd name="T37" fmla="*/ 1295 h 1755"/>
                <a:gd name="T38" fmla="*/ 414 w 824"/>
                <a:gd name="T39" fmla="*/ 1373 h 1755"/>
                <a:gd name="T40" fmla="*/ 748 w 824"/>
                <a:gd name="T41" fmla="*/ 1373 h 1755"/>
                <a:gd name="T42" fmla="*/ 748 w 824"/>
                <a:gd name="T43" fmla="*/ 1480 h 1755"/>
                <a:gd name="T44" fmla="*/ 414 w 824"/>
                <a:gd name="T45" fmla="*/ 1480 h 1755"/>
                <a:gd name="T46" fmla="*/ 414 w 824"/>
                <a:gd name="T47" fmla="*/ 1755 h 1755"/>
                <a:gd name="T48" fmla="*/ 454 w 824"/>
                <a:gd name="T49" fmla="*/ 1755 h 1755"/>
                <a:gd name="T50" fmla="*/ 454 w 824"/>
                <a:gd name="T51" fmla="*/ 1546 h 1755"/>
                <a:gd name="T52" fmla="*/ 561 w 824"/>
                <a:gd name="T53" fmla="*/ 1546 h 1755"/>
                <a:gd name="T54" fmla="*/ 561 w 824"/>
                <a:gd name="T55" fmla="*/ 1755 h 1755"/>
                <a:gd name="T56" fmla="*/ 824 w 824"/>
                <a:gd name="T57" fmla="*/ 1755 h 1755"/>
                <a:gd name="T58" fmla="*/ 824 w 824"/>
                <a:gd name="T59" fmla="*/ 0 h 1755"/>
                <a:gd name="T60" fmla="*/ 0 w 824"/>
                <a:gd name="T61" fmla="*/ 0 h 1755"/>
                <a:gd name="T62" fmla="*/ 748 w 824"/>
                <a:gd name="T63" fmla="*/ 558 h 1755"/>
                <a:gd name="T64" fmla="*/ 81 w 824"/>
                <a:gd name="T65" fmla="*/ 558 h 1755"/>
                <a:gd name="T66" fmla="*/ 81 w 824"/>
                <a:gd name="T67" fmla="*/ 451 h 1755"/>
                <a:gd name="T68" fmla="*/ 748 w 824"/>
                <a:gd name="T69" fmla="*/ 451 h 1755"/>
                <a:gd name="T70" fmla="*/ 748 w 824"/>
                <a:gd name="T71" fmla="*/ 558 h 1755"/>
                <a:gd name="T72" fmla="*/ 748 w 824"/>
                <a:gd name="T73" fmla="*/ 375 h 1755"/>
                <a:gd name="T74" fmla="*/ 81 w 824"/>
                <a:gd name="T75" fmla="*/ 375 h 1755"/>
                <a:gd name="T76" fmla="*/ 81 w 824"/>
                <a:gd name="T77" fmla="*/ 268 h 1755"/>
                <a:gd name="T78" fmla="*/ 748 w 824"/>
                <a:gd name="T79" fmla="*/ 268 h 1755"/>
                <a:gd name="T80" fmla="*/ 748 w 824"/>
                <a:gd name="T81" fmla="*/ 375 h 1755"/>
                <a:gd name="T82" fmla="*/ 748 w 824"/>
                <a:gd name="T83" fmla="*/ 190 h 1755"/>
                <a:gd name="T84" fmla="*/ 81 w 824"/>
                <a:gd name="T85" fmla="*/ 190 h 1755"/>
                <a:gd name="T86" fmla="*/ 81 w 824"/>
                <a:gd name="T87" fmla="*/ 83 h 1755"/>
                <a:gd name="T88" fmla="*/ 748 w 824"/>
                <a:gd name="T89" fmla="*/ 83 h 1755"/>
                <a:gd name="T90" fmla="*/ 748 w 824"/>
                <a:gd name="T91" fmla="*/ 19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5">
                  <a:moveTo>
                    <a:pt x="0" y="0"/>
                  </a:moveTo>
                  <a:lnTo>
                    <a:pt x="0" y="686"/>
                  </a:lnTo>
                  <a:lnTo>
                    <a:pt x="81" y="686"/>
                  </a:lnTo>
                  <a:lnTo>
                    <a:pt x="81" y="636"/>
                  </a:lnTo>
                  <a:lnTo>
                    <a:pt x="748" y="636"/>
                  </a:lnTo>
                  <a:lnTo>
                    <a:pt x="748" y="742"/>
                  </a:lnTo>
                  <a:lnTo>
                    <a:pt x="414" y="742"/>
                  </a:lnTo>
                  <a:lnTo>
                    <a:pt x="414" y="821"/>
                  </a:lnTo>
                  <a:lnTo>
                    <a:pt x="748" y="821"/>
                  </a:lnTo>
                  <a:lnTo>
                    <a:pt x="748" y="927"/>
                  </a:lnTo>
                  <a:lnTo>
                    <a:pt x="414" y="927"/>
                  </a:lnTo>
                  <a:lnTo>
                    <a:pt x="414" y="1006"/>
                  </a:lnTo>
                  <a:lnTo>
                    <a:pt x="748" y="1006"/>
                  </a:lnTo>
                  <a:lnTo>
                    <a:pt x="748" y="1112"/>
                  </a:lnTo>
                  <a:lnTo>
                    <a:pt x="414" y="1112"/>
                  </a:lnTo>
                  <a:lnTo>
                    <a:pt x="414" y="1188"/>
                  </a:lnTo>
                  <a:lnTo>
                    <a:pt x="748" y="1188"/>
                  </a:lnTo>
                  <a:lnTo>
                    <a:pt x="748" y="1295"/>
                  </a:lnTo>
                  <a:lnTo>
                    <a:pt x="414" y="1295"/>
                  </a:lnTo>
                  <a:lnTo>
                    <a:pt x="414" y="1373"/>
                  </a:lnTo>
                  <a:lnTo>
                    <a:pt x="748" y="1373"/>
                  </a:lnTo>
                  <a:lnTo>
                    <a:pt x="748" y="1480"/>
                  </a:lnTo>
                  <a:lnTo>
                    <a:pt x="414" y="1480"/>
                  </a:lnTo>
                  <a:lnTo>
                    <a:pt x="414" y="1755"/>
                  </a:lnTo>
                  <a:lnTo>
                    <a:pt x="454" y="1755"/>
                  </a:lnTo>
                  <a:lnTo>
                    <a:pt x="454" y="1546"/>
                  </a:lnTo>
                  <a:lnTo>
                    <a:pt x="561" y="1546"/>
                  </a:lnTo>
                  <a:lnTo>
                    <a:pt x="561" y="1755"/>
                  </a:lnTo>
                  <a:lnTo>
                    <a:pt x="824" y="1755"/>
                  </a:lnTo>
                  <a:lnTo>
                    <a:pt x="824" y="0"/>
                  </a:lnTo>
                  <a:lnTo>
                    <a:pt x="0" y="0"/>
                  </a:lnTo>
                  <a:close/>
                  <a:moveTo>
                    <a:pt x="748" y="558"/>
                  </a:moveTo>
                  <a:lnTo>
                    <a:pt x="81" y="558"/>
                  </a:lnTo>
                  <a:lnTo>
                    <a:pt x="81" y="451"/>
                  </a:lnTo>
                  <a:lnTo>
                    <a:pt x="748" y="451"/>
                  </a:lnTo>
                  <a:lnTo>
                    <a:pt x="748" y="558"/>
                  </a:lnTo>
                  <a:close/>
                  <a:moveTo>
                    <a:pt x="748" y="375"/>
                  </a:moveTo>
                  <a:lnTo>
                    <a:pt x="81" y="375"/>
                  </a:lnTo>
                  <a:lnTo>
                    <a:pt x="81" y="268"/>
                  </a:lnTo>
                  <a:lnTo>
                    <a:pt x="748" y="268"/>
                  </a:lnTo>
                  <a:lnTo>
                    <a:pt x="748" y="375"/>
                  </a:lnTo>
                  <a:close/>
                  <a:moveTo>
                    <a:pt x="748" y="190"/>
                  </a:moveTo>
                  <a:lnTo>
                    <a:pt x="81" y="190"/>
                  </a:lnTo>
                  <a:lnTo>
                    <a:pt x="81" y="83"/>
                  </a:lnTo>
                  <a:lnTo>
                    <a:pt x="748" y="83"/>
                  </a:lnTo>
                  <a:lnTo>
                    <a:pt x="748"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cxnSp>
        <p:nvCxnSpPr>
          <p:cNvPr id="63" name="Straight Connector 62"/>
          <p:cNvCxnSpPr>
            <a:stCxn id="15" idx="2"/>
          </p:cNvCxnSpPr>
          <p:nvPr/>
        </p:nvCxnSpPr>
        <p:spPr>
          <a:xfrm flipH="1">
            <a:off x="2979354" y="2975890"/>
            <a:ext cx="1110647" cy="1269"/>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p:nvCxnSpPr>
        <p:spPr>
          <a:xfrm flipH="1">
            <a:off x="8207124" y="2975890"/>
            <a:ext cx="1110647" cy="1269"/>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p:nvCxnSpPr>
        <p:spPr>
          <a:xfrm flipH="1">
            <a:off x="5180943" y="2977157"/>
            <a:ext cx="1945729" cy="0"/>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p:nvCxnSpPr>
        <p:spPr>
          <a:xfrm flipH="1" flipV="1">
            <a:off x="2709912" y="3441951"/>
            <a:ext cx="424445" cy="509600"/>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p:nvCxnSpPr>
        <p:spPr>
          <a:xfrm flipH="1" flipV="1">
            <a:off x="4924084" y="3438040"/>
            <a:ext cx="326596" cy="392121"/>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p:nvCxnSpPr>
        <p:spPr>
          <a:xfrm flipV="1">
            <a:off x="7052031" y="3438038"/>
            <a:ext cx="310135" cy="372358"/>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p:nvCxnSpPr>
        <p:spPr>
          <a:xfrm flipV="1">
            <a:off x="9148297" y="3433307"/>
            <a:ext cx="419621" cy="503809"/>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7971738" y="3419776"/>
            <a:ext cx="418714" cy="502718"/>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p:nvCxnSpPr>
        <p:spPr>
          <a:xfrm flipV="1">
            <a:off x="3923821" y="3428638"/>
            <a:ext cx="419921" cy="504169"/>
          </a:xfrm>
          <a:prstGeom prst="line">
            <a:avLst/>
          </a:prstGeom>
          <a:ln w="38100">
            <a:solidFill>
              <a:schemeClr val="tx2"/>
            </a:solidFill>
          </a:ln>
        </p:spPr>
        <p:style>
          <a:lnRef idx="1">
            <a:schemeClr val="accent1"/>
          </a:lnRef>
          <a:fillRef idx="0">
            <a:schemeClr val="accent1"/>
          </a:fillRef>
          <a:effectRef idx="0">
            <a:schemeClr val="accent1"/>
          </a:effectRef>
          <a:fontRef idx="minor">
            <a:schemeClr val="tx1"/>
          </a:fontRef>
        </p:style>
      </p:cxnSp>
      <p:grpSp>
        <p:nvGrpSpPr>
          <p:cNvPr id="72" name="Group 71"/>
          <p:cNvGrpSpPr/>
          <p:nvPr/>
        </p:nvGrpSpPr>
        <p:grpSpPr>
          <a:xfrm>
            <a:off x="2696730" y="2362127"/>
            <a:ext cx="452229" cy="452228"/>
            <a:chOff x="385603" y="3523933"/>
            <a:chExt cx="461297" cy="461296"/>
          </a:xfrm>
        </p:grpSpPr>
        <p:sp>
          <p:nvSpPr>
            <p:cNvPr id="73" name="Oval 72"/>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grpSp>
          <p:nvGrpSpPr>
            <p:cNvPr id="74" name="Group 73"/>
            <p:cNvGrpSpPr/>
            <p:nvPr/>
          </p:nvGrpSpPr>
          <p:grpSpPr>
            <a:xfrm>
              <a:off x="527471" y="3637336"/>
              <a:ext cx="177561" cy="234490"/>
              <a:chOff x="4872030" y="3858345"/>
              <a:chExt cx="435843" cy="575581"/>
            </a:xfrm>
            <a:solidFill>
              <a:schemeClr val="accent3"/>
            </a:solidFill>
          </p:grpSpPr>
          <p:sp>
            <p:nvSpPr>
              <p:cNvPr id="75"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76"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sp>
        <p:nvSpPr>
          <p:cNvPr id="78" name="Oval 77"/>
          <p:cNvSpPr/>
          <p:nvPr/>
        </p:nvSpPr>
        <p:spPr>
          <a:xfrm>
            <a:off x="5757937" y="2778554"/>
            <a:ext cx="803273" cy="803270"/>
          </a:xfrm>
          <a:prstGeom prst="ellipse">
            <a:avLst/>
          </a:prstGeom>
          <a:solidFill>
            <a:srgbClr val="002060"/>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grpSp>
        <p:nvGrpSpPr>
          <p:cNvPr id="79" name="Group 78"/>
          <p:cNvGrpSpPr/>
          <p:nvPr/>
        </p:nvGrpSpPr>
        <p:grpSpPr>
          <a:xfrm>
            <a:off x="5951033" y="2957167"/>
            <a:ext cx="389644" cy="416711"/>
            <a:chOff x="10378848" y="3233140"/>
            <a:chExt cx="393882" cy="421246"/>
          </a:xfrm>
          <a:solidFill>
            <a:schemeClr val="bg1">
              <a:lumMod val="95000"/>
            </a:schemeClr>
          </a:solidFill>
        </p:grpSpPr>
        <p:sp>
          <p:nvSpPr>
            <p:cNvPr id="80" name="Rectangle 79"/>
            <p:cNvSpPr/>
            <p:nvPr/>
          </p:nvSpPr>
          <p:spPr bwMode="auto">
            <a:xfrm>
              <a:off x="10378848" y="3459676"/>
              <a:ext cx="72412" cy="194709"/>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1" name="Rectangle 80"/>
            <p:cNvSpPr/>
            <p:nvPr/>
          </p:nvSpPr>
          <p:spPr bwMode="auto">
            <a:xfrm>
              <a:off x="10486005" y="3381223"/>
              <a:ext cx="72412" cy="273161"/>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2" name="Rectangle 81"/>
            <p:cNvSpPr/>
            <p:nvPr/>
          </p:nvSpPr>
          <p:spPr bwMode="auto">
            <a:xfrm>
              <a:off x="10593162" y="3317213"/>
              <a:ext cx="72412" cy="337173"/>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3" name="Rectangle 82"/>
            <p:cNvSpPr/>
            <p:nvPr/>
          </p:nvSpPr>
          <p:spPr bwMode="auto">
            <a:xfrm>
              <a:off x="10700318" y="3233140"/>
              <a:ext cx="72412" cy="421246"/>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84" name="Group 83"/>
          <p:cNvGrpSpPr/>
          <p:nvPr/>
        </p:nvGrpSpPr>
        <p:grpSpPr>
          <a:xfrm>
            <a:off x="4882006" y="2362127"/>
            <a:ext cx="452229" cy="452228"/>
            <a:chOff x="385603" y="3523933"/>
            <a:chExt cx="461297" cy="461296"/>
          </a:xfrm>
        </p:grpSpPr>
        <p:sp>
          <p:nvSpPr>
            <p:cNvPr id="85" name="Oval 8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grpSp>
          <p:nvGrpSpPr>
            <p:cNvPr id="86" name="Group 85"/>
            <p:cNvGrpSpPr/>
            <p:nvPr/>
          </p:nvGrpSpPr>
          <p:grpSpPr>
            <a:xfrm>
              <a:off x="527471" y="3637336"/>
              <a:ext cx="177561" cy="234490"/>
              <a:chOff x="4872030" y="3858345"/>
              <a:chExt cx="435843" cy="575581"/>
            </a:xfrm>
            <a:solidFill>
              <a:schemeClr val="accent3"/>
            </a:solidFill>
          </p:grpSpPr>
          <p:sp>
            <p:nvSpPr>
              <p:cNvPr id="8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8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grpSp>
        <p:nvGrpSpPr>
          <p:cNvPr id="89" name="Group 88"/>
          <p:cNvGrpSpPr/>
          <p:nvPr/>
        </p:nvGrpSpPr>
        <p:grpSpPr>
          <a:xfrm>
            <a:off x="7898987" y="2362127"/>
            <a:ext cx="452229" cy="452228"/>
            <a:chOff x="385603" y="3523933"/>
            <a:chExt cx="461297" cy="461296"/>
          </a:xfrm>
        </p:grpSpPr>
        <p:sp>
          <p:nvSpPr>
            <p:cNvPr id="90" name="Oval 8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grpSp>
          <p:nvGrpSpPr>
            <p:cNvPr id="91" name="Group 90"/>
            <p:cNvGrpSpPr/>
            <p:nvPr/>
          </p:nvGrpSpPr>
          <p:grpSpPr>
            <a:xfrm>
              <a:off x="527471" y="3637336"/>
              <a:ext cx="177561" cy="234490"/>
              <a:chOff x="4872030" y="3858345"/>
              <a:chExt cx="435843" cy="575581"/>
            </a:xfrm>
            <a:solidFill>
              <a:schemeClr val="accent3"/>
            </a:solidFill>
          </p:grpSpPr>
          <p:sp>
            <p:nvSpPr>
              <p:cNvPr id="9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9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grpSp>
        <p:nvGrpSpPr>
          <p:cNvPr id="94" name="Group 93"/>
          <p:cNvGrpSpPr/>
          <p:nvPr/>
        </p:nvGrpSpPr>
        <p:grpSpPr>
          <a:xfrm>
            <a:off x="10111213" y="2362127"/>
            <a:ext cx="452229" cy="452228"/>
            <a:chOff x="385603" y="3523933"/>
            <a:chExt cx="461297" cy="461296"/>
          </a:xfrm>
        </p:grpSpPr>
        <p:sp>
          <p:nvSpPr>
            <p:cNvPr id="95" name="Oval 9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grpSp>
          <p:nvGrpSpPr>
            <p:cNvPr id="96" name="Group 95"/>
            <p:cNvGrpSpPr/>
            <p:nvPr/>
          </p:nvGrpSpPr>
          <p:grpSpPr>
            <a:xfrm>
              <a:off x="527471" y="3637336"/>
              <a:ext cx="177561" cy="234490"/>
              <a:chOff x="4872030" y="3858345"/>
              <a:chExt cx="435843" cy="575581"/>
            </a:xfrm>
            <a:solidFill>
              <a:schemeClr val="accent3"/>
            </a:solidFill>
          </p:grpSpPr>
          <p:sp>
            <p:nvSpPr>
              <p:cNvPr id="9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9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grpSp>
        <p:nvGrpSpPr>
          <p:cNvPr id="99" name="Group 98"/>
          <p:cNvGrpSpPr/>
          <p:nvPr/>
        </p:nvGrpSpPr>
        <p:grpSpPr>
          <a:xfrm>
            <a:off x="4023542" y="3967174"/>
            <a:ext cx="452229" cy="452228"/>
            <a:chOff x="385603" y="3523933"/>
            <a:chExt cx="461297" cy="461296"/>
          </a:xfrm>
        </p:grpSpPr>
        <p:sp>
          <p:nvSpPr>
            <p:cNvPr id="100" name="Oval 99"/>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grpSp>
          <p:nvGrpSpPr>
            <p:cNvPr id="101" name="Group 100"/>
            <p:cNvGrpSpPr/>
            <p:nvPr/>
          </p:nvGrpSpPr>
          <p:grpSpPr>
            <a:xfrm>
              <a:off x="527471" y="3637336"/>
              <a:ext cx="177561" cy="234490"/>
              <a:chOff x="4872030" y="3858345"/>
              <a:chExt cx="435843" cy="575581"/>
            </a:xfrm>
            <a:solidFill>
              <a:schemeClr val="accent3"/>
            </a:solidFill>
          </p:grpSpPr>
          <p:sp>
            <p:nvSpPr>
              <p:cNvPr id="102"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103"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grpSp>
        <p:nvGrpSpPr>
          <p:cNvPr id="104" name="Group 103"/>
          <p:cNvGrpSpPr/>
          <p:nvPr/>
        </p:nvGrpSpPr>
        <p:grpSpPr>
          <a:xfrm>
            <a:off x="7771643" y="3967174"/>
            <a:ext cx="452229" cy="452228"/>
            <a:chOff x="385603" y="3523933"/>
            <a:chExt cx="461297" cy="461296"/>
          </a:xfrm>
        </p:grpSpPr>
        <p:sp>
          <p:nvSpPr>
            <p:cNvPr id="105" name="Oval 104"/>
            <p:cNvSpPr/>
            <p:nvPr/>
          </p:nvSpPr>
          <p:spPr>
            <a:xfrm>
              <a:off x="385603" y="3523933"/>
              <a:ext cx="461297" cy="461296"/>
            </a:xfrm>
            <a:prstGeom prst="ellipse">
              <a:avLst/>
            </a:prstGeom>
            <a:solidFill>
              <a:schemeClr val="bg1">
                <a:lumMod val="95000"/>
              </a:schemeClr>
            </a:solidFill>
            <a:ln>
              <a:noFill/>
            </a:ln>
            <a:effectLst>
              <a:innerShdw dist="50800" dir="13500000">
                <a:prstClr val="black">
                  <a:alpha val="13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14"/>
              <a:endParaRPr lang="en-US">
                <a:solidFill>
                  <a:prstClr val="white"/>
                </a:solidFill>
              </a:endParaRPr>
            </a:p>
          </p:txBody>
        </p:sp>
        <p:grpSp>
          <p:nvGrpSpPr>
            <p:cNvPr id="106" name="Group 105"/>
            <p:cNvGrpSpPr/>
            <p:nvPr/>
          </p:nvGrpSpPr>
          <p:grpSpPr>
            <a:xfrm>
              <a:off x="527471" y="3637336"/>
              <a:ext cx="177561" cy="234490"/>
              <a:chOff x="4872030" y="3858345"/>
              <a:chExt cx="435843" cy="575581"/>
            </a:xfrm>
            <a:solidFill>
              <a:schemeClr val="accent3"/>
            </a:solidFill>
          </p:grpSpPr>
          <p:sp>
            <p:nvSpPr>
              <p:cNvPr id="107" name="Freeform 19"/>
              <p:cNvSpPr>
                <a:spLocks noEditPoints="1"/>
              </p:cNvSpPr>
              <p:nvPr/>
            </p:nvSpPr>
            <p:spPr bwMode="auto">
              <a:xfrm>
                <a:off x="4872030" y="3858345"/>
                <a:ext cx="435843" cy="575581"/>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108" name="Freeform 20"/>
              <p:cNvSpPr>
                <a:spLocks/>
              </p:cNvSpPr>
              <p:nvPr/>
            </p:nvSpPr>
            <p:spPr bwMode="auto">
              <a:xfrm>
                <a:off x="5194036" y="3885525"/>
                <a:ext cx="86337" cy="86657"/>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cxnSp>
        <p:nvCxnSpPr>
          <p:cNvPr id="109" name="Straight Connector 108"/>
          <p:cNvCxnSpPr/>
          <p:nvPr/>
        </p:nvCxnSpPr>
        <p:spPr>
          <a:xfrm flipH="1">
            <a:off x="4273780" y="4550406"/>
            <a:ext cx="891353" cy="0"/>
          </a:xfrm>
          <a:prstGeom prst="line">
            <a:avLst/>
          </a:prstGeom>
          <a:ln w="38100">
            <a:solidFill>
              <a:schemeClr val="accent1"/>
            </a:solidFill>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4908707" y="4995668"/>
            <a:ext cx="867806" cy="867806"/>
            <a:chOff x="10561853" y="5253432"/>
            <a:chExt cx="867806" cy="867806"/>
          </a:xfrm>
          <a:solidFill>
            <a:srgbClr val="002060"/>
          </a:solidFill>
        </p:grpSpPr>
        <p:sp>
          <p:nvSpPr>
            <p:cNvPr id="2" name="Oval 1"/>
            <p:cNvSpPr/>
            <p:nvPr/>
          </p:nvSpPr>
          <p:spPr>
            <a:xfrm>
              <a:off x="10561853" y="5253432"/>
              <a:ext cx="867806" cy="867806"/>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1" name="Picture 2" descr="\\MAGNUM\Projects\Microsoft\Cloud Power FY12\Design\ICONS_PNG\Devices.png"/>
            <p:cNvPicPr>
              <a:picLocks noChangeAspect="1" noChangeArrowheads="1"/>
            </p:cNvPicPr>
            <p:nvPr/>
          </p:nvPicPr>
          <p:blipFill>
            <a:blip r:embed="rId4" cstate="print">
              <a:lum bright="100000"/>
            </a:blip>
            <a:srcRect/>
            <a:stretch>
              <a:fillRect/>
            </a:stretch>
          </p:blipFill>
          <p:spPr bwMode="auto">
            <a:xfrm>
              <a:off x="10682829" y="5374408"/>
              <a:ext cx="625854" cy="625854"/>
            </a:xfrm>
            <a:prstGeom prst="rect">
              <a:avLst/>
            </a:prstGeom>
            <a:grpFill/>
          </p:spPr>
        </p:pic>
      </p:grpSp>
      <p:grpSp>
        <p:nvGrpSpPr>
          <p:cNvPr id="112" name="Group 111"/>
          <p:cNvGrpSpPr/>
          <p:nvPr/>
        </p:nvGrpSpPr>
        <p:grpSpPr>
          <a:xfrm>
            <a:off x="6476797" y="5011494"/>
            <a:ext cx="805569" cy="805569"/>
            <a:chOff x="7909133" y="5457279"/>
            <a:chExt cx="891239" cy="891239"/>
          </a:xfrm>
          <a:solidFill>
            <a:srgbClr val="002060"/>
          </a:solidFill>
        </p:grpSpPr>
        <p:sp>
          <p:nvSpPr>
            <p:cNvPr id="4" name="Oval 3"/>
            <p:cNvSpPr/>
            <p:nvPr/>
          </p:nvSpPr>
          <p:spPr>
            <a:xfrm>
              <a:off x="7909133" y="5457279"/>
              <a:ext cx="891239" cy="891239"/>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1440" rIns="91440" bIns="91440" numCol="1" spcCol="0" rtlCol="0" fromWordArt="0" anchor="b" anchorCtr="0" forceAA="0" compatLnSpc="1">
              <a:prstTxWarp prst="textNoShape">
                <a:avLst/>
              </a:prstTxWarp>
              <a:noAutofit/>
            </a:bodyPr>
            <a:lstStyle/>
            <a:p>
              <a:pPr algn="r"/>
              <a:endParaRPr lang="en-US" sz="1200" dirty="0" err="1"/>
            </a:p>
          </p:txBody>
        </p:sp>
        <p:pic>
          <p:nvPicPr>
            <p:cNvPr id="110" name="Picture 5" descr="\\MAGNUM\Projects\Microsoft\Cloud Power FY12\Design\ICONS_PNG\Layer-79.png"/>
            <p:cNvPicPr>
              <a:picLocks noChangeAspect="1" noChangeArrowheads="1"/>
            </p:cNvPicPr>
            <p:nvPr/>
          </p:nvPicPr>
          <p:blipFill>
            <a:blip r:embed="rId5" cstate="print">
              <a:biLevel thresh="25000"/>
            </a:blip>
            <a:srcRect/>
            <a:stretch>
              <a:fillRect/>
            </a:stretch>
          </p:blipFill>
          <p:spPr bwMode="auto">
            <a:xfrm>
              <a:off x="8021756" y="5562733"/>
              <a:ext cx="679613" cy="679613"/>
            </a:xfrm>
            <a:prstGeom prst="rect">
              <a:avLst/>
            </a:prstGeom>
            <a:grpFill/>
          </p:spPr>
        </p:pic>
      </p:grpSp>
      <p:sp>
        <p:nvSpPr>
          <p:cNvPr id="113" name="TextBox 112"/>
          <p:cNvSpPr txBox="1"/>
          <p:nvPr/>
        </p:nvSpPr>
        <p:spPr>
          <a:xfrm>
            <a:off x="2979354" y="151721"/>
            <a:ext cx="6943141" cy="965140"/>
          </a:xfrm>
          <a:prstGeom prst="rect">
            <a:avLst/>
          </a:prstGeom>
          <a:noFill/>
        </p:spPr>
        <p:txBody>
          <a:bodyPr wrap="square" lIns="134464" tIns="107571" rIns="134464" bIns="107571" rtlCol="0">
            <a:spAutoFit/>
          </a:bodyPr>
          <a:lstStyle/>
          <a:p>
            <a:pPr algn="ctr" defTabSz="685845">
              <a:lnSpc>
                <a:spcPct val="90000"/>
              </a:lnSpc>
              <a:spcAft>
                <a:spcPts val="441"/>
              </a:spcAft>
            </a:pPr>
            <a:r>
              <a:rPr lang="en-US" sz="5400" dirty="0">
                <a:gradFill>
                  <a:gsLst>
                    <a:gs pos="2917">
                      <a:srgbClr val="FFFFFF"/>
                    </a:gs>
                    <a:gs pos="30000">
                      <a:srgbClr val="FFFFFF"/>
                    </a:gs>
                  </a:gsLst>
                  <a:lin ang="5400000" scaled="0"/>
                </a:gradFill>
                <a:latin typeface="Segoe UI Light"/>
              </a:rPr>
              <a:t>Internet of Things</a:t>
            </a:r>
          </a:p>
        </p:txBody>
      </p:sp>
      <p:grpSp>
        <p:nvGrpSpPr>
          <p:cNvPr id="115" name="Group 114"/>
          <p:cNvGrpSpPr/>
          <p:nvPr/>
        </p:nvGrpSpPr>
        <p:grpSpPr>
          <a:xfrm>
            <a:off x="9597794" y="2715154"/>
            <a:ext cx="495943" cy="556423"/>
            <a:chOff x="2241990" y="3323843"/>
            <a:chExt cx="224646" cy="252042"/>
          </a:xfrm>
          <a:solidFill>
            <a:schemeClr val="bg1">
              <a:lumMod val="95000"/>
            </a:schemeClr>
          </a:solidFill>
        </p:grpSpPr>
        <p:sp>
          <p:nvSpPr>
            <p:cNvPr id="116" name="Freeform 14"/>
            <p:cNvSpPr>
              <a:spLocks/>
            </p:cNvSpPr>
            <p:nvPr/>
          </p:nvSpPr>
          <p:spPr bwMode="auto">
            <a:xfrm>
              <a:off x="2241990" y="3399367"/>
              <a:ext cx="102640" cy="176518"/>
            </a:xfrm>
            <a:custGeom>
              <a:avLst/>
              <a:gdLst>
                <a:gd name="T0" fmla="*/ 728 w 728"/>
                <a:gd name="T1" fmla="*/ 419 h 1252"/>
                <a:gd name="T2" fmla="*/ 726 w 728"/>
                <a:gd name="T3" fmla="*/ 1252 h 1252"/>
                <a:gd name="T4" fmla="*/ 0 w 728"/>
                <a:gd name="T5" fmla="*/ 834 h 1252"/>
                <a:gd name="T6" fmla="*/ 2 w 728"/>
                <a:gd name="T7" fmla="*/ 0 h 1252"/>
                <a:gd name="T8" fmla="*/ 728 w 728"/>
                <a:gd name="T9" fmla="*/ 419 h 1252"/>
              </a:gdLst>
              <a:ahLst/>
              <a:cxnLst>
                <a:cxn ang="0">
                  <a:pos x="T0" y="T1"/>
                </a:cxn>
                <a:cxn ang="0">
                  <a:pos x="T2" y="T3"/>
                </a:cxn>
                <a:cxn ang="0">
                  <a:pos x="T4" y="T5"/>
                </a:cxn>
                <a:cxn ang="0">
                  <a:pos x="T6" y="T7"/>
                </a:cxn>
                <a:cxn ang="0">
                  <a:pos x="T8" y="T9"/>
                </a:cxn>
              </a:cxnLst>
              <a:rect l="0" t="0" r="r" b="b"/>
              <a:pathLst>
                <a:path w="728" h="1252">
                  <a:moveTo>
                    <a:pt x="728" y="419"/>
                  </a:moveTo>
                  <a:lnTo>
                    <a:pt x="726" y="1252"/>
                  </a:lnTo>
                  <a:lnTo>
                    <a:pt x="0" y="834"/>
                  </a:lnTo>
                  <a:lnTo>
                    <a:pt x="2" y="0"/>
                  </a:lnTo>
                  <a:lnTo>
                    <a:pt x="728"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117" name="Freeform 15"/>
            <p:cNvSpPr>
              <a:spLocks/>
            </p:cNvSpPr>
            <p:nvPr/>
          </p:nvSpPr>
          <p:spPr bwMode="auto">
            <a:xfrm>
              <a:off x="2364277" y="3399367"/>
              <a:ext cx="102359" cy="176518"/>
            </a:xfrm>
            <a:custGeom>
              <a:avLst/>
              <a:gdLst>
                <a:gd name="T0" fmla="*/ 2 w 726"/>
                <a:gd name="T1" fmla="*/ 419 h 1252"/>
                <a:gd name="T2" fmla="*/ 0 w 726"/>
                <a:gd name="T3" fmla="*/ 1252 h 1252"/>
                <a:gd name="T4" fmla="*/ 726 w 726"/>
                <a:gd name="T5" fmla="*/ 834 h 1252"/>
                <a:gd name="T6" fmla="*/ 726 w 726"/>
                <a:gd name="T7" fmla="*/ 0 h 1252"/>
                <a:gd name="T8" fmla="*/ 2 w 726"/>
                <a:gd name="T9" fmla="*/ 419 h 1252"/>
              </a:gdLst>
              <a:ahLst/>
              <a:cxnLst>
                <a:cxn ang="0">
                  <a:pos x="T0" y="T1"/>
                </a:cxn>
                <a:cxn ang="0">
                  <a:pos x="T2" y="T3"/>
                </a:cxn>
                <a:cxn ang="0">
                  <a:pos x="T4" y="T5"/>
                </a:cxn>
                <a:cxn ang="0">
                  <a:pos x="T6" y="T7"/>
                </a:cxn>
                <a:cxn ang="0">
                  <a:pos x="T8" y="T9"/>
                </a:cxn>
              </a:cxnLst>
              <a:rect l="0" t="0" r="r" b="b"/>
              <a:pathLst>
                <a:path w="726" h="1252">
                  <a:moveTo>
                    <a:pt x="2" y="419"/>
                  </a:moveTo>
                  <a:lnTo>
                    <a:pt x="0" y="1252"/>
                  </a:lnTo>
                  <a:lnTo>
                    <a:pt x="726" y="834"/>
                  </a:lnTo>
                  <a:lnTo>
                    <a:pt x="726" y="0"/>
                  </a:lnTo>
                  <a:lnTo>
                    <a:pt x="2" y="4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118" name="Freeform 16"/>
            <p:cNvSpPr>
              <a:spLocks/>
            </p:cNvSpPr>
            <p:nvPr/>
          </p:nvSpPr>
          <p:spPr bwMode="auto">
            <a:xfrm>
              <a:off x="2252233" y="3323843"/>
              <a:ext cx="204436" cy="116880"/>
            </a:xfrm>
            <a:custGeom>
              <a:avLst/>
              <a:gdLst>
                <a:gd name="T0" fmla="*/ 726 w 1450"/>
                <a:gd name="T1" fmla="*/ 829 h 829"/>
                <a:gd name="T2" fmla="*/ 0 w 1450"/>
                <a:gd name="T3" fmla="*/ 410 h 829"/>
                <a:gd name="T4" fmla="*/ 724 w 1450"/>
                <a:gd name="T5" fmla="*/ 0 h 829"/>
                <a:gd name="T6" fmla="*/ 1450 w 1450"/>
                <a:gd name="T7" fmla="*/ 410 h 829"/>
                <a:gd name="T8" fmla="*/ 726 w 1450"/>
                <a:gd name="T9" fmla="*/ 829 h 829"/>
              </a:gdLst>
              <a:ahLst/>
              <a:cxnLst>
                <a:cxn ang="0">
                  <a:pos x="T0" y="T1"/>
                </a:cxn>
                <a:cxn ang="0">
                  <a:pos x="T2" y="T3"/>
                </a:cxn>
                <a:cxn ang="0">
                  <a:pos x="T4" y="T5"/>
                </a:cxn>
                <a:cxn ang="0">
                  <a:pos x="T6" y="T7"/>
                </a:cxn>
                <a:cxn ang="0">
                  <a:pos x="T8" y="T9"/>
                </a:cxn>
              </a:cxnLst>
              <a:rect l="0" t="0" r="r" b="b"/>
              <a:pathLst>
                <a:path w="1450" h="829">
                  <a:moveTo>
                    <a:pt x="726" y="829"/>
                  </a:moveTo>
                  <a:lnTo>
                    <a:pt x="0" y="410"/>
                  </a:lnTo>
                  <a:lnTo>
                    <a:pt x="724" y="0"/>
                  </a:lnTo>
                  <a:lnTo>
                    <a:pt x="1450" y="410"/>
                  </a:lnTo>
                  <a:lnTo>
                    <a:pt x="726" y="82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sp>
        <p:nvSpPr>
          <p:cNvPr id="120" name="Freeform 119"/>
          <p:cNvSpPr>
            <a:spLocks noChangeAspect="1"/>
          </p:cNvSpPr>
          <p:nvPr/>
        </p:nvSpPr>
        <p:spPr bwMode="black">
          <a:xfrm>
            <a:off x="6727013" y="3860274"/>
            <a:ext cx="335048" cy="584975"/>
          </a:xfrm>
          <a:custGeom>
            <a:avLst/>
            <a:gdLst>
              <a:gd name="connsiteX0" fmla="*/ 64175 w 285415"/>
              <a:gd name="connsiteY0" fmla="*/ 373567 h 498318"/>
              <a:gd name="connsiteX1" fmla="*/ 220714 w 285415"/>
              <a:gd name="connsiteY1" fmla="*/ 373567 h 498318"/>
              <a:gd name="connsiteX2" fmla="*/ 223350 w 285415"/>
              <a:gd name="connsiteY2" fmla="*/ 377743 h 498318"/>
              <a:gd name="connsiteX3" fmla="*/ 188563 w 285415"/>
              <a:gd name="connsiteY3" fmla="*/ 433072 h 498318"/>
              <a:gd name="connsiteX4" fmla="*/ 186982 w 285415"/>
              <a:gd name="connsiteY4" fmla="*/ 435160 h 498318"/>
              <a:gd name="connsiteX5" fmla="*/ 189617 w 285415"/>
              <a:gd name="connsiteY5" fmla="*/ 442989 h 498318"/>
              <a:gd name="connsiteX6" fmla="*/ 186455 w 285415"/>
              <a:gd name="connsiteY6" fmla="*/ 451341 h 498318"/>
              <a:gd name="connsiteX7" fmla="*/ 189617 w 285415"/>
              <a:gd name="connsiteY7" fmla="*/ 459170 h 498318"/>
              <a:gd name="connsiteX8" fmla="*/ 186455 w 285415"/>
              <a:gd name="connsiteY8" fmla="*/ 467522 h 498318"/>
              <a:gd name="connsiteX9" fmla="*/ 189617 w 285415"/>
              <a:gd name="connsiteY9" fmla="*/ 475873 h 498318"/>
              <a:gd name="connsiteX10" fmla="*/ 177495 w 285415"/>
              <a:gd name="connsiteY10" fmla="*/ 487879 h 498318"/>
              <a:gd name="connsiteX11" fmla="*/ 170116 w 285415"/>
              <a:gd name="connsiteY11" fmla="*/ 487879 h 498318"/>
              <a:gd name="connsiteX12" fmla="*/ 164318 w 285415"/>
              <a:gd name="connsiteY12" fmla="*/ 497274 h 498318"/>
              <a:gd name="connsiteX13" fmla="*/ 162210 w 285415"/>
              <a:gd name="connsiteY13" fmla="*/ 498318 h 498318"/>
              <a:gd name="connsiteX14" fmla="*/ 133748 w 285415"/>
              <a:gd name="connsiteY14" fmla="*/ 498318 h 498318"/>
              <a:gd name="connsiteX15" fmla="*/ 131640 w 285415"/>
              <a:gd name="connsiteY15" fmla="*/ 497274 h 498318"/>
              <a:gd name="connsiteX16" fmla="*/ 124788 w 285415"/>
              <a:gd name="connsiteY16" fmla="*/ 487879 h 498318"/>
              <a:gd name="connsiteX17" fmla="*/ 116355 w 285415"/>
              <a:gd name="connsiteY17" fmla="*/ 487879 h 498318"/>
              <a:gd name="connsiteX18" fmla="*/ 103706 w 285415"/>
              <a:gd name="connsiteY18" fmla="*/ 475873 h 498318"/>
              <a:gd name="connsiteX19" fmla="*/ 106868 w 285415"/>
              <a:gd name="connsiteY19" fmla="*/ 467522 h 498318"/>
              <a:gd name="connsiteX20" fmla="*/ 103706 w 285415"/>
              <a:gd name="connsiteY20" fmla="*/ 459170 h 498318"/>
              <a:gd name="connsiteX21" fmla="*/ 106868 w 285415"/>
              <a:gd name="connsiteY21" fmla="*/ 451341 h 498318"/>
              <a:gd name="connsiteX22" fmla="*/ 103706 w 285415"/>
              <a:gd name="connsiteY22" fmla="*/ 442989 h 498318"/>
              <a:gd name="connsiteX23" fmla="*/ 105814 w 285415"/>
              <a:gd name="connsiteY23" fmla="*/ 436204 h 498318"/>
              <a:gd name="connsiteX24" fmla="*/ 102651 w 285415"/>
              <a:gd name="connsiteY24" fmla="*/ 433594 h 498318"/>
              <a:gd name="connsiteX25" fmla="*/ 62067 w 285415"/>
              <a:gd name="connsiteY25" fmla="*/ 377743 h 498318"/>
              <a:gd name="connsiteX26" fmla="*/ 64175 w 285415"/>
              <a:gd name="connsiteY26" fmla="*/ 373567 h 498318"/>
              <a:gd name="connsiteX27" fmla="*/ 142707 w 285415"/>
              <a:gd name="connsiteY27" fmla="*/ 0 h 498318"/>
              <a:gd name="connsiteX28" fmla="*/ 285415 w 285415"/>
              <a:gd name="connsiteY28" fmla="*/ 143004 h 498318"/>
              <a:gd name="connsiteX29" fmla="*/ 269269 w 285415"/>
              <a:gd name="connsiteY29" fmla="*/ 209287 h 498318"/>
              <a:gd name="connsiteX30" fmla="*/ 270832 w 285415"/>
              <a:gd name="connsiteY30" fmla="*/ 208765 h 498318"/>
              <a:gd name="connsiteX31" fmla="*/ 209374 w 285415"/>
              <a:gd name="connsiteY31" fmla="*/ 349681 h 498318"/>
              <a:gd name="connsiteX32" fmla="*/ 77604 w 285415"/>
              <a:gd name="connsiteY32" fmla="*/ 349681 h 498318"/>
              <a:gd name="connsiteX33" fmla="*/ 30729 w 285415"/>
              <a:gd name="connsiteY33" fmla="*/ 231729 h 498318"/>
              <a:gd name="connsiteX34" fmla="*/ 16146 w 285415"/>
              <a:gd name="connsiteY34" fmla="*/ 209287 h 498318"/>
              <a:gd name="connsiteX35" fmla="*/ 16146 w 285415"/>
              <a:gd name="connsiteY35" fmla="*/ 208765 h 498318"/>
              <a:gd name="connsiteX36" fmla="*/ 0 w 285415"/>
              <a:gd name="connsiteY36" fmla="*/ 143004 h 498318"/>
              <a:gd name="connsiteX37" fmla="*/ 142707 w 285415"/>
              <a:gd name="connsiteY37" fmla="*/ 0 h 498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85415" h="498318">
                <a:moveTo>
                  <a:pt x="64175" y="373567"/>
                </a:moveTo>
                <a:cubicBezTo>
                  <a:pt x="64175" y="373567"/>
                  <a:pt x="64175" y="373567"/>
                  <a:pt x="220714" y="373567"/>
                </a:cubicBezTo>
                <a:cubicBezTo>
                  <a:pt x="223877" y="373567"/>
                  <a:pt x="224931" y="375655"/>
                  <a:pt x="223350" y="377743"/>
                </a:cubicBezTo>
                <a:cubicBezTo>
                  <a:pt x="223350" y="377743"/>
                  <a:pt x="223350" y="377743"/>
                  <a:pt x="188563" y="433072"/>
                </a:cubicBezTo>
                <a:cubicBezTo>
                  <a:pt x="188036" y="433594"/>
                  <a:pt x="187509" y="434638"/>
                  <a:pt x="186982" y="435160"/>
                </a:cubicBezTo>
                <a:cubicBezTo>
                  <a:pt x="188563" y="437247"/>
                  <a:pt x="189617" y="440379"/>
                  <a:pt x="189617" y="442989"/>
                </a:cubicBezTo>
                <a:cubicBezTo>
                  <a:pt x="189617" y="446121"/>
                  <a:pt x="188563" y="448731"/>
                  <a:pt x="186455" y="451341"/>
                </a:cubicBezTo>
                <a:cubicBezTo>
                  <a:pt x="188563" y="453429"/>
                  <a:pt x="189617" y="456038"/>
                  <a:pt x="189617" y="459170"/>
                </a:cubicBezTo>
                <a:cubicBezTo>
                  <a:pt x="189617" y="462824"/>
                  <a:pt x="188563" y="465434"/>
                  <a:pt x="186455" y="467522"/>
                </a:cubicBezTo>
                <a:cubicBezTo>
                  <a:pt x="188563" y="469610"/>
                  <a:pt x="189617" y="472742"/>
                  <a:pt x="189617" y="475873"/>
                </a:cubicBezTo>
                <a:cubicBezTo>
                  <a:pt x="189617" y="482659"/>
                  <a:pt x="184347" y="487879"/>
                  <a:pt x="177495" y="487879"/>
                </a:cubicBezTo>
                <a:cubicBezTo>
                  <a:pt x="177495" y="487879"/>
                  <a:pt x="177495" y="487879"/>
                  <a:pt x="170116" y="487879"/>
                </a:cubicBezTo>
                <a:cubicBezTo>
                  <a:pt x="170116" y="487879"/>
                  <a:pt x="170116" y="487879"/>
                  <a:pt x="164318" y="497274"/>
                </a:cubicBezTo>
                <a:cubicBezTo>
                  <a:pt x="163791" y="497796"/>
                  <a:pt x="162737" y="498318"/>
                  <a:pt x="162210" y="498318"/>
                </a:cubicBezTo>
                <a:cubicBezTo>
                  <a:pt x="162210" y="498318"/>
                  <a:pt x="162210" y="498318"/>
                  <a:pt x="133748" y="498318"/>
                </a:cubicBezTo>
                <a:cubicBezTo>
                  <a:pt x="132694" y="498318"/>
                  <a:pt x="132167" y="497796"/>
                  <a:pt x="131640" y="497274"/>
                </a:cubicBezTo>
                <a:cubicBezTo>
                  <a:pt x="131640" y="497274"/>
                  <a:pt x="131640" y="497274"/>
                  <a:pt x="124788" y="487879"/>
                </a:cubicBezTo>
                <a:cubicBezTo>
                  <a:pt x="124788" y="487879"/>
                  <a:pt x="124788" y="487879"/>
                  <a:pt x="116355" y="487879"/>
                </a:cubicBezTo>
                <a:cubicBezTo>
                  <a:pt x="109503" y="487879"/>
                  <a:pt x="103706" y="482659"/>
                  <a:pt x="103706" y="475873"/>
                </a:cubicBezTo>
                <a:cubicBezTo>
                  <a:pt x="103706" y="472742"/>
                  <a:pt x="104760" y="469610"/>
                  <a:pt x="106868" y="467522"/>
                </a:cubicBezTo>
                <a:cubicBezTo>
                  <a:pt x="104760" y="465434"/>
                  <a:pt x="103706" y="462824"/>
                  <a:pt x="103706" y="459170"/>
                </a:cubicBezTo>
                <a:cubicBezTo>
                  <a:pt x="103706" y="456038"/>
                  <a:pt x="104760" y="453429"/>
                  <a:pt x="106868" y="451341"/>
                </a:cubicBezTo>
                <a:cubicBezTo>
                  <a:pt x="104760" y="448731"/>
                  <a:pt x="103706" y="446121"/>
                  <a:pt x="103706" y="442989"/>
                </a:cubicBezTo>
                <a:cubicBezTo>
                  <a:pt x="103706" y="440901"/>
                  <a:pt x="104760" y="438291"/>
                  <a:pt x="105814" y="436204"/>
                </a:cubicBezTo>
                <a:cubicBezTo>
                  <a:pt x="104760" y="435682"/>
                  <a:pt x="103178" y="434638"/>
                  <a:pt x="102651" y="433594"/>
                </a:cubicBezTo>
                <a:cubicBezTo>
                  <a:pt x="102651" y="433594"/>
                  <a:pt x="102651" y="433594"/>
                  <a:pt x="62067" y="377743"/>
                </a:cubicBezTo>
                <a:cubicBezTo>
                  <a:pt x="60486" y="375655"/>
                  <a:pt x="61540" y="373567"/>
                  <a:pt x="64175" y="373567"/>
                </a:cubicBezTo>
                <a:close/>
                <a:moveTo>
                  <a:pt x="142707" y="0"/>
                </a:moveTo>
                <a:cubicBezTo>
                  <a:pt x="221874" y="0"/>
                  <a:pt x="285415" y="64195"/>
                  <a:pt x="285415" y="143004"/>
                </a:cubicBezTo>
                <a:cubicBezTo>
                  <a:pt x="285415" y="167012"/>
                  <a:pt x="279686" y="189454"/>
                  <a:pt x="269269" y="209287"/>
                </a:cubicBezTo>
                <a:cubicBezTo>
                  <a:pt x="269269" y="209287"/>
                  <a:pt x="269269" y="209287"/>
                  <a:pt x="270832" y="208765"/>
                </a:cubicBezTo>
                <a:cubicBezTo>
                  <a:pt x="210936" y="297490"/>
                  <a:pt x="209374" y="341330"/>
                  <a:pt x="209374" y="349681"/>
                </a:cubicBezTo>
                <a:cubicBezTo>
                  <a:pt x="209374" y="349681"/>
                  <a:pt x="209374" y="349681"/>
                  <a:pt x="77604" y="349681"/>
                </a:cubicBezTo>
                <a:cubicBezTo>
                  <a:pt x="77604" y="342374"/>
                  <a:pt x="76041" y="305319"/>
                  <a:pt x="30729" y="231729"/>
                </a:cubicBezTo>
                <a:cubicBezTo>
                  <a:pt x="25521" y="224422"/>
                  <a:pt x="20312" y="217115"/>
                  <a:pt x="16146" y="209287"/>
                </a:cubicBezTo>
                <a:cubicBezTo>
                  <a:pt x="16146" y="209287"/>
                  <a:pt x="16146" y="208765"/>
                  <a:pt x="16146" y="208765"/>
                </a:cubicBezTo>
                <a:cubicBezTo>
                  <a:pt x="5729" y="189454"/>
                  <a:pt x="0" y="167012"/>
                  <a:pt x="0" y="143004"/>
                </a:cubicBezTo>
                <a:cubicBezTo>
                  <a:pt x="0" y="64195"/>
                  <a:pt x="64062" y="0"/>
                  <a:pt x="142707" y="0"/>
                </a:cubicBezTo>
                <a:close/>
              </a:path>
            </a:pathLst>
          </a:custGeom>
          <a:solidFill>
            <a:schemeClr val="accent4"/>
          </a:solidFill>
          <a:ln>
            <a:noFill/>
            <a:headEnd type="none" w="med" len="med"/>
            <a:tailEnd type="none" w="med" len="med"/>
          </a:ln>
          <a:effectLst/>
          <a:ex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2197683030"/>
      </p:ext>
    </p:extLst>
  </p:cSld>
  <p:clrMapOvr>
    <a:masterClrMapping/>
  </p:clrMapOvr>
  <mc:AlternateContent xmlns:mc="http://schemas.openxmlformats.org/markup-compatibility/2006" xmlns:p14="http://schemas.microsoft.com/office/powerpoint/2010/main">
    <mc:Choice Requires="p14">
      <p:transition spd="slow" p14:dur="1400">
        <p14:ripple/>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afterEffect">
                                  <p:stCondLst>
                                    <p:cond delay="0"/>
                                  </p:stCondLst>
                                  <p:childTnLst>
                                    <p:set>
                                      <p:cBhvr>
                                        <p:cTn id="6" dur="1" fill="hold">
                                          <p:stCondLst>
                                            <p:cond delay="0"/>
                                          </p:stCondLst>
                                        </p:cTn>
                                        <p:tgtEl>
                                          <p:spTgt spid="63"/>
                                        </p:tgtEl>
                                        <p:attrNameLst>
                                          <p:attrName>style.visibility</p:attrName>
                                        </p:attrNameLst>
                                      </p:cBhvr>
                                      <p:to>
                                        <p:strVal val="visible"/>
                                      </p:to>
                                    </p:set>
                                    <p:animEffect transition="in" filter="wipe(left)">
                                      <p:cBhvr>
                                        <p:cTn id="7" dur="250"/>
                                        <p:tgtEl>
                                          <p:spTgt spid="63"/>
                                        </p:tgtEl>
                                      </p:cBhvr>
                                    </p:animEffect>
                                  </p:childTnLst>
                                </p:cTn>
                              </p:par>
                            </p:childTnLst>
                          </p:cTn>
                        </p:par>
                        <p:par>
                          <p:cTn id="8" fill="hold">
                            <p:stCondLst>
                              <p:cond delay="250"/>
                            </p:stCondLst>
                            <p:childTnLst>
                              <p:par>
                                <p:cTn id="9" presetID="22" presetClass="entr" presetSubtype="2" fill="hold" nodeType="afterEffect">
                                  <p:stCondLst>
                                    <p:cond delay="0"/>
                                  </p:stCondLst>
                                  <p:childTnLst>
                                    <p:set>
                                      <p:cBhvr>
                                        <p:cTn id="10" dur="1" fill="hold">
                                          <p:stCondLst>
                                            <p:cond delay="0"/>
                                          </p:stCondLst>
                                        </p:cTn>
                                        <p:tgtEl>
                                          <p:spTgt spid="64"/>
                                        </p:tgtEl>
                                        <p:attrNameLst>
                                          <p:attrName>style.visibility</p:attrName>
                                        </p:attrNameLst>
                                      </p:cBhvr>
                                      <p:to>
                                        <p:strVal val="visible"/>
                                      </p:to>
                                    </p:set>
                                    <p:animEffect transition="in" filter="wipe(right)">
                                      <p:cBhvr>
                                        <p:cTn id="11" dur="250"/>
                                        <p:tgtEl>
                                          <p:spTgt spid="64"/>
                                        </p:tgtEl>
                                      </p:cBhvr>
                                    </p:animEffect>
                                  </p:childTnLst>
                                </p:cTn>
                              </p:par>
                            </p:childTnLst>
                          </p:cTn>
                        </p:par>
                        <p:par>
                          <p:cTn id="12" fill="hold">
                            <p:stCondLst>
                              <p:cond delay="500"/>
                            </p:stCondLst>
                            <p:childTnLst>
                              <p:par>
                                <p:cTn id="13" presetID="22" presetClass="entr" presetSubtype="8" fill="hold" nodeType="afterEffect">
                                  <p:stCondLst>
                                    <p:cond delay="0"/>
                                  </p:stCondLst>
                                  <p:childTnLst>
                                    <p:set>
                                      <p:cBhvr>
                                        <p:cTn id="14" dur="1" fill="hold">
                                          <p:stCondLst>
                                            <p:cond delay="0"/>
                                          </p:stCondLst>
                                        </p:cTn>
                                        <p:tgtEl>
                                          <p:spTgt spid="65"/>
                                        </p:tgtEl>
                                        <p:attrNameLst>
                                          <p:attrName>style.visibility</p:attrName>
                                        </p:attrNameLst>
                                      </p:cBhvr>
                                      <p:to>
                                        <p:strVal val="visible"/>
                                      </p:to>
                                    </p:set>
                                    <p:animEffect transition="in" filter="wipe(left)">
                                      <p:cBhvr>
                                        <p:cTn id="15" dur="250"/>
                                        <p:tgtEl>
                                          <p:spTgt spid="65"/>
                                        </p:tgtEl>
                                      </p:cBhvr>
                                    </p:animEffect>
                                  </p:childTnLst>
                                </p:cTn>
                              </p:par>
                            </p:childTnLst>
                          </p:cTn>
                        </p:par>
                        <p:par>
                          <p:cTn id="16" fill="hold">
                            <p:stCondLst>
                              <p:cond delay="750"/>
                            </p:stCondLst>
                            <p:childTnLst>
                              <p:par>
                                <p:cTn id="17" presetID="22" presetClass="entr" presetSubtype="8" fill="hold" nodeType="after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wipe(left)">
                                      <p:cBhvr>
                                        <p:cTn id="19" dur="250"/>
                                        <p:tgtEl>
                                          <p:spTgt spid="13"/>
                                        </p:tgtEl>
                                      </p:cBhvr>
                                    </p:animEffect>
                                  </p:childTnLst>
                                </p:cTn>
                              </p:par>
                            </p:childTnLst>
                          </p:cTn>
                        </p:par>
                        <p:par>
                          <p:cTn id="20" fill="hold">
                            <p:stCondLst>
                              <p:cond delay="1000"/>
                            </p:stCondLst>
                            <p:childTnLst>
                              <p:par>
                                <p:cTn id="21" presetID="22" presetClass="entr" presetSubtype="8" fill="hold" nodeType="afterEffect">
                                  <p:stCondLst>
                                    <p:cond delay="0"/>
                                  </p:stCondLst>
                                  <p:childTnLst>
                                    <p:set>
                                      <p:cBhvr>
                                        <p:cTn id="22" dur="1" fill="hold">
                                          <p:stCondLst>
                                            <p:cond delay="0"/>
                                          </p:stCondLst>
                                        </p:cTn>
                                        <p:tgtEl>
                                          <p:spTgt spid="66"/>
                                        </p:tgtEl>
                                        <p:attrNameLst>
                                          <p:attrName>style.visibility</p:attrName>
                                        </p:attrNameLst>
                                      </p:cBhvr>
                                      <p:to>
                                        <p:strVal val="visible"/>
                                      </p:to>
                                    </p:set>
                                    <p:animEffect transition="in" filter="wipe(left)">
                                      <p:cBhvr>
                                        <p:cTn id="23" dur="250"/>
                                        <p:tgtEl>
                                          <p:spTgt spid="66"/>
                                        </p:tgtEl>
                                      </p:cBhvr>
                                    </p:animEffect>
                                  </p:childTnLst>
                                </p:cTn>
                              </p:par>
                            </p:childTnLst>
                          </p:cTn>
                        </p:par>
                        <p:par>
                          <p:cTn id="24" fill="hold">
                            <p:stCondLst>
                              <p:cond delay="1250"/>
                            </p:stCondLst>
                            <p:childTnLst>
                              <p:par>
                                <p:cTn id="25" presetID="22" presetClass="entr" presetSubtype="8" fill="hold" nodeType="afterEffect">
                                  <p:stCondLst>
                                    <p:cond delay="0"/>
                                  </p:stCondLst>
                                  <p:childTnLst>
                                    <p:set>
                                      <p:cBhvr>
                                        <p:cTn id="26" dur="1" fill="hold">
                                          <p:stCondLst>
                                            <p:cond delay="0"/>
                                          </p:stCondLst>
                                        </p:cTn>
                                        <p:tgtEl>
                                          <p:spTgt spid="67"/>
                                        </p:tgtEl>
                                        <p:attrNameLst>
                                          <p:attrName>style.visibility</p:attrName>
                                        </p:attrNameLst>
                                      </p:cBhvr>
                                      <p:to>
                                        <p:strVal val="visible"/>
                                      </p:to>
                                    </p:set>
                                    <p:animEffect transition="in" filter="wipe(left)">
                                      <p:cBhvr>
                                        <p:cTn id="27" dur="250"/>
                                        <p:tgtEl>
                                          <p:spTgt spid="67"/>
                                        </p:tgtEl>
                                      </p:cBhvr>
                                    </p:animEffect>
                                  </p:childTnLst>
                                </p:cTn>
                              </p:par>
                            </p:childTnLst>
                          </p:cTn>
                        </p:par>
                        <p:par>
                          <p:cTn id="28" fill="hold">
                            <p:stCondLst>
                              <p:cond delay="1500"/>
                            </p:stCondLst>
                            <p:childTnLst>
                              <p:par>
                                <p:cTn id="29" presetID="22" presetClass="entr" presetSubtype="8" fill="hold" nodeType="afterEffect">
                                  <p:stCondLst>
                                    <p:cond delay="0"/>
                                  </p:stCondLst>
                                  <p:childTnLst>
                                    <p:set>
                                      <p:cBhvr>
                                        <p:cTn id="30" dur="1" fill="hold">
                                          <p:stCondLst>
                                            <p:cond delay="0"/>
                                          </p:stCondLst>
                                        </p:cTn>
                                        <p:tgtEl>
                                          <p:spTgt spid="68"/>
                                        </p:tgtEl>
                                        <p:attrNameLst>
                                          <p:attrName>style.visibility</p:attrName>
                                        </p:attrNameLst>
                                      </p:cBhvr>
                                      <p:to>
                                        <p:strVal val="visible"/>
                                      </p:to>
                                    </p:set>
                                    <p:animEffect transition="in" filter="wipe(left)">
                                      <p:cBhvr>
                                        <p:cTn id="31" dur="250"/>
                                        <p:tgtEl>
                                          <p:spTgt spid="68"/>
                                        </p:tgtEl>
                                      </p:cBhvr>
                                    </p:animEffect>
                                  </p:childTnLst>
                                </p:cTn>
                              </p:par>
                            </p:childTnLst>
                          </p:cTn>
                        </p:par>
                        <p:par>
                          <p:cTn id="32" fill="hold">
                            <p:stCondLst>
                              <p:cond delay="1750"/>
                            </p:stCondLst>
                            <p:childTnLst>
                              <p:par>
                                <p:cTn id="33" presetID="22" presetClass="entr" presetSubtype="8" fill="hold" nodeType="afterEffect">
                                  <p:stCondLst>
                                    <p:cond delay="0"/>
                                  </p:stCondLst>
                                  <p:childTnLst>
                                    <p:set>
                                      <p:cBhvr>
                                        <p:cTn id="34" dur="1" fill="hold">
                                          <p:stCondLst>
                                            <p:cond delay="0"/>
                                          </p:stCondLst>
                                        </p:cTn>
                                        <p:tgtEl>
                                          <p:spTgt spid="69"/>
                                        </p:tgtEl>
                                        <p:attrNameLst>
                                          <p:attrName>style.visibility</p:attrName>
                                        </p:attrNameLst>
                                      </p:cBhvr>
                                      <p:to>
                                        <p:strVal val="visible"/>
                                      </p:to>
                                    </p:set>
                                    <p:animEffect transition="in" filter="wipe(left)">
                                      <p:cBhvr>
                                        <p:cTn id="35" dur="250"/>
                                        <p:tgtEl>
                                          <p:spTgt spid="69"/>
                                        </p:tgtEl>
                                      </p:cBhvr>
                                    </p:animEffect>
                                  </p:childTnLst>
                                </p:cTn>
                              </p:par>
                            </p:childTnLst>
                          </p:cTn>
                        </p:par>
                        <p:par>
                          <p:cTn id="36" fill="hold">
                            <p:stCondLst>
                              <p:cond delay="2000"/>
                            </p:stCondLst>
                            <p:childTnLst>
                              <p:par>
                                <p:cTn id="37" presetID="22" presetClass="entr" presetSubtype="8" fill="hold" nodeType="afterEffect">
                                  <p:stCondLst>
                                    <p:cond delay="0"/>
                                  </p:stCondLst>
                                  <p:childTnLst>
                                    <p:set>
                                      <p:cBhvr>
                                        <p:cTn id="38" dur="1" fill="hold">
                                          <p:stCondLst>
                                            <p:cond delay="0"/>
                                          </p:stCondLst>
                                        </p:cTn>
                                        <p:tgtEl>
                                          <p:spTgt spid="70"/>
                                        </p:tgtEl>
                                        <p:attrNameLst>
                                          <p:attrName>style.visibility</p:attrName>
                                        </p:attrNameLst>
                                      </p:cBhvr>
                                      <p:to>
                                        <p:strVal val="visible"/>
                                      </p:to>
                                    </p:set>
                                    <p:animEffect transition="in" filter="wipe(left)">
                                      <p:cBhvr>
                                        <p:cTn id="39" dur="250"/>
                                        <p:tgtEl>
                                          <p:spTgt spid="70"/>
                                        </p:tgtEl>
                                      </p:cBhvr>
                                    </p:animEffect>
                                  </p:childTnLst>
                                </p:cTn>
                              </p:par>
                            </p:childTnLst>
                          </p:cTn>
                        </p:par>
                        <p:par>
                          <p:cTn id="40" fill="hold">
                            <p:stCondLst>
                              <p:cond delay="2250"/>
                            </p:stCondLst>
                            <p:childTnLst>
                              <p:par>
                                <p:cTn id="41" presetID="22" presetClass="entr" presetSubtype="8" fill="hold" nodeType="afterEffect">
                                  <p:stCondLst>
                                    <p:cond delay="0"/>
                                  </p:stCondLst>
                                  <p:childTnLst>
                                    <p:set>
                                      <p:cBhvr>
                                        <p:cTn id="42" dur="1" fill="hold">
                                          <p:stCondLst>
                                            <p:cond delay="0"/>
                                          </p:stCondLst>
                                        </p:cTn>
                                        <p:tgtEl>
                                          <p:spTgt spid="109"/>
                                        </p:tgtEl>
                                        <p:attrNameLst>
                                          <p:attrName>style.visibility</p:attrName>
                                        </p:attrNameLst>
                                      </p:cBhvr>
                                      <p:to>
                                        <p:strVal val="visible"/>
                                      </p:to>
                                    </p:set>
                                    <p:animEffect transition="in" filter="wipe(left)">
                                      <p:cBhvr>
                                        <p:cTn id="43" dur="250"/>
                                        <p:tgtEl>
                                          <p:spTgt spid="109"/>
                                        </p:tgtEl>
                                      </p:cBhvr>
                                    </p:animEffect>
                                  </p:childTnLst>
                                </p:cTn>
                              </p:par>
                            </p:childTnLst>
                          </p:cTn>
                        </p:par>
                        <p:par>
                          <p:cTn id="44" fill="hold">
                            <p:stCondLst>
                              <p:cond delay="2500"/>
                            </p:stCondLst>
                            <p:childTnLst>
                              <p:par>
                                <p:cTn id="45" presetID="22" presetClass="entr" presetSubtype="8" fill="hold" nodeType="afterEffect">
                                  <p:stCondLst>
                                    <p:cond delay="0"/>
                                  </p:stCondLst>
                                  <p:childTnLst>
                                    <p:set>
                                      <p:cBhvr>
                                        <p:cTn id="46" dur="1" fill="hold">
                                          <p:stCondLst>
                                            <p:cond delay="0"/>
                                          </p:stCondLst>
                                        </p:cTn>
                                        <p:tgtEl>
                                          <p:spTgt spid="71"/>
                                        </p:tgtEl>
                                        <p:attrNameLst>
                                          <p:attrName>style.visibility</p:attrName>
                                        </p:attrNameLst>
                                      </p:cBhvr>
                                      <p:to>
                                        <p:strVal val="visible"/>
                                      </p:to>
                                    </p:set>
                                    <p:animEffect transition="in" filter="wipe(left)">
                                      <p:cBhvr>
                                        <p:cTn id="47" dur="250"/>
                                        <p:tgtEl>
                                          <p:spTgt spid="71"/>
                                        </p:tgtEl>
                                      </p:cBhvr>
                                    </p:animEffect>
                                  </p:childTnLst>
                                </p:cTn>
                              </p:par>
                              <p:par>
                                <p:cTn id="48" presetID="10" presetClass="entr" presetSubtype="0" fill="hold" nodeType="withEffect">
                                  <p:stCondLst>
                                    <p:cond delay="0"/>
                                  </p:stCondLst>
                                  <p:childTnLst>
                                    <p:set>
                                      <p:cBhvr>
                                        <p:cTn id="49" dur="1" fill="hold">
                                          <p:stCondLst>
                                            <p:cond delay="0"/>
                                          </p:stCondLst>
                                        </p:cTn>
                                        <p:tgtEl>
                                          <p:spTgt spid="72"/>
                                        </p:tgtEl>
                                        <p:attrNameLst>
                                          <p:attrName>style.visibility</p:attrName>
                                        </p:attrNameLst>
                                      </p:cBhvr>
                                      <p:to>
                                        <p:strVal val="visible"/>
                                      </p:to>
                                    </p:set>
                                    <p:animEffect transition="in" filter="fade">
                                      <p:cBhvr>
                                        <p:cTn id="50" dur="500"/>
                                        <p:tgtEl>
                                          <p:spTgt spid="72"/>
                                        </p:tgtEl>
                                      </p:cBhvr>
                                    </p:animEffect>
                                  </p:childTnLst>
                                </p:cTn>
                              </p:par>
                              <p:par>
                                <p:cTn id="51" presetID="10" presetClass="entr" presetSubtype="0" fill="hold" nodeType="withEffect">
                                  <p:stCondLst>
                                    <p:cond delay="0"/>
                                  </p:stCondLst>
                                  <p:childTnLst>
                                    <p:set>
                                      <p:cBhvr>
                                        <p:cTn id="52" dur="1" fill="hold">
                                          <p:stCondLst>
                                            <p:cond delay="0"/>
                                          </p:stCondLst>
                                        </p:cTn>
                                        <p:tgtEl>
                                          <p:spTgt spid="84"/>
                                        </p:tgtEl>
                                        <p:attrNameLst>
                                          <p:attrName>style.visibility</p:attrName>
                                        </p:attrNameLst>
                                      </p:cBhvr>
                                      <p:to>
                                        <p:strVal val="visible"/>
                                      </p:to>
                                    </p:set>
                                    <p:animEffect transition="in" filter="fade">
                                      <p:cBhvr>
                                        <p:cTn id="53" dur="500"/>
                                        <p:tgtEl>
                                          <p:spTgt spid="84"/>
                                        </p:tgtEl>
                                      </p:cBhvr>
                                    </p:animEffect>
                                  </p:childTnLst>
                                </p:cTn>
                              </p:par>
                              <p:par>
                                <p:cTn id="54" presetID="10" presetClass="entr" presetSubtype="0" fill="hold"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nodeType="withEffect">
                                  <p:stCondLst>
                                    <p:cond delay="0"/>
                                  </p:stCondLst>
                                  <p:childTnLst>
                                    <p:set>
                                      <p:cBhvr>
                                        <p:cTn id="58" dur="1" fill="hold">
                                          <p:stCondLst>
                                            <p:cond delay="0"/>
                                          </p:stCondLst>
                                        </p:cTn>
                                        <p:tgtEl>
                                          <p:spTgt spid="94"/>
                                        </p:tgtEl>
                                        <p:attrNameLst>
                                          <p:attrName>style.visibility</p:attrName>
                                        </p:attrNameLst>
                                      </p:cBhvr>
                                      <p:to>
                                        <p:strVal val="visible"/>
                                      </p:to>
                                    </p:set>
                                    <p:animEffect transition="in" filter="fade">
                                      <p:cBhvr>
                                        <p:cTn id="59" dur="500"/>
                                        <p:tgtEl>
                                          <p:spTgt spid="94"/>
                                        </p:tgtEl>
                                      </p:cBhvr>
                                    </p:animEffect>
                                  </p:childTnLst>
                                </p:cTn>
                              </p:par>
                              <p:par>
                                <p:cTn id="60" presetID="10" presetClass="entr" presetSubtype="0" fill="hold" nodeType="withEffect">
                                  <p:stCondLst>
                                    <p:cond delay="0"/>
                                  </p:stCondLst>
                                  <p:childTnLst>
                                    <p:set>
                                      <p:cBhvr>
                                        <p:cTn id="61" dur="1" fill="hold">
                                          <p:stCondLst>
                                            <p:cond delay="0"/>
                                          </p:stCondLst>
                                        </p:cTn>
                                        <p:tgtEl>
                                          <p:spTgt spid="99"/>
                                        </p:tgtEl>
                                        <p:attrNameLst>
                                          <p:attrName>style.visibility</p:attrName>
                                        </p:attrNameLst>
                                      </p:cBhvr>
                                      <p:to>
                                        <p:strVal val="visible"/>
                                      </p:to>
                                    </p:set>
                                    <p:animEffect transition="in" filter="fade">
                                      <p:cBhvr>
                                        <p:cTn id="62" dur="500"/>
                                        <p:tgtEl>
                                          <p:spTgt spid="99"/>
                                        </p:tgtEl>
                                      </p:cBhvr>
                                    </p:animEffect>
                                  </p:childTnLst>
                                </p:cTn>
                              </p:par>
                              <p:par>
                                <p:cTn id="63" presetID="10" presetClass="entr" presetSubtype="0" fill="hold" nodeType="withEffect">
                                  <p:stCondLst>
                                    <p:cond delay="0"/>
                                  </p:stCondLst>
                                  <p:childTnLst>
                                    <p:set>
                                      <p:cBhvr>
                                        <p:cTn id="64" dur="1" fill="hold">
                                          <p:stCondLst>
                                            <p:cond delay="0"/>
                                          </p:stCondLst>
                                        </p:cTn>
                                        <p:tgtEl>
                                          <p:spTgt spid="104"/>
                                        </p:tgtEl>
                                        <p:attrNameLst>
                                          <p:attrName>style.visibility</p:attrName>
                                        </p:attrNameLst>
                                      </p:cBhvr>
                                      <p:to>
                                        <p:strVal val="visible"/>
                                      </p:to>
                                    </p:set>
                                    <p:animEffect transition="in" filter="fade">
                                      <p:cBhvr>
                                        <p:cTn id="65" dur="500"/>
                                        <p:tgtEl>
                                          <p:spTgt spid="104"/>
                                        </p:tgtEl>
                                      </p:cBhvr>
                                    </p:animEffect>
                                  </p:childTnLst>
                                </p:cTn>
                              </p:par>
                            </p:childTnLst>
                          </p:cTn>
                        </p:par>
                        <p:par>
                          <p:cTn id="66" fill="hold">
                            <p:stCondLst>
                              <p:cond delay="3000"/>
                            </p:stCondLst>
                            <p:childTnLst>
                              <p:par>
                                <p:cTn id="67" presetID="10" presetClass="entr" presetSubtype="0" fill="hold" grpId="0" nodeType="afterEffect">
                                  <p:stCondLst>
                                    <p:cond delay="0"/>
                                  </p:stCondLst>
                                  <p:childTnLst>
                                    <p:set>
                                      <p:cBhvr>
                                        <p:cTn id="68" dur="1" fill="hold">
                                          <p:stCondLst>
                                            <p:cond delay="0"/>
                                          </p:stCondLst>
                                        </p:cTn>
                                        <p:tgtEl>
                                          <p:spTgt spid="120"/>
                                        </p:tgtEl>
                                        <p:attrNameLst>
                                          <p:attrName>style.visibility</p:attrName>
                                        </p:attrNameLst>
                                      </p:cBhvr>
                                      <p:to>
                                        <p:strVal val="visible"/>
                                      </p:to>
                                    </p:set>
                                    <p:animEffect transition="in" filter="fade">
                                      <p:cBhvr>
                                        <p:cTn id="69" dur="500"/>
                                        <p:tgtEl>
                                          <p:spTgt spid="1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0"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bwMode="auto">
          <a:xfrm>
            <a:off x="5984720" y="1183515"/>
            <a:ext cx="5960145" cy="5382971"/>
          </a:xfrm>
          <a:prstGeom prst="rect">
            <a:avLst/>
          </a:prstGeom>
          <a:solidFill>
            <a:srgbClr val="94CDE8"/>
          </a:solidFill>
          <a:ln w="9525" cap="flat" cmpd="sng" algn="ctr">
            <a:noFill/>
            <a:prstDash val="solid"/>
            <a:headEnd type="none" w="med" len="med"/>
            <a:tailEnd type="none" w="med" len="med"/>
          </a:ln>
          <a:effectLst/>
        </p:spPr>
        <p:txBody>
          <a:bodyPr rot="0" spcFirstLastPara="0" vertOverflow="overflow" horzOverflow="overflow" vert="horz" wrap="square" lIns="175711" tIns="140568" rIns="175711" bIns="140568" numCol="1" spcCol="0" rtlCol="0" fromWordArt="0" anchor="t" anchorCtr="0" forceAA="0" compatLnSpc="1">
            <a:prstTxWarp prst="textNoShape">
              <a:avLst/>
            </a:prstTxWarp>
            <a:noAutofit/>
          </a:bodyPr>
          <a:lstStyle/>
          <a:p>
            <a:pPr algn="ctr" defTabSz="895750" fontAlgn="base">
              <a:lnSpc>
                <a:spcPct val="90000"/>
              </a:lnSpc>
              <a:spcBef>
                <a:spcPct val="0"/>
              </a:spcBef>
              <a:spcAft>
                <a:spcPct val="0"/>
              </a:spcAft>
              <a:defRPr/>
            </a:pPr>
            <a:endParaRPr lang="en-US" sz="2307" kern="0"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2" name="Group 91"/>
          <p:cNvGrpSpPr/>
          <p:nvPr/>
        </p:nvGrpSpPr>
        <p:grpSpPr>
          <a:xfrm>
            <a:off x="4010733" y="4516289"/>
            <a:ext cx="7934132" cy="2049988"/>
            <a:chOff x="6389688" y="-5153025"/>
            <a:chExt cx="10128251" cy="2471737"/>
          </a:xfrm>
        </p:grpSpPr>
        <p:sp>
          <p:nvSpPr>
            <p:cNvPr id="14" name="Freeform 6"/>
            <p:cNvSpPr>
              <a:spLocks/>
            </p:cNvSpPr>
            <p:nvPr/>
          </p:nvSpPr>
          <p:spPr bwMode="auto">
            <a:xfrm>
              <a:off x="10826751" y="-4057650"/>
              <a:ext cx="3941763" cy="1376362"/>
            </a:xfrm>
            <a:custGeom>
              <a:avLst/>
              <a:gdLst>
                <a:gd name="T0" fmla="*/ 1242 w 2483"/>
                <a:gd name="T1" fmla="*/ 0 h 867"/>
                <a:gd name="T2" fmla="*/ 0 w 2483"/>
                <a:gd name="T3" fmla="*/ 867 h 867"/>
                <a:gd name="T4" fmla="*/ 2483 w 2483"/>
                <a:gd name="T5" fmla="*/ 867 h 867"/>
                <a:gd name="T6" fmla="*/ 1242 w 2483"/>
                <a:gd name="T7" fmla="*/ 0 h 867"/>
              </a:gdLst>
              <a:ahLst/>
              <a:cxnLst>
                <a:cxn ang="0">
                  <a:pos x="T0" y="T1"/>
                </a:cxn>
                <a:cxn ang="0">
                  <a:pos x="T2" y="T3"/>
                </a:cxn>
                <a:cxn ang="0">
                  <a:pos x="T4" y="T5"/>
                </a:cxn>
                <a:cxn ang="0">
                  <a:pos x="T6" y="T7"/>
                </a:cxn>
              </a:cxnLst>
              <a:rect l="0" t="0" r="r" b="b"/>
              <a:pathLst>
                <a:path w="2483" h="867">
                  <a:moveTo>
                    <a:pt x="1242" y="0"/>
                  </a:moveTo>
                  <a:lnTo>
                    <a:pt x="0" y="867"/>
                  </a:lnTo>
                  <a:lnTo>
                    <a:pt x="2483" y="867"/>
                  </a:lnTo>
                  <a:lnTo>
                    <a:pt x="1242" y="0"/>
                  </a:lnTo>
                  <a:close/>
                </a:path>
              </a:pathLst>
            </a:custGeom>
            <a:solidFill>
              <a:srgbClr val="2B87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7" name="Freeform 7"/>
            <p:cNvSpPr>
              <a:spLocks/>
            </p:cNvSpPr>
            <p:nvPr/>
          </p:nvSpPr>
          <p:spPr bwMode="auto">
            <a:xfrm>
              <a:off x="10826751" y="-4057650"/>
              <a:ext cx="3941763" cy="1376362"/>
            </a:xfrm>
            <a:custGeom>
              <a:avLst/>
              <a:gdLst>
                <a:gd name="T0" fmla="*/ 1242 w 2483"/>
                <a:gd name="T1" fmla="*/ 0 h 867"/>
                <a:gd name="T2" fmla="*/ 0 w 2483"/>
                <a:gd name="T3" fmla="*/ 867 h 867"/>
                <a:gd name="T4" fmla="*/ 2483 w 2483"/>
                <a:gd name="T5" fmla="*/ 867 h 867"/>
                <a:gd name="T6" fmla="*/ 1242 w 2483"/>
                <a:gd name="T7" fmla="*/ 0 h 867"/>
              </a:gdLst>
              <a:ahLst/>
              <a:cxnLst>
                <a:cxn ang="0">
                  <a:pos x="T0" y="T1"/>
                </a:cxn>
                <a:cxn ang="0">
                  <a:pos x="T2" y="T3"/>
                </a:cxn>
                <a:cxn ang="0">
                  <a:pos x="T4" y="T5"/>
                </a:cxn>
                <a:cxn ang="0">
                  <a:pos x="T6" y="T7"/>
                </a:cxn>
              </a:cxnLst>
              <a:rect l="0" t="0" r="r" b="b"/>
              <a:pathLst>
                <a:path w="2483" h="867">
                  <a:moveTo>
                    <a:pt x="1242" y="0"/>
                  </a:moveTo>
                  <a:lnTo>
                    <a:pt x="0" y="867"/>
                  </a:lnTo>
                  <a:lnTo>
                    <a:pt x="2483" y="867"/>
                  </a:lnTo>
                  <a:lnTo>
                    <a:pt x="1242"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8" name="Freeform 8"/>
            <p:cNvSpPr>
              <a:spLocks/>
            </p:cNvSpPr>
            <p:nvPr/>
          </p:nvSpPr>
          <p:spPr bwMode="auto">
            <a:xfrm>
              <a:off x="12700001" y="-3489325"/>
              <a:ext cx="1022350" cy="688975"/>
            </a:xfrm>
            <a:custGeom>
              <a:avLst/>
              <a:gdLst>
                <a:gd name="T0" fmla="*/ 575 w 644"/>
                <a:gd name="T1" fmla="*/ 0 h 434"/>
                <a:gd name="T2" fmla="*/ 0 w 644"/>
                <a:gd name="T3" fmla="*/ 372 h 434"/>
                <a:gd name="T4" fmla="*/ 104 w 644"/>
                <a:gd name="T5" fmla="*/ 434 h 434"/>
                <a:gd name="T6" fmla="*/ 644 w 644"/>
                <a:gd name="T7" fmla="*/ 50 h 434"/>
                <a:gd name="T8" fmla="*/ 575 w 644"/>
                <a:gd name="T9" fmla="*/ 0 h 434"/>
              </a:gdLst>
              <a:ahLst/>
              <a:cxnLst>
                <a:cxn ang="0">
                  <a:pos x="T0" y="T1"/>
                </a:cxn>
                <a:cxn ang="0">
                  <a:pos x="T2" y="T3"/>
                </a:cxn>
                <a:cxn ang="0">
                  <a:pos x="T4" y="T5"/>
                </a:cxn>
                <a:cxn ang="0">
                  <a:pos x="T6" y="T7"/>
                </a:cxn>
                <a:cxn ang="0">
                  <a:pos x="T8" y="T9"/>
                </a:cxn>
              </a:cxnLst>
              <a:rect l="0" t="0" r="r" b="b"/>
              <a:pathLst>
                <a:path w="644" h="434">
                  <a:moveTo>
                    <a:pt x="575" y="0"/>
                  </a:moveTo>
                  <a:lnTo>
                    <a:pt x="0" y="372"/>
                  </a:lnTo>
                  <a:lnTo>
                    <a:pt x="104" y="434"/>
                  </a:lnTo>
                  <a:lnTo>
                    <a:pt x="644" y="50"/>
                  </a:lnTo>
                  <a:lnTo>
                    <a:pt x="575" y="0"/>
                  </a:lnTo>
                  <a:close/>
                </a:path>
              </a:pathLst>
            </a:custGeom>
            <a:solidFill>
              <a:srgbClr val="2779A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9" name="Freeform 9"/>
            <p:cNvSpPr>
              <a:spLocks/>
            </p:cNvSpPr>
            <p:nvPr/>
          </p:nvSpPr>
          <p:spPr bwMode="auto">
            <a:xfrm>
              <a:off x="12700001" y="-3489325"/>
              <a:ext cx="1022350" cy="688975"/>
            </a:xfrm>
            <a:custGeom>
              <a:avLst/>
              <a:gdLst>
                <a:gd name="T0" fmla="*/ 575 w 644"/>
                <a:gd name="T1" fmla="*/ 0 h 434"/>
                <a:gd name="T2" fmla="*/ 0 w 644"/>
                <a:gd name="T3" fmla="*/ 372 h 434"/>
                <a:gd name="T4" fmla="*/ 104 w 644"/>
                <a:gd name="T5" fmla="*/ 434 h 434"/>
                <a:gd name="T6" fmla="*/ 644 w 644"/>
                <a:gd name="T7" fmla="*/ 50 h 434"/>
                <a:gd name="T8" fmla="*/ 575 w 644"/>
                <a:gd name="T9" fmla="*/ 0 h 434"/>
              </a:gdLst>
              <a:ahLst/>
              <a:cxnLst>
                <a:cxn ang="0">
                  <a:pos x="T0" y="T1"/>
                </a:cxn>
                <a:cxn ang="0">
                  <a:pos x="T2" y="T3"/>
                </a:cxn>
                <a:cxn ang="0">
                  <a:pos x="T4" y="T5"/>
                </a:cxn>
                <a:cxn ang="0">
                  <a:pos x="T6" y="T7"/>
                </a:cxn>
                <a:cxn ang="0">
                  <a:pos x="T8" y="T9"/>
                </a:cxn>
              </a:cxnLst>
              <a:rect l="0" t="0" r="r" b="b"/>
              <a:pathLst>
                <a:path w="644" h="434">
                  <a:moveTo>
                    <a:pt x="575" y="0"/>
                  </a:moveTo>
                  <a:lnTo>
                    <a:pt x="0" y="372"/>
                  </a:lnTo>
                  <a:lnTo>
                    <a:pt x="104" y="434"/>
                  </a:lnTo>
                  <a:lnTo>
                    <a:pt x="644" y="50"/>
                  </a:lnTo>
                  <a:lnTo>
                    <a:pt x="575"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0" name="Freeform 10"/>
            <p:cNvSpPr>
              <a:spLocks/>
            </p:cNvSpPr>
            <p:nvPr/>
          </p:nvSpPr>
          <p:spPr bwMode="auto">
            <a:xfrm>
              <a:off x="8154988" y="-4144963"/>
              <a:ext cx="4913313" cy="1463675"/>
            </a:xfrm>
            <a:custGeom>
              <a:avLst/>
              <a:gdLst>
                <a:gd name="T0" fmla="*/ 1549 w 3095"/>
                <a:gd name="T1" fmla="*/ 0 h 922"/>
                <a:gd name="T2" fmla="*/ 0 w 3095"/>
                <a:gd name="T3" fmla="*/ 922 h 922"/>
                <a:gd name="T4" fmla="*/ 3095 w 3095"/>
                <a:gd name="T5" fmla="*/ 922 h 922"/>
                <a:gd name="T6" fmla="*/ 1549 w 3095"/>
                <a:gd name="T7" fmla="*/ 0 h 922"/>
              </a:gdLst>
              <a:ahLst/>
              <a:cxnLst>
                <a:cxn ang="0">
                  <a:pos x="T0" y="T1"/>
                </a:cxn>
                <a:cxn ang="0">
                  <a:pos x="T2" y="T3"/>
                </a:cxn>
                <a:cxn ang="0">
                  <a:pos x="T4" y="T5"/>
                </a:cxn>
                <a:cxn ang="0">
                  <a:pos x="T6" y="T7"/>
                </a:cxn>
              </a:cxnLst>
              <a:rect l="0" t="0" r="r" b="b"/>
              <a:pathLst>
                <a:path w="3095" h="922">
                  <a:moveTo>
                    <a:pt x="1549" y="0"/>
                  </a:moveTo>
                  <a:lnTo>
                    <a:pt x="0" y="922"/>
                  </a:lnTo>
                  <a:lnTo>
                    <a:pt x="3095" y="922"/>
                  </a:lnTo>
                  <a:lnTo>
                    <a:pt x="1549" y="0"/>
                  </a:lnTo>
                  <a:close/>
                </a:path>
              </a:pathLst>
            </a:custGeom>
            <a:solidFill>
              <a:srgbClr val="2B87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1" name="Freeform 11"/>
            <p:cNvSpPr>
              <a:spLocks/>
            </p:cNvSpPr>
            <p:nvPr/>
          </p:nvSpPr>
          <p:spPr bwMode="auto">
            <a:xfrm>
              <a:off x="8154988" y="-4144963"/>
              <a:ext cx="4913313" cy="1463675"/>
            </a:xfrm>
            <a:custGeom>
              <a:avLst/>
              <a:gdLst>
                <a:gd name="T0" fmla="*/ 1549 w 3095"/>
                <a:gd name="T1" fmla="*/ 0 h 922"/>
                <a:gd name="T2" fmla="*/ 0 w 3095"/>
                <a:gd name="T3" fmla="*/ 922 h 922"/>
                <a:gd name="T4" fmla="*/ 3095 w 3095"/>
                <a:gd name="T5" fmla="*/ 922 h 922"/>
                <a:gd name="T6" fmla="*/ 1549 w 3095"/>
                <a:gd name="T7" fmla="*/ 0 h 922"/>
              </a:gdLst>
              <a:ahLst/>
              <a:cxnLst>
                <a:cxn ang="0">
                  <a:pos x="T0" y="T1"/>
                </a:cxn>
                <a:cxn ang="0">
                  <a:pos x="T2" y="T3"/>
                </a:cxn>
                <a:cxn ang="0">
                  <a:pos x="T4" y="T5"/>
                </a:cxn>
                <a:cxn ang="0">
                  <a:pos x="T6" y="T7"/>
                </a:cxn>
              </a:cxnLst>
              <a:rect l="0" t="0" r="r" b="b"/>
              <a:pathLst>
                <a:path w="3095" h="922">
                  <a:moveTo>
                    <a:pt x="1549" y="0"/>
                  </a:moveTo>
                  <a:lnTo>
                    <a:pt x="0" y="922"/>
                  </a:lnTo>
                  <a:lnTo>
                    <a:pt x="3095" y="922"/>
                  </a:lnTo>
                  <a:lnTo>
                    <a:pt x="1549"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4" name="Freeform 12"/>
            <p:cNvSpPr>
              <a:spLocks/>
            </p:cNvSpPr>
            <p:nvPr/>
          </p:nvSpPr>
          <p:spPr bwMode="auto">
            <a:xfrm>
              <a:off x="7346951" y="-3944938"/>
              <a:ext cx="2808288" cy="1263650"/>
            </a:xfrm>
            <a:custGeom>
              <a:avLst/>
              <a:gdLst>
                <a:gd name="T0" fmla="*/ 601 w 1769"/>
                <a:gd name="T1" fmla="*/ 0 h 796"/>
                <a:gd name="T2" fmla="*/ 0 w 1769"/>
                <a:gd name="T3" fmla="*/ 424 h 796"/>
                <a:gd name="T4" fmla="*/ 0 w 1769"/>
                <a:gd name="T5" fmla="*/ 796 h 796"/>
                <a:gd name="T6" fmla="*/ 1769 w 1769"/>
                <a:gd name="T7" fmla="*/ 796 h 796"/>
                <a:gd name="T8" fmla="*/ 601 w 1769"/>
                <a:gd name="T9" fmla="*/ 0 h 796"/>
              </a:gdLst>
              <a:ahLst/>
              <a:cxnLst>
                <a:cxn ang="0">
                  <a:pos x="T0" y="T1"/>
                </a:cxn>
                <a:cxn ang="0">
                  <a:pos x="T2" y="T3"/>
                </a:cxn>
                <a:cxn ang="0">
                  <a:pos x="T4" y="T5"/>
                </a:cxn>
                <a:cxn ang="0">
                  <a:pos x="T6" y="T7"/>
                </a:cxn>
                <a:cxn ang="0">
                  <a:pos x="T8" y="T9"/>
                </a:cxn>
              </a:cxnLst>
              <a:rect l="0" t="0" r="r" b="b"/>
              <a:pathLst>
                <a:path w="1769" h="796">
                  <a:moveTo>
                    <a:pt x="601" y="0"/>
                  </a:moveTo>
                  <a:lnTo>
                    <a:pt x="0" y="424"/>
                  </a:lnTo>
                  <a:lnTo>
                    <a:pt x="0" y="796"/>
                  </a:lnTo>
                  <a:lnTo>
                    <a:pt x="1769" y="796"/>
                  </a:lnTo>
                  <a:lnTo>
                    <a:pt x="601" y="0"/>
                  </a:lnTo>
                  <a:close/>
                </a:path>
              </a:pathLst>
            </a:custGeom>
            <a:solidFill>
              <a:srgbClr val="2B87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5" name="Freeform 13"/>
            <p:cNvSpPr>
              <a:spLocks/>
            </p:cNvSpPr>
            <p:nvPr/>
          </p:nvSpPr>
          <p:spPr bwMode="auto">
            <a:xfrm>
              <a:off x="7346951" y="-3944938"/>
              <a:ext cx="2808288" cy="1263650"/>
            </a:xfrm>
            <a:custGeom>
              <a:avLst/>
              <a:gdLst>
                <a:gd name="T0" fmla="*/ 601 w 1769"/>
                <a:gd name="T1" fmla="*/ 0 h 796"/>
                <a:gd name="T2" fmla="*/ 0 w 1769"/>
                <a:gd name="T3" fmla="*/ 424 h 796"/>
                <a:gd name="T4" fmla="*/ 0 w 1769"/>
                <a:gd name="T5" fmla="*/ 796 h 796"/>
                <a:gd name="T6" fmla="*/ 1769 w 1769"/>
                <a:gd name="T7" fmla="*/ 796 h 796"/>
                <a:gd name="T8" fmla="*/ 601 w 1769"/>
                <a:gd name="T9" fmla="*/ 0 h 796"/>
              </a:gdLst>
              <a:ahLst/>
              <a:cxnLst>
                <a:cxn ang="0">
                  <a:pos x="T0" y="T1"/>
                </a:cxn>
                <a:cxn ang="0">
                  <a:pos x="T2" y="T3"/>
                </a:cxn>
                <a:cxn ang="0">
                  <a:pos x="T4" y="T5"/>
                </a:cxn>
                <a:cxn ang="0">
                  <a:pos x="T6" y="T7"/>
                </a:cxn>
                <a:cxn ang="0">
                  <a:pos x="T8" y="T9"/>
                </a:cxn>
              </a:cxnLst>
              <a:rect l="0" t="0" r="r" b="b"/>
              <a:pathLst>
                <a:path w="1769" h="796">
                  <a:moveTo>
                    <a:pt x="601" y="0"/>
                  </a:moveTo>
                  <a:lnTo>
                    <a:pt x="0" y="424"/>
                  </a:lnTo>
                  <a:lnTo>
                    <a:pt x="0" y="796"/>
                  </a:lnTo>
                  <a:lnTo>
                    <a:pt x="1769" y="796"/>
                  </a:lnTo>
                  <a:lnTo>
                    <a:pt x="601"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6" name="Freeform 14"/>
            <p:cNvSpPr>
              <a:spLocks/>
            </p:cNvSpPr>
            <p:nvPr/>
          </p:nvSpPr>
          <p:spPr bwMode="auto">
            <a:xfrm>
              <a:off x="12696826" y="-3816350"/>
              <a:ext cx="3182938" cy="1135062"/>
            </a:xfrm>
            <a:custGeom>
              <a:avLst/>
              <a:gdLst>
                <a:gd name="T0" fmla="*/ 1003 w 2005"/>
                <a:gd name="T1" fmla="*/ 0 h 715"/>
                <a:gd name="T2" fmla="*/ 0 w 2005"/>
                <a:gd name="T3" fmla="*/ 715 h 715"/>
                <a:gd name="T4" fmla="*/ 2005 w 2005"/>
                <a:gd name="T5" fmla="*/ 715 h 715"/>
                <a:gd name="T6" fmla="*/ 1003 w 2005"/>
                <a:gd name="T7" fmla="*/ 0 h 715"/>
              </a:gdLst>
              <a:ahLst/>
              <a:cxnLst>
                <a:cxn ang="0">
                  <a:pos x="T0" y="T1"/>
                </a:cxn>
                <a:cxn ang="0">
                  <a:pos x="T2" y="T3"/>
                </a:cxn>
                <a:cxn ang="0">
                  <a:pos x="T4" y="T5"/>
                </a:cxn>
                <a:cxn ang="0">
                  <a:pos x="T6" y="T7"/>
                </a:cxn>
              </a:cxnLst>
              <a:rect l="0" t="0" r="r" b="b"/>
              <a:pathLst>
                <a:path w="2005" h="715">
                  <a:moveTo>
                    <a:pt x="1003" y="0"/>
                  </a:moveTo>
                  <a:lnTo>
                    <a:pt x="0" y="715"/>
                  </a:lnTo>
                  <a:lnTo>
                    <a:pt x="2005" y="715"/>
                  </a:lnTo>
                  <a:lnTo>
                    <a:pt x="1003" y="0"/>
                  </a:lnTo>
                  <a:close/>
                </a:path>
              </a:pathLst>
            </a:custGeom>
            <a:solidFill>
              <a:srgbClr val="2B87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7" name="Freeform 15"/>
            <p:cNvSpPr>
              <a:spLocks/>
            </p:cNvSpPr>
            <p:nvPr/>
          </p:nvSpPr>
          <p:spPr bwMode="auto">
            <a:xfrm>
              <a:off x="12696826" y="-3816350"/>
              <a:ext cx="3182938" cy="1135062"/>
            </a:xfrm>
            <a:custGeom>
              <a:avLst/>
              <a:gdLst>
                <a:gd name="T0" fmla="*/ 1003 w 2005"/>
                <a:gd name="T1" fmla="*/ 0 h 715"/>
                <a:gd name="T2" fmla="*/ 0 w 2005"/>
                <a:gd name="T3" fmla="*/ 715 h 715"/>
                <a:gd name="T4" fmla="*/ 2005 w 2005"/>
                <a:gd name="T5" fmla="*/ 715 h 715"/>
                <a:gd name="T6" fmla="*/ 1003 w 2005"/>
                <a:gd name="T7" fmla="*/ 0 h 715"/>
              </a:gdLst>
              <a:ahLst/>
              <a:cxnLst>
                <a:cxn ang="0">
                  <a:pos x="T0" y="T1"/>
                </a:cxn>
                <a:cxn ang="0">
                  <a:pos x="T2" y="T3"/>
                </a:cxn>
                <a:cxn ang="0">
                  <a:pos x="T4" y="T5"/>
                </a:cxn>
                <a:cxn ang="0">
                  <a:pos x="T6" y="T7"/>
                </a:cxn>
              </a:cxnLst>
              <a:rect l="0" t="0" r="r" b="b"/>
              <a:pathLst>
                <a:path w="2005" h="715">
                  <a:moveTo>
                    <a:pt x="1003" y="0"/>
                  </a:moveTo>
                  <a:lnTo>
                    <a:pt x="0" y="715"/>
                  </a:lnTo>
                  <a:lnTo>
                    <a:pt x="2005" y="715"/>
                  </a:lnTo>
                  <a:lnTo>
                    <a:pt x="1003"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8" name="Freeform 16"/>
            <p:cNvSpPr>
              <a:spLocks/>
            </p:cNvSpPr>
            <p:nvPr/>
          </p:nvSpPr>
          <p:spPr bwMode="auto">
            <a:xfrm>
              <a:off x="6389688" y="-5153025"/>
              <a:ext cx="6130925" cy="2471737"/>
            </a:xfrm>
            <a:custGeom>
              <a:avLst/>
              <a:gdLst>
                <a:gd name="T0" fmla="*/ 1502 w 3862"/>
                <a:gd name="T1" fmla="*/ 133 h 1557"/>
                <a:gd name="T2" fmla="*/ 0 w 3862"/>
                <a:gd name="T3" fmla="*/ 1557 h 1557"/>
                <a:gd name="T4" fmla="*/ 3862 w 3862"/>
                <a:gd name="T5" fmla="*/ 1557 h 1557"/>
                <a:gd name="T6" fmla="*/ 2223 w 3862"/>
                <a:gd name="T7" fmla="*/ 0 h 1557"/>
                <a:gd name="T8" fmla="*/ 1502 w 3862"/>
                <a:gd name="T9" fmla="*/ 133 h 1557"/>
              </a:gdLst>
              <a:ahLst/>
              <a:cxnLst>
                <a:cxn ang="0">
                  <a:pos x="T0" y="T1"/>
                </a:cxn>
                <a:cxn ang="0">
                  <a:pos x="T2" y="T3"/>
                </a:cxn>
                <a:cxn ang="0">
                  <a:pos x="T4" y="T5"/>
                </a:cxn>
                <a:cxn ang="0">
                  <a:pos x="T6" y="T7"/>
                </a:cxn>
                <a:cxn ang="0">
                  <a:pos x="T8" y="T9"/>
                </a:cxn>
              </a:cxnLst>
              <a:rect l="0" t="0" r="r" b="b"/>
              <a:pathLst>
                <a:path w="3862" h="1557">
                  <a:moveTo>
                    <a:pt x="1502" y="133"/>
                  </a:moveTo>
                  <a:lnTo>
                    <a:pt x="0" y="1557"/>
                  </a:lnTo>
                  <a:lnTo>
                    <a:pt x="3862" y="1557"/>
                  </a:lnTo>
                  <a:lnTo>
                    <a:pt x="2223" y="0"/>
                  </a:lnTo>
                  <a:lnTo>
                    <a:pt x="1502" y="133"/>
                  </a:lnTo>
                  <a:close/>
                </a:path>
              </a:pathLst>
            </a:custGeom>
            <a:solidFill>
              <a:srgbClr val="E6E7E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79" name="Freeform 17"/>
            <p:cNvSpPr>
              <a:spLocks/>
            </p:cNvSpPr>
            <p:nvPr/>
          </p:nvSpPr>
          <p:spPr bwMode="auto">
            <a:xfrm>
              <a:off x="6389688" y="-5153025"/>
              <a:ext cx="6130925" cy="2471737"/>
            </a:xfrm>
            <a:custGeom>
              <a:avLst/>
              <a:gdLst>
                <a:gd name="T0" fmla="*/ 1502 w 3862"/>
                <a:gd name="T1" fmla="*/ 133 h 1557"/>
                <a:gd name="T2" fmla="*/ 0 w 3862"/>
                <a:gd name="T3" fmla="*/ 1557 h 1557"/>
                <a:gd name="T4" fmla="*/ 3862 w 3862"/>
                <a:gd name="T5" fmla="*/ 1557 h 1557"/>
                <a:gd name="T6" fmla="*/ 2223 w 3862"/>
                <a:gd name="T7" fmla="*/ 0 h 1557"/>
                <a:gd name="T8" fmla="*/ 1502 w 3862"/>
                <a:gd name="T9" fmla="*/ 133 h 1557"/>
              </a:gdLst>
              <a:ahLst/>
              <a:cxnLst>
                <a:cxn ang="0">
                  <a:pos x="T0" y="T1"/>
                </a:cxn>
                <a:cxn ang="0">
                  <a:pos x="T2" y="T3"/>
                </a:cxn>
                <a:cxn ang="0">
                  <a:pos x="T4" y="T5"/>
                </a:cxn>
                <a:cxn ang="0">
                  <a:pos x="T6" y="T7"/>
                </a:cxn>
                <a:cxn ang="0">
                  <a:pos x="T8" y="T9"/>
                </a:cxn>
              </a:cxnLst>
              <a:rect l="0" t="0" r="r" b="b"/>
              <a:pathLst>
                <a:path w="3862" h="1557">
                  <a:moveTo>
                    <a:pt x="1502" y="133"/>
                  </a:moveTo>
                  <a:lnTo>
                    <a:pt x="0" y="1557"/>
                  </a:lnTo>
                  <a:lnTo>
                    <a:pt x="3862" y="1557"/>
                  </a:lnTo>
                  <a:lnTo>
                    <a:pt x="2223" y="0"/>
                  </a:lnTo>
                  <a:lnTo>
                    <a:pt x="1502" y="133"/>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0" name="Freeform 18"/>
            <p:cNvSpPr>
              <a:spLocks/>
            </p:cNvSpPr>
            <p:nvPr/>
          </p:nvSpPr>
          <p:spPr bwMode="auto">
            <a:xfrm>
              <a:off x="7877176" y="-5153025"/>
              <a:ext cx="3141663" cy="1287462"/>
            </a:xfrm>
            <a:custGeom>
              <a:avLst/>
              <a:gdLst>
                <a:gd name="T0" fmla="*/ 0 w 1979"/>
                <a:gd name="T1" fmla="*/ 669 h 811"/>
                <a:gd name="T2" fmla="*/ 413 w 1979"/>
                <a:gd name="T3" fmla="*/ 531 h 811"/>
                <a:gd name="T4" fmla="*/ 666 w 1979"/>
                <a:gd name="T5" fmla="*/ 707 h 811"/>
                <a:gd name="T6" fmla="*/ 841 w 1979"/>
                <a:gd name="T7" fmla="*/ 507 h 811"/>
                <a:gd name="T8" fmla="*/ 1286 w 1979"/>
                <a:gd name="T9" fmla="*/ 811 h 811"/>
                <a:gd name="T10" fmla="*/ 1525 w 1979"/>
                <a:gd name="T11" fmla="*/ 593 h 811"/>
                <a:gd name="T12" fmla="*/ 1979 w 1979"/>
                <a:gd name="T13" fmla="*/ 659 h 811"/>
                <a:gd name="T14" fmla="*/ 1286 w 1979"/>
                <a:gd name="T15" fmla="*/ 0 h 811"/>
                <a:gd name="T16" fmla="*/ 565 w 1979"/>
                <a:gd name="T17" fmla="*/ 133 h 811"/>
                <a:gd name="T18" fmla="*/ 0 w 1979"/>
                <a:gd name="T19" fmla="*/ 669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9" h="811">
                  <a:moveTo>
                    <a:pt x="0" y="669"/>
                  </a:moveTo>
                  <a:lnTo>
                    <a:pt x="413" y="531"/>
                  </a:lnTo>
                  <a:lnTo>
                    <a:pt x="666" y="707"/>
                  </a:lnTo>
                  <a:lnTo>
                    <a:pt x="841" y="507"/>
                  </a:lnTo>
                  <a:lnTo>
                    <a:pt x="1286" y="811"/>
                  </a:lnTo>
                  <a:lnTo>
                    <a:pt x="1525" y="593"/>
                  </a:lnTo>
                  <a:lnTo>
                    <a:pt x="1979" y="659"/>
                  </a:lnTo>
                  <a:lnTo>
                    <a:pt x="1286" y="0"/>
                  </a:lnTo>
                  <a:lnTo>
                    <a:pt x="565" y="133"/>
                  </a:lnTo>
                  <a:lnTo>
                    <a:pt x="0" y="66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1" name="Freeform 19"/>
            <p:cNvSpPr>
              <a:spLocks/>
            </p:cNvSpPr>
            <p:nvPr/>
          </p:nvSpPr>
          <p:spPr bwMode="auto">
            <a:xfrm>
              <a:off x="7877176" y="-5153025"/>
              <a:ext cx="3141663" cy="1287462"/>
            </a:xfrm>
            <a:custGeom>
              <a:avLst/>
              <a:gdLst>
                <a:gd name="T0" fmla="*/ 0 w 1979"/>
                <a:gd name="T1" fmla="*/ 669 h 811"/>
                <a:gd name="T2" fmla="*/ 413 w 1979"/>
                <a:gd name="T3" fmla="*/ 531 h 811"/>
                <a:gd name="T4" fmla="*/ 666 w 1979"/>
                <a:gd name="T5" fmla="*/ 707 h 811"/>
                <a:gd name="T6" fmla="*/ 841 w 1979"/>
                <a:gd name="T7" fmla="*/ 507 h 811"/>
                <a:gd name="T8" fmla="*/ 1286 w 1979"/>
                <a:gd name="T9" fmla="*/ 811 h 811"/>
                <a:gd name="T10" fmla="*/ 1525 w 1979"/>
                <a:gd name="T11" fmla="*/ 593 h 811"/>
                <a:gd name="T12" fmla="*/ 1979 w 1979"/>
                <a:gd name="T13" fmla="*/ 659 h 811"/>
                <a:gd name="T14" fmla="*/ 1286 w 1979"/>
                <a:gd name="T15" fmla="*/ 0 h 811"/>
                <a:gd name="T16" fmla="*/ 565 w 1979"/>
                <a:gd name="T17" fmla="*/ 133 h 811"/>
                <a:gd name="T18" fmla="*/ 0 w 1979"/>
                <a:gd name="T19" fmla="*/ 669 h 8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79" h="811">
                  <a:moveTo>
                    <a:pt x="0" y="669"/>
                  </a:moveTo>
                  <a:lnTo>
                    <a:pt x="413" y="531"/>
                  </a:lnTo>
                  <a:lnTo>
                    <a:pt x="666" y="707"/>
                  </a:lnTo>
                  <a:lnTo>
                    <a:pt x="841" y="507"/>
                  </a:lnTo>
                  <a:lnTo>
                    <a:pt x="1286" y="811"/>
                  </a:lnTo>
                  <a:lnTo>
                    <a:pt x="1525" y="593"/>
                  </a:lnTo>
                  <a:lnTo>
                    <a:pt x="1979" y="659"/>
                  </a:lnTo>
                  <a:lnTo>
                    <a:pt x="1286" y="0"/>
                  </a:lnTo>
                  <a:lnTo>
                    <a:pt x="565" y="133"/>
                  </a:lnTo>
                  <a:lnTo>
                    <a:pt x="0" y="669"/>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2" name="Freeform 20"/>
            <p:cNvSpPr>
              <a:spLocks/>
            </p:cNvSpPr>
            <p:nvPr/>
          </p:nvSpPr>
          <p:spPr bwMode="auto">
            <a:xfrm>
              <a:off x="9283701" y="-4117975"/>
              <a:ext cx="3236913" cy="1436687"/>
            </a:xfrm>
            <a:custGeom>
              <a:avLst/>
              <a:gdLst>
                <a:gd name="T0" fmla="*/ 1055 w 2039"/>
                <a:gd name="T1" fmla="*/ 0 h 905"/>
                <a:gd name="T2" fmla="*/ 0 w 2039"/>
                <a:gd name="T3" fmla="*/ 905 h 905"/>
                <a:gd name="T4" fmla="*/ 2039 w 2039"/>
                <a:gd name="T5" fmla="*/ 905 h 905"/>
                <a:gd name="T6" fmla="*/ 1093 w 2039"/>
                <a:gd name="T7" fmla="*/ 7 h 905"/>
                <a:gd name="T8" fmla="*/ 1055 w 2039"/>
                <a:gd name="T9" fmla="*/ 0 h 905"/>
              </a:gdLst>
              <a:ahLst/>
              <a:cxnLst>
                <a:cxn ang="0">
                  <a:pos x="T0" y="T1"/>
                </a:cxn>
                <a:cxn ang="0">
                  <a:pos x="T2" y="T3"/>
                </a:cxn>
                <a:cxn ang="0">
                  <a:pos x="T4" y="T5"/>
                </a:cxn>
                <a:cxn ang="0">
                  <a:pos x="T6" y="T7"/>
                </a:cxn>
                <a:cxn ang="0">
                  <a:pos x="T8" y="T9"/>
                </a:cxn>
              </a:cxnLst>
              <a:rect l="0" t="0" r="r" b="b"/>
              <a:pathLst>
                <a:path w="2039" h="905">
                  <a:moveTo>
                    <a:pt x="1055" y="0"/>
                  </a:moveTo>
                  <a:lnTo>
                    <a:pt x="0" y="905"/>
                  </a:lnTo>
                  <a:lnTo>
                    <a:pt x="2039" y="905"/>
                  </a:lnTo>
                  <a:lnTo>
                    <a:pt x="1093" y="7"/>
                  </a:lnTo>
                  <a:lnTo>
                    <a:pt x="1055" y="0"/>
                  </a:lnTo>
                  <a:close/>
                </a:path>
              </a:pathLst>
            </a:custGeom>
            <a:solidFill>
              <a:srgbClr val="CFCFD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3" name="Freeform 21"/>
            <p:cNvSpPr>
              <a:spLocks/>
            </p:cNvSpPr>
            <p:nvPr/>
          </p:nvSpPr>
          <p:spPr bwMode="auto">
            <a:xfrm>
              <a:off x="9283701" y="-4117975"/>
              <a:ext cx="3236913" cy="1436687"/>
            </a:xfrm>
            <a:custGeom>
              <a:avLst/>
              <a:gdLst>
                <a:gd name="T0" fmla="*/ 1055 w 2039"/>
                <a:gd name="T1" fmla="*/ 0 h 905"/>
                <a:gd name="T2" fmla="*/ 0 w 2039"/>
                <a:gd name="T3" fmla="*/ 905 h 905"/>
                <a:gd name="T4" fmla="*/ 2039 w 2039"/>
                <a:gd name="T5" fmla="*/ 905 h 905"/>
                <a:gd name="T6" fmla="*/ 1093 w 2039"/>
                <a:gd name="T7" fmla="*/ 7 h 905"/>
                <a:gd name="T8" fmla="*/ 1055 w 2039"/>
                <a:gd name="T9" fmla="*/ 0 h 905"/>
              </a:gdLst>
              <a:ahLst/>
              <a:cxnLst>
                <a:cxn ang="0">
                  <a:pos x="T0" y="T1"/>
                </a:cxn>
                <a:cxn ang="0">
                  <a:pos x="T2" y="T3"/>
                </a:cxn>
                <a:cxn ang="0">
                  <a:pos x="T4" y="T5"/>
                </a:cxn>
                <a:cxn ang="0">
                  <a:pos x="T6" y="T7"/>
                </a:cxn>
                <a:cxn ang="0">
                  <a:pos x="T8" y="T9"/>
                </a:cxn>
              </a:cxnLst>
              <a:rect l="0" t="0" r="r" b="b"/>
              <a:pathLst>
                <a:path w="2039" h="905">
                  <a:moveTo>
                    <a:pt x="1055" y="0"/>
                  </a:moveTo>
                  <a:lnTo>
                    <a:pt x="0" y="905"/>
                  </a:lnTo>
                  <a:lnTo>
                    <a:pt x="2039" y="905"/>
                  </a:lnTo>
                  <a:lnTo>
                    <a:pt x="1093" y="7"/>
                  </a:lnTo>
                  <a:lnTo>
                    <a:pt x="1055"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4" name="Freeform 22"/>
            <p:cNvSpPr>
              <a:spLocks/>
            </p:cNvSpPr>
            <p:nvPr/>
          </p:nvSpPr>
          <p:spPr bwMode="auto">
            <a:xfrm>
              <a:off x="10958513" y="-4140200"/>
              <a:ext cx="60325" cy="33337"/>
            </a:xfrm>
            <a:custGeom>
              <a:avLst/>
              <a:gdLst>
                <a:gd name="T0" fmla="*/ 17 w 38"/>
                <a:gd name="T1" fmla="*/ 0 h 21"/>
                <a:gd name="T2" fmla="*/ 0 w 38"/>
                <a:gd name="T3" fmla="*/ 14 h 21"/>
                <a:gd name="T4" fmla="*/ 38 w 38"/>
                <a:gd name="T5" fmla="*/ 21 h 21"/>
                <a:gd name="T6" fmla="*/ 17 w 38"/>
                <a:gd name="T7" fmla="*/ 0 h 21"/>
              </a:gdLst>
              <a:ahLst/>
              <a:cxnLst>
                <a:cxn ang="0">
                  <a:pos x="T0" y="T1"/>
                </a:cxn>
                <a:cxn ang="0">
                  <a:pos x="T2" y="T3"/>
                </a:cxn>
                <a:cxn ang="0">
                  <a:pos x="T4" y="T5"/>
                </a:cxn>
                <a:cxn ang="0">
                  <a:pos x="T6" y="T7"/>
                </a:cxn>
              </a:cxnLst>
              <a:rect l="0" t="0" r="r" b="b"/>
              <a:pathLst>
                <a:path w="38" h="21">
                  <a:moveTo>
                    <a:pt x="17" y="0"/>
                  </a:moveTo>
                  <a:lnTo>
                    <a:pt x="0" y="14"/>
                  </a:lnTo>
                  <a:lnTo>
                    <a:pt x="38" y="21"/>
                  </a:lnTo>
                  <a:lnTo>
                    <a:pt x="17" y="0"/>
                  </a:lnTo>
                  <a:close/>
                </a:path>
              </a:pathLst>
            </a:custGeom>
            <a:solidFill>
              <a:srgbClr val="E5E5E5"/>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5" name="Freeform 23"/>
            <p:cNvSpPr>
              <a:spLocks/>
            </p:cNvSpPr>
            <p:nvPr/>
          </p:nvSpPr>
          <p:spPr bwMode="auto">
            <a:xfrm>
              <a:off x="10958513" y="-4140200"/>
              <a:ext cx="60325" cy="33337"/>
            </a:xfrm>
            <a:custGeom>
              <a:avLst/>
              <a:gdLst>
                <a:gd name="T0" fmla="*/ 17 w 38"/>
                <a:gd name="T1" fmla="*/ 0 h 21"/>
                <a:gd name="T2" fmla="*/ 0 w 38"/>
                <a:gd name="T3" fmla="*/ 14 h 21"/>
                <a:gd name="T4" fmla="*/ 38 w 38"/>
                <a:gd name="T5" fmla="*/ 21 h 21"/>
                <a:gd name="T6" fmla="*/ 17 w 38"/>
                <a:gd name="T7" fmla="*/ 0 h 21"/>
              </a:gdLst>
              <a:ahLst/>
              <a:cxnLst>
                <a:cxn ang="0">
                  <a:pos x="T0" y="T1"/>
                </a:cxn>
                <a:cxn ang="0">
                  <a:pos x="T2" y="T3"/>
                </a:cxn>
                <a:cxn ang="0">
                  <a:pos x="T4" y="T5"/>
                </a:cxn>
                <a:cxn ang="0">
                  <a:pos x="T6" y="T7"/>
                </a:cxn>
              </a:cxnLst>
              <a:rect l="0" t="0" r="r" b="b"/>
              <a:pathLst>
                <a:path w="38" h="21">
                  <a:moveTo>
                    <a:pt x="17" y="0"/>
                  </a:moveTo>
                  <a:lnTo>
                    <a:pt x="0" y="14"/>
                  </a:lnTo>
                  <a:lnTo>
                    <a:pt x="38" y="21"/>
                  </a:lnTo>
                  <a:lnTo>
                    <a:pt x="17"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7" name="Freeform 25"/>
            <p:cNvSpPr>
              <a:spLocks/>
            </p:cNvSpPr>
            <p:nvPr/>
          </p:nvSpPr>
          <p:spPr bwMode="auto">
            <a:xfrm>
              <a:off x="13496926" y="-3489325"/>
              <a:ext cx="2382838" cy="808037"/>
            </a:xfrm>
            <a:custGeom>
              <a:avLst/>
              <a:gdLst>
                <a:gd name="T0" fmla="*/ 790 w 1501"/>
                <a:gd name="T1" fmla="*/ 0 h 509"/>
                <a:gd name="T2" fmla="*/ 0 w 1501"/>
                <a:gd name="T3" fmla="*/ 509 h 509"/>
                <a:gd name="T4" fmla="*/ 1501 w 1501"/>
                <a:gd name="T5" fmla="*/ 509 h 509"/>
                <a:gd name="T6" fmla="*/ 790 w 1501"/>
                <a:gd name="T7" fmla="*/ 0 h 509"/>
              </a:gdLst>
              <a:ahLst/>
              <a:cxnLst>
                <a:cxn ang="0">
                  <a:pos x="T0" y="T1"/>
                </a:cxn>
                <a:cxn ang="0">
                  <a:pos x="T2" y="T3"/>
                </a:cxn>
                <a:cxn ang="0">
                  <a:pos x="T4" y="T5"/>
                </a:cxn>
                <a:cxn ang="0">
                  <a:pos x="T6" y="T7"/>
                </a:cxn>
              </a:cxnLst>
              <a:rect l="0" t="0" r="r" b="b"/>
              <a:pathLst>
                <a:path w="1501" h="509">
                  <a:moveTo>
                    <a:pt x="790" y="0"/>
                  </a:moveTo>
                  <a:lnTo>
                    <a:pt x="0" y="509"/>
                  </a:lnTo>
                  <a:lnTo>
                    <a:pt x="1501" y="509"/>
                  </a:lnTo>
                  <a:lnTo>
                    <a:pt x="790" y="0"/>
                  </a:lnTo>
                  <a:close/>
                </a:path>
              </a:pathLst>
            </a:custGeom>
            <a:solidFill>
              <a:srgbClr val="2779A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8" name="Freeform 26"/>
            <p:cNvSpPr>
              <a:spLocks/>
            </p:cNvSpPr>
            <p:nvPr/>
          </p:nvSpPr>
          <p:spPr bwMode="auto">
            <a:xfrm>
              <a:off x="13496926" y="-3489325"/>
              <a:ext cx="2382838" cy="808037"/>
            </a:xfrm>
            <a:custGeom>
              <a:avLst/>
              <a:gdLst>
                <a:gd name="T0" fmla="*/ 790 w 1501"/>
                <a:gd name="T1" fmla="*/ 0 h 509"/>
                <a:gd name="T2" fmla="*/ 0 w 1501"/>
                <a:gd name="T3" fmla="*/ 509 h 509"/>
                <a:gd name="T4" fmla="*/ 1501 w 1501"/>
                <a:gd name="T5" fmla="*/ 509 h 509"/>
                <a:gd name="T6" fmla="*/ 790 w 1501"/>
                <a:gd name="T7" fmla="*/ 0 h 509"/>
              </a:gdLst>
              <a:ahLst/>
              <a:cxnLst>
                <a:cxn ang="0">
                  <a:pos x="T0" y="T1"/>
                </a:cxn>
                <a:cxn ang="0">
                  <a:pos x="T2" y="T3"/>
                </a:cxn>
                <a:cxn ang="0">
                  <a:pos x="T4" y="T5"/>
                </a:cxn>
                <a:cxn ang="0">
                  <a:pos x="T6" y="T7"/>
                </a:cxn>
              </a:cxnLst>
              <a:rect l="0" t="0" r="r" b="b"/>
              <a:pathLst>
                <a:path w="1501" h="509">
                  <a:moveTo>
                    <a:pt x="790" y="0"/>
                  </a:moveTo>
                  <a:lnTo>
                    <a:pt x="0" y="509"/>
                  </a:lnTo>
                  <a:lnTo>
                    <a:pt x="1501" y="509"/>
                  </a:lnTo>
                  <a:lnTo>
                    <a:pt x="790" y="0"/>
                  </a:lnTo>
                </a:path>
              </a:pathLst>
            </a:cu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89" name="Freeform 27"/>
            <p:cNvSpPr>
              <a:spLocks/>
            </p:cNvSpPr>
            <p:nvPr/>
          </p:nvSpPr>
          <p:spPr bwMode="auto">
            <a:xfrm>
              <a:off x="13744576" y="-3481388"/>
              <a:ext cx="2773363" cy="800100"/>
            </a:xfrm>
            <a:custGeom>
              <a:avLst/>
              <a:gdLst>
                <a:gd name="T0" fmla="*/ 872 w 1747"/>
                <a:gd name="T1" fmla="*/ 0 h 504"/>
                <a:gd name="T2" fmla="*/ 0 w 1747"/>
                <a:gd name="T3" fmla="*/ 504 h 504"/>
                <a:gd name="T4" fmla="*/ 1747 w 1747"/>
                <a:gd name="T5" fmla="*/ 504 h 504"/>
                <a:gd name="T6" fmla="*/ 872 w 1747"/>
                <a:gd name="T7" fmla="*/ 0 h 504"/>
              </a:gdLst>
              <a:ahLst/>
              <a:cxnLst>
                <a:cxn ang="0">
                  <a:pos x="T0" y="T1"/>
                </a:cxn>
                <a:cxn ang="0">
                  <a:pos x="T2" y="T3"/>
                </a:cxn>
                <a:cxn ang="0">
                  <a:pos x="T4" y="T5"/>
                </a:cxn>
                <a:cxn ang="0">
                  <a:pos x="T6" y="T7"/>
                </a:cxn>
              </a:cxnLst>
              <a:rect l="0" t="0" r="r" b="b"/>
              <a:pathLst>
                <a:path w="1747" h="504">
                  <a:moveTo>
                    <a:pt x="872" y="0"/>
                  </a:moveTo>
                  <a:lnTo>
                    <a:pt x="0" y="504"/>
                  </a:lnTo>
                  <a:lnTo>
                    <a:pt x="1747" y="504"/>
                  </a:lnTo>
                  <a:lnTo>
                    <a:pt x="872" y="0"/>
                  </a:lnTo>
                  <a:close/>
                </a:path>
              </a:pathLst>
            </a:custGeom>
            <a:solidFill>
              <a:srgbClr val="2B87B2"/>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0" name="Freeform 28"/>
            <p:cNvSpPr>
              <a:spLocks/>
            </p:cNvSpPr>
            <p:nvPr/>
          </p:nvSpPr>
          <p:spPr bwMode="auto">
            <a:xfrm>
              <a:off x="9652001" y="-4557713"/>
              <a:ext cx="3949700" cy="1876425"/>
            </a:xfrm>
            <a:custGeom>
              <a:avLst/>
              <a:gdLst>
                <a:gd name="T0" fmla="*/ 1244 w 2488"/>
                <a:gd name="T1" fmla="*/ 0 h 1182"/>
                <a:gd name="T2" fmla="*/ 0 w 2488"/>
                <a:gd name="T3" fmla="*/ 1182 h 1182"/>
                <a:gd name="T4" fmla="*/ 2488 w 2488"/>
                <a:gd name="T5" fmla="*/ 1182 h 1182"/>
                <a:gd name="T6" fmla="*/ 1244 w 2488"/>
                <a:gd name="T7" fmla="*/ 0 h 1182"/>
              </a:gdLst>
              <a:ahLst/>
              <a:cxnLst>
                <a:cxn ang="0">
                  <a:pos x="T0" y="T1"/>
                </a:cxn>
                <a:cxn ang="0">
                  <a:pos x="T2" y="T3"/>
                </a:cxn>
                <a:cxn ang="0">
                  <a:pos x="T4" y="T5"/>
                </a:cxn>
                <a:cxn ang="0">
                  <a:pos x="T6" y="T7"/>
                </a:cxn>
              </a:cxnLst>
              <a:rect l="0" t="0" r="r" b="b"/>
              <a:pathLst>
                <a:path w="2488" h="1182">
                  <a:moveTo>
                    <a:pt x="1244" y="0"/>
                  </a:moveTo>
                  <a:lnTo>
                    <a:pt x="0" y="1182"/>
                  </a:lnTo>
                  <a:lnTo>
                    <a:pt x="2488" y="1182"/>
                  </a:lnTo>
                  <a:lnTo>
                    <a:pt x="1244" y="0"/>
                  </a:lnTo>
                  <a:close/>
                </a:path>
              </a:pathLst>
            </a:custGeom>
            <a:solidFill>
              <a:srgbClr val="E6E7E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91" name="Freeform 29"/>
            <p:cNvSpPr>
              <a:spLocks/>
            </p:cNvSpPr>
            <p:nvPr/>
          </p:nvSpPr>
          <p:spPr bwMode="auto">
            <a:xfrm>
              <a:off x="10606088" y="-4557713"/>
              <a:ext cx="2027238" cy="1112837"/>
            </a:xfrm>
            <a:custGeom>
              <a:avLst/>
              <a:gdLst>
                <a:gd name="T0" fmla="*/ 0 w 1277"/>
                <a:gd name="T1" fmla="*/ 609 h 701"/>
                <a:gd name="T2" fmla="*/ 267 w 1277"/>
                <a:gd name="T3" fmla="*/ 521 h 701"/>
                <a:gd name="T4" fmla="*/ 430 w 1277"/>
                <a:gd name="T5" fmla="*/ 635 h 701"/>
                <a:gd name="T6" fmla="*/ 544 w 1277"/>
                <a:gd name="T7" fmla="*/ 505 h 701"/>
                <a:gd name="T8" fmla="*/ 830 w 1277"/>
                <a:gd name="T9" fmla="*/ 701 h 701"/>
                <a:gd name="T10" fmla="*/ 984 w 1277"/>
                <a:gd name="T11" fmla="*/ 561 h 701"/>
                <a:gd name="T12" fmla="*/ 1277 w 1277"/>
                <a:gd name="T13" fmla="*/ 604 h 701"/>
                <a:gd name="T14" fmla="*/ 643 w 1277"/>
                <a:gd name="T15" fmla="*/ 0 h 701"/>
                <a:gd name="T16" fmla="*/ 0 w 1277"/>
                <a:gd name="T17" fmla="*/ 609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77" h="701">
                  <a:moveTo>
                    <a:pt x="0" y="609"/>
                  </a:moveTo>
                  <a:lnTo>
                    <a:pt x="267" y="521"/>
                  </a:lnTo>
                  <a:lnTo>
                    <a:pt x="430" y="635"/>
                  </a:lnTo>
                  <a:lnTo>
                    <a:pt x="544" y="505"/>
                  </a:lnTo>
                  <a:lnTo>
                    <a:pt x="830" y="701"/>
                  </a:lnTo>
                  <a:lnTo>
                    <a:pt x="984" y="561"/>
                  </a:lnTo>
                  <a:lnTo>
                    <a:pt x="1277" y="604"/>
                  </a:lnTo>
                  <a:lnTo>
                    <a:pt x="643" y="0"/>
                  </a:lnTo>
                  <a:lnTo>
                    <a:pt x="0" y="609"/>
                  </a:ln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graphicFrame>
        <p:nvGraphicFramePr>
          <p:cNvPr id="3" name="Object 2" hidden="1"/>
          <p:cNvGraphicFramePr>
            <a:graphicFrameLocks noChangeAspect="1"/>
          </p:cNvGraphicFramePr>
          <p:nvPr>
            <p:custDataLst>
              <p:tags r:id="rId2"/>
            </p:custDataLst>
            <p:extLst/>
          </p:nvPr>
        </p:nvGraphicFramePr>
        <p:xfrm>
          <a:off x="123057" y="70365"/>
          <a:ext cx="1525" cy="1525"/>
        </p:xfrm>
        <a:graphic>
          <a:graphicData uri="http://schemas.openxmlformats.org/presentationml/2006/ole">
            <mc:AlternateContent xmlns:mc="http://schemas.openxmlformats.org/markup-compatibility/2006">
              <mc:Choice xmlns:v="urn:schemas-microsoft-com:vml" Requires="v">
                <p:oleObj spid="_x0000_s724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23057" y="70365"/>
                        <a:ext cx="1525" cy="1525"/>
                      </a:xfrm>
                      <a:prstGeom prst="rect">
                        <a:avLst/>
                      </a:prstGeom>
                    </p:spPr>
                  </p:pic>
                </p:oleObj>
              </mc:Fallback>
            </mc:AlternateContent>
          </a:graphicData>
        </a:graphic>
      </p:graphicFrame>
      <p:sp>
        <p:nvSpPr>
          <p:cNvPr id="2" name="Title 1"/>
          <p:cNvSpPr>
            <a:spLocks noGrp="1"/>
          </p:cNvSpPr>
          <p:nvPr>
            <p:ph type="title"/>
          </p:nvPr>
        </p:nvSpPr>
        <p:spPr>
          <a:xfrm>
            <a:off x="0" y="3373"/>
            <a:ext cx="10515600" cy="801075"/>
          </a:xfrm>
        </p:spPr>
        <p:txBody>
          <a:bodyPr>
            <a:normAutofit/>
          </a:bodyPr>
          <a:lstStyle/>
          <a:p>
            <a:r>
              <a:rPr lang="en-US" sz="4400" dirty="0" smtClean="0">
                <a:latin typeface="Segoe UI Light" panose="020B0502040204020203" pitchFamily="34" charset="0"/>
                <a:cs typeface="Segoe UI Light" panose="020B0502040204020203" pitchFamily="34" charset="0"/>
              </a:rPr>
              <a:t>Microsoft’s view</a:t>
            </a:r>
            <a:endParaRPr lang="en-US" sz="4400" dirty="0">
              <a:latin typeface="Segoe UI Light" panose="020B0502040204020203" pitchFamily="34" charset="0"/>
              <a:cs typeface="Segoe UI Light" panose="020B0502040204020203" pitchFamily="34" charset="0"/>
            </a:endParaRPr>
          </a:p>
        </p:txBody>
      </p:sp>
      <p:sp>
        <p:nvSpPr>
          <p:cNvPr id="167" name="Rectangle 166"/>
          <p:cNvSpPr/>
          <p:nvPr/>
        </p:nvSpPr>
        <p:spPr bwMode="auto">
          <a:xfrm>
            <a:off x="269240" y="1187939"/>
            <a:ext cx="5718017" cy="5378549"/>
          </a:xfrm>
          <a:prstGeom prst="rect">
            <a:avLst/>
          </a:prstGeom>
          <a:solidFill>
            <a:srgbClr val="0078D7"/>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5711" tIns="175711" rIns="175711" bIns="175711"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878676">
              <a:lnSpc>
                <a:spcPct val="90000"/>
              </a:lnSpc>
              <a:spcBef>
                <a:spcPts val="1730"/>
              </a:spcBef>
              <a:spcAft>
                <a:spcPts val="1176"/>
              </a:spcAft>
            </a:pPr>
            <a:endParaRPr lang="en-US" sz="1961" dirty="0">
              <a:solidFill>
                <a:prstClr val="white"/>
              </a:solidFill>
              <a:latin typeface="Segoe UI Light"/>
            </a:endParaRPr>
          </a:p>
        </p:txBody>
      </p:sp>
      <p:pic>
        <p:nvPicPr>
          <p:cNvPr id="58" name="Picture 57"/>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a:off x="10508091" y="259562"/>
            <a:ext cx="1439311" cy="332581"/>
          </a:xfrm>
          <a:prstGeom prst="rect">
            <a:avLst/>
          </a:prstGeom>
        </p:spPr>
      </p:pic>
      <p:sp>
        <p:nvSpPr>
          <p:cNvPr id="59" name="Rectangle 58"/>
          <p:cNvSpPr/>
          <p:nvPr/>
        </p:nvSpPr>
        <p:spPr bwMode="auto">
          <a:xfrm>
            <a:off x="281689" y="1192609"/>
            <a:ext cx="5718017" cy="1240365"/>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75711" tIns="175711" rIns="175711" bIns="175711" numCol="1" rtlCol="0" anchor="t" anchorCtr="0" compatLnSpc="1">
            <a:prstTxWarp prst="textNoShape">
              <a:avLst/>
            </a:prstTxWarp>
          </a:bodyPr>
          <a:lstStyle>
            <a:defPPr>
              <a:defRPr lang="en-US"/>
            </a:defPPr>
            <a:lvl1pPr marL="0" algn="l" defTabSz="932316" rtl="0" eaLnBrk="1" latinLnBrk="0" hangingPunct="1">
              <a:defRPr sz="1836" kern="1200">
                <a:solidFill>
                  <a:schemeClr val="lt1"/>
                </a:solidFill>
                <a:latin typeface="+mn-lt"/>
                <a:ea typeface="+mn-ea"/>
                <a:cs typeface="+mn-cs"/>
              </a:defRPr>
            </a:lvl1pPr>
            <a:lvl2pPr marL="466155" algn="l" defTabSz="932316" rtl="0" eaLnBrk="1" latinLnBrk="0" hangingPunct="1">
              <a:defRPr sz="1836" kern="1200">
                <a:solidFill>
                  <a:schemeClr val="lt1"/>
                </a:solidFill>
                <a:latin typeface="+mn-lt"/>
                <a:ea typeface="+mn-ea"/>
                <a:cs typeface="+mn-cs"/>
              </a:defRPr>
            </a:lvl2pPr>
            <a:lvl3pPr marL="932316" algn="l" defTabSz="932316" rtl="0" eaLnBrk="1" latinLnBrk="0" hangingPunct="1">
              <a:defRPr sz="1836" kern="1200">
                <a:solidFill>
                  <a:schemeClr val="lt1"/>
                </a:solidFill>
                <a:latin typeface="+mn-lt"/>
                <a:ea typeface="+mn-ea"/>
                <a:cs typeface="+mn-cs"/>
              </a:defRPr>
            </a:lvl3pPr>
            <a:lvl4pPr marL="1398471" algn="l" defTabSz="932316" rtl="0" eaLnBrk="1" latinLnBrk="0" hangingPunct="1">
              <a:defRPr sz="1836" kern="1200">
                <a:solidFill>
                  <a:schemeClr val="lt1"/>
                </a:solidFill>
                <a:latin typeface="+mn-lt"/>
                <a:ea typeface="+mn-ea"/>
                <a:cs typeface="+mn-cs"/>
              </a:defRPr>
            </a:lvl4pPr>
            <a:lvl5pPr marL="1864631" algn="l" defTabSz="932316" rtl="0" eaLnBrk="1" latinLnBrk="0" hangingPunct="1">
              <a:defRPr sz="1836" kern="1200">
                <a:solidFill>
                  <a:schemeClr val="lt1"/>
                </a:solidFill>
                <a:latin typeface="+mn-lt"/>
                <a:ea typeface="+mn-ea"/>
                <a:cs typeface="+mn-cs"/>
              </a:defRPr>
            </a:lvl5pPr>
            <a:lvl6pPr marL="2330787" algn="l" defTabSz="932316" rtl="0" eaLnBrk="1" latinLnBrk="0" hangingPunct="1">
              <a:defRPr sz="1836" kern="1200">
                <a:solidFill>
                  <a:schemeClr val="lt1"/>
                </a:solidFill>
                <a:latin typeface="+mn-lt"/>
                <a:ea typeface="+mn-ea"/>
                <a:cs typeface="+mn-cs"/>
              </a:defRPr>
            </a:lvl6pPr>
            <a:lvl7pPr marL="2796947" algn="l" defTabSz="932316" rtl="0" eaLnBrk="1" latinLnBrk="0" hangingPunct="1">
              <a:defRPr sz="1836" kern="1200">
                <a:solidFill>
                  <a:schemeClr val="lt1"/>
                </a:solidFill>
                <a:latin typeface="+mn-lt"/>
                <a:ea typeface="+mn-ea"/>
                <a:cs typeface="+mn-cs"/>
              </a:defRPr>
            </a:lvl7pPr>
            <a:lvl8pPr marL="3263102" algn="l" defTabSz="932316" rtl="0" eaLnBrk="1" latinLnBrk="0" hangingPunct="1">
              <a:defRPr sz="1836" kern="1200">
                <a:solidFill>
                  <a:schemeClr val="lt1"/>
                </a:solidFill>
                <a:latin typeface="+mn-lt"/>
                <a:ea typeface="+mn-ea"/>
                <a:cs typeface="+mn-cs"/>
              </a:defRPr>
            </a:lvl8pPr>
            <a:lvl9pPr marL="3729258" algn="l" defTabSz="932316" rtl="0" eaLnBrk="1" latinLnBrk="0" hangingPunct="1">
              <a:defRPr sz="1836" kern="1200">
                <a:solidFill>
                  <a:schemeClr val="lt1"/>
                </a:solidFill>
                <a:latin typeface="+mn-lt"/>
                <a:ea typeface="+mn-ea"/>
                <a:cs typeface="+mn-cs"/>
              </a:defRPr>
            </a:lvl9pPr>
          </a:lstStyle>
          <a:p>
            <a:pPr defTabSz="646093" fontAlgn="base">
              <a:lnSpc>
                <a:spcPct val="90000"/>
              </a:lnSpc>
              <a:spcBef>
                <a:spcPct val="0"/>
              </a:spcBef>
              <a:spcAft>
                <a:spcPts val="1730"/>
              </a:spcAft>
            </a:pPr>
            <a:r>
              <a:rPr lang="en-US" sz="3529" dirty="0">
                <a:solidFill>
                  <a:prstClr val="white"/>
                </a:solidFill>
                <a:latin typeface="+mj-lt"/>
              </a:rPr>
              <a:t>The Internet of Things </a:t>
            </a:r>
            <a:r>
              <a:rPr lang="en-US" sz="3529" dirty="0">
                <a:solidFill>
                  <a:prstClr val="white"/>
                </a:solidFill>
                <a:latin typeface="+mj-lt"/>
                <a:cs typeface="Segoe UI Semibold" panose="020B0702040204020203" pitchFamily="34" charset="0"/>
              </a:rPr>
              <a:t>starts </a:t>
            </a:r>
            <a:br>
              <a:rPr lang="en-US" sz="3529" dirty="0">
                <a:solidFill>
                  <a:prstClr val="white"/>
                </a:solidFill>
                <a:latin typeface="+mj-lt"/>
                <a:cs typeface="Segoe UI Semibold" panose="020B0702040204020203" pitchFamily="34" charset="0"/>
              </a:rPr>
            </a:br>
            <a:r>
              <a:rPr lang="en-US" sz="3529" dirty="0">
                <a:solidFill>
                  <a:prstClr val="white"/>
                </a:solidFill>
                <a:latin typeface="+mj-lt"/>
                <a:cs typeface="Segoe UI Semibold" panose="020B0702040204020203" pitchFamily="34" charset="0"/>
              </a:rPr>
              <a:t>with </a:t>
            </a:r>
            <a:r>
              <a:rPr lang="en-US" sz="3529" dirty="0">
                <a:solidFill>
                  <a:prstClr val="white"/>
                </a:solidFill>
                <a:ea typeface="Segoe UI" panose="020B0502040204020203" pitchFamily="34" charset="0"/>
                <a:cs typeface="Segoe UI" panose="020B0502040204020203" pitchFamily="34" charset="0"/>
              </a:rPr>
              <a:t>your</a:t>
            </a:r>
            <a:r>
              <a:rPr lang="en-US" sz="3529" dirty="0">
                <a:solidFill>
                  <a:prstClr val="white"/>
                </a:solidFill>
                <a:latin typeface="Segoe UI Light" panose="020B0502040204020203" pitchFamily="34" charset="0"/>
                <a:cs typeface="Segoe UI Semibold" panose="020B0702040204020203" pitchFamily="34" charset="0"/>
              </a:rPr>
              <a:t> </a:t>
            </a:r>
            <a:r>
              <a:rPr lang="en-US" sz="3529" b="1" dirty="0">
                <a:solidFill>
                  <a:prstClr val="white"/>
                </a:solidFill>
                <a:latin typeface="Segoe UI Light" panose="020B0502040204020203" pitchFamily="34" charset="0"/>
                <a:cs typeface="Segoe UI Semibold" panose="020B0702040204020203" pitchFamily="34" charset="0"/>
              </a:rPr>
              <a:t>things</a:t>
            </a:r>
          </a:p>
        </p:txBody>
      </p:sp>
      <p:sp>
        <p:nvSpPr>
          <p:cNvPr id="16" name="Rectangle 15"/>
          <p:cNvSpPr/>
          <p:nvPr/>
        </p:nvSpPr>
        <p:spPr>
          <a:xfrm>
            <a:off x="757207" y="2812041"/>
            <a:ext cx="4411253" cy="2071854"/>
          </a:xfrm>
          <a:prstGeom prst="rect">
            <a:avLst/>
          </a:prstGeom>
        </p:spPr>
        <p:txBody>
          <a:bodyPr wrap="square">
            <a:spAutoFit/>
          </a:bodyPr>
          <a:lstStyle/>
          <a:p>
            <a:pPr marL="456978" lvl="2" defTabSz="878676" fontAlgn="base">
              <a:lnSpc>
                <a:spcPct val="90000"/>
              </a:lnSpc>
              <a:spcAft>
                <a:spcPts val="1176"/>
              </a:spcAft>
            </a:pPr>
            <a:r>
              <a:rPr lang="en-US" sz="1961" dirty="0">
                <a:solidFill>
                  <a:prstClr val="white"/>
                </a:solidFill>
                <a:latin typeface="+mj-lt"/>
              </a:rPr>
              <a:t>Build on the infrastructure </a:t>
            </a:r>
            <a:br>
              <a:rPr lang="en-US" sz="1961" dirty="0">
                <a:solidFill>
                  <a:prstClr val="white"/>
                </a:solidFill>
                <a:latin typeface="+mj-lt"/>
              </a:rPr>
            </a:br>
            <a:r>
              <a:rPr lang="en-US" sz="1961" dirty="0">
                <a:solidFill>
                  <a:prstClr val="white"/>
                </a:solidFill>
                <a:latin typeface="+mj-lt"/>
              </a:rPr>
              <a:t>you already have</a:t>
            </a:r>
          </a:p>
          <a:p>
            <a:pPr marL="456978" lvl="2" defTabSz="878676" fontAlgn="base">
              <a:lnSpc>
                <a:spcPct val="90000"/>
              </a:lnSpc>
              <a:spcBef>
                <a:spcPts val="192"/>
              </a:spcBef>
              <a:spcAft>
                <a:spcPts val="1176"/>
              </a:spcAft>
            </a:pPr>
            <a:r>
              <a:rPr lang="en-US" sz="1961" dirty="0">
                <a:solidFill>
                  <a:prstClr val="white"/>
                </a:solidFill>
                <a:latin typeface="+mj-lt"/>
              </a:rPr>
              <a:t>Add more devices to </a:t>
            </a:r>
            <a:br>
              <a:rPr lang="en-US" sz="1961" dirty="0">
                <a:solidFill>
                  <a:prstClr val="white"/>
                </a:solidFill>
                <a:latin typeface="+mj-lt"/>
              </a:rPr>
            </a:br>
            <a:r>
              <a:rPr lang="en-US" sz="1961" dirty="0">
                <a:solidFill>
                  <a:prstClr val="white"/>
                </a:solidFill>
                <a:latin typeface="+mj-lt"/>
              </a:rPr>
              <a:t>the ones you already own</a:t>
            </a:r>
          </a:p>
          <a:p>
            <a:pPr marL="456978" lvl="2" defTabSz="878676" fontAlgn="base">
              <a:lnSpc>
                <a:spcPct val="90000"/>
              </a:lnSpc>
              <a:spcBef>
                <a:spcPts val="192"/>
              </a:spcBef>
              <a:spcAft>
                <a:spcPts val="1176"/>
              </a:spcAft>
            </a:pPr>
            <a:r>
              <a:rPr lang="en-US" sz="1961" dirty="0">
                <a:solidFill>
                  <a:prstClr val="white"/>
                </a:solidFill>
                <a:latin typeface="+mj-lt"/>
              </a:rPr>
              <a:t>Get more from the data </a:t>
            </a:r>
            <a:br>
              <a:rPr lang="en-US" sz="1961" dirty="0">
                <a:solidFill>
                  <a:prstClr val="white"/>
                </a:solidFill>
                <a:latin typeface="+mj-lt"/>
              </a:rPr>
            </a:br>
            <a:r>
              <a:rPr lang="en-US" sz="1961" dirty="0">
                <a:solidFill>
                  <a:prstClr val="white"/>
                </a:solidFill>
                <a:latin typeface="+mj-lt"/>
              </a:rPr>
              <a:t>that already exists </a:t>
            </a:r>
          </a:p>
        </p:txBody>
      </p:sp>
      <p:sp>
        <p:nvSpPr>
          <p:cNvPr id="343" name="Rectangle 342"/>
          <p:cNvSpPr/>
          <p:nvPr/>
        </p:nvSpPr>
        <p:spPr>
          <a:xfrm>
            <a:off x="281689" y="5382223"/>
            <a:ext cx="5451806" cy="905179"/>
          </a:xfrm>
          <a:prstGeom prst="rect">
            <a:avLst/>
          </a:prstGeom>
        </p:spPr>
        <p:txBody>
          <a:bodyPr wrap="square">
            <a:spAutoFit/>
          </a:bodyPr>
          <a:lstStyle/>
          <a:p>
            <a:pPr marL="89639" lvl="2" defTabSz="878676" fontAlgn="base">
              <a:lnSpc>
                <a:spcPct val="90000"/>
              </a:lnSpc>
              <a:spcAft>
                <a:spcPts val="1176"/>
              </a:spcAft>
            </a:pPr>
            <a:r>
              <a:rPr lang="en-US" sz="1961" dirty="0">
                <a:solidFill>
                  <a:prstClr val="white"/>
                </a:solidFill>
                <a:latin typeface="+mj-lt"/>
              </a:rPr>
              <a:t>Stop just running your business. Start making it thrive. Start realizing the potential of the Internet of </a:t>
            </a:r>
            <a:r>
              <a:rPr lang="en-US" sz="1961" dirty="0">
                <a:solidFill>
                  <a:prstClr val="white"/>
                </a:solidFill>
              </a:rPr>
              <a:t>Your Things. </a:t>
            </a:r>
          </a:p>
        </p:txBody>
      </p:sp>
      <p:sp>
        <p:nvSpPr>
          <p:cNvPr id="347" name="Freeform 101"/>
          <p:cNvSpPr>
            <a:spLocks/>
          </p:cNvSpPr>
          <p:nvPr/>
        </p:nvSpPr>
        <p:spPr bwMode="black">
          <a:xfrm rot="10800000">
            <a:off x="837560" y="2875760"/>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latin typeface="Segoe UI Light" panose="020B0502040204020203" pitchFamily="34" charset="0"/>
            </a:endParaRPr>
          </a:p>
        </p:txBody>
      </p:sp>
      <p:sp>
        <p:nvSpPr>
          <p:cNvPr id="348" name="Freeform 101"/>
          <p:cNvSpPr>
            <a:spLocks/>
          </p:cNvSpPr>
          <p:nvPr/>
        </p:nvSpPr>
        <p:spPr bwMode="black">
          <a:xfrm rot="10800000">
            <a:off x="837560" y="3610330"/>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latin typeface="Segoe UI Light" panose="020B0502040204020203" pitchFamily="34" charset="0"/>
            </a:endParaRPr>
          </a:p>
        </p:txBody>
      </p:sp>
      <p:sp>
        <p:nvSpPr>
          <p:cNvPr id="349" name="Freeform 101"/>
          <p:cNvSpPr>
            <a:spLocks/>
          </p:cNvSpPr>
          <p:nvPr/>
        </p:nvSpPr>
        <p:spPr bwMode="black">
          <a:xfrm rot="10800000">
            <a:off x="837560" y="4307549"/>
            <a:ext cx="127850" cy="191776"/>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chemeClr val="bg1"/>
          </a:solidFill>
          <a:ln>
            <a:noFill/>
          </a:ln>
          <a:extLst/>
        </p:spPr>
        <p:txBody>
          <a:bodyPr vert="horz" wrap="square" lIns="89630" tIns="44814" rIns="89630" bIns="44814" numCol="1" anchor="t" anchorCtr="0" compatLnSpc="1">
            <a:prstTxWarp prst="textNoShape">
              <a:avLst/>
            </a:prstTxWarp>
          </a:bodyPr>
          <a:lstStyle/>
          <a:p>
            <a:pPr defTabSz="896214">
              <a:defRPr/>
            </a:pPr>
            <a:endParaRPr lang="en-US" sz="1765" kern="0">
              <a:latin typeface="Segoe UI Light" panose="020B0502040204020203" pitchFamily="34" charset="0"/>
            </a:endParaRPr>
          </a:p>
        </p:txBody>
      </p:sp>
      <p:sp>
        <p:nvSpPr>
          <p:cNvPr id="4" name="Oval 3"/>
          <p:cNvSpPr/>
          <p:nvPr/>
        </p:nvSpPr>
        <p:spPr>
          <a:xfrm>
            <a:off x="6392559" y="1577615"/>
            <a:ext cx="1342300" cy="134230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86" name="Oval 85"/>
          <p:cNvSpPr/>
          <p:nvPr/>
        </p:nvSpPr>
        <p:spPr>
          <a:xfrm>
            <a:off x="7887783" y="1573459"/>
            <a:ext cx="1342300" cy="1342300"/>
          </a:xfrm>
          <a:prstGeom prst="ellipse">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96" name="Oval 95"/>
          <p:cNvSpPr/>
          <p:nvPr/>
        </p:nvSpPr>
        <p:spPr>
          <a:xfrm>
            <a:off x="6968996" y="2915758"/>
            <a:ext cx="1735847" cy="1735847"/>
          </a:xfrm>
          <a:prstGeom prst="ellipse">
            <a:avLst/>
          </a:prstGeom>
          <a:solidFill>
            <a:srgbClr val="FFB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97" name="Oval 96"/>
          <p:cNvSpPr/>
          <p:nvPr/>
        </p:nvSpPr>
        <p:spPr>
          <a:xfrm>
            <a:off x="8318082" y="3889668"/>
            <a:ext cx="1342300" cy="1342300"/>
          </a:xfrm>
          <a:prstGeom prst="ellipse">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45" name="icon  BINARY"/>
          <p:cNvSpPr>
            <a:spLocks noChangeAspect="1" noEditPoints="1"/>
          </p:cNvSpPr>
          <p:nvPr/>
        </p:nvSpPr>
        <p:spPr bwMode="auto">
          <a:xfrm>
            <a:off x="8640261" y="4302714"/>
            <a:ext cx="653468" cy="536278"/>
          </a:xfrm>
          <a:custGeom>
            <a:avLst/>
            <a:gdLst>
              <a:gd name="T0" fmla="*/ 64 w 275"/>
              <a:gd name="T1" fmla="*/ 55 h 226"/>
              <a:gd name="T2" fmla="*/ 65 w 275"/>
              <a:gd name="T3" fmla="*/ 0 h 226"/>
              <a:gd name="T4" fmla="*/ 64 w 275"/>
              <a:gd name="T5" fmla="*/ 9 h 226"/>
              <a:gd name="T6" fmla="*/ 72 w 275"/>
              <a:gd name="T7" fmla="*/ 28 h 226"/>
              <a:gd name="T8" fmla="*/ 96 w 275"/>
              <a:gd name="T9" fmla="*/ 45 h 226"/>
              <a:gd name="T10" fmla="*/ 96 w 275"/>
              <a:gd name="T11" fmla="*/ 15 h 226"/>
              <a:gd name="T12" fmla="*/ 119 w 275"/>
              <a:gd name="T13" fmla="*/ 45 h 226"/>
              <a:gd name="T14" fmla="*/ 178 w 275"/>
              <a:gd name="T15" fmla="*/ 54 h 226"/>
              <a:gd name="T16" fmla="*/ 155 w 275"/>
              <a:gd name="T17" fmla="*/ 45 h 226"/>
              <a:gd name="T18" fmla="*/ 144 w 275"/>
              <a:gd name="T19" fmla="*/ 5 h 226"/>
              <a:gd name="T20" fmla="*/ 178 w 275"/>
              <a:gd name="T21" fmla="*/ 45 h 226"/>
              <a:gd name="T22" fmla="*/ 222 w 275"/>
              <a:gd name="T23" fmla="*/ 48 h 226"/>
              <a:gd name="T24" fmla="*/ 194 w 275"/>
              <a:gd name="T25" fmla="*/ 7 h 226"/>
              <a:gd name="T26" fmla="*/ 215 w 275"/>
              <a:gd name="T27" fmla="*/ 28 h 226"/>
              <a:gd name="T28" fmla="*/ 208 w 275"/>
              <a:gd name="T29" fmla="*/ 46 h 226"/>
              <a:gd name="T30" fmla="*/ 269 w 275"/>
              <a:gd name="T31" fmla="*/ 48 h 226"/>
              <a:gd name="T32" fmla="*/ 242 w 275"/>
              <a:gd name="T33" fmla="*/ 7 h 226"/>
              <a:gd name="T34" fmla="*/ 263 w 275"/>
              <a:gd name="T35" fmla="*/ 28 h 226"/>
              <a:gd name="T36" fmla="*/ 256 w 275"/>
              <a:gd name="T37" fmla="*/ 46 h 226"/>
              <a:gd name="T38" fmla="*/ 0 w 275"/>
              <a:gd name="T39" fmla="*/ 140 h 226"/>
              <a:gd name="T40" fmla="*/ 11 w 275"/>
              <a:gd name="T41" fmla="*/ 98 h 226"/>
              <a:gd name="T42" fmla="*/ 23 w 275"/>
              <a:gd name="T43" fmla="*/ 85 h 226"/>
              <a:gd name="T44" fmla="*/ 34 w 275"/>
              <a:gd name="T45" fmla="*/ 140 h 226"/>
              <a:gd name="T46" fmla="*/ 64 w 275"/>
              <a:gd name="T47" fmla="*/ 141 h 226"/>
              <a:gd name="T48" fmla="*/ 65 w 275"/>
              <a:gd name="T49" fmla="*/ 85 h 226"/>
              <a:gd name="T50" fmla="*/ 64 w 275"/>
              <a:gd name="T51" fmla="*/ 94 h 226"/>
              <a:gd name="T52" fmla="*/ 71 w 275"/>
              <a:gd name="T53" fmla="*/ 113 h 226"/>
              <a:gd name="T54" fmla="*/ 111 w 275"/>
              <a:gd name="T55" fmla="*/ 141 h 226"/>
              <a:gd name="T56" fmla="*/ 112 w 275"/>
              <a:gd name="T57" fmla="*/ 85 h 226"/>
              <a:gd name="T58" fmla="*/ 112 w 275"/>
              <a:gd name="T59" fmla="*/ 94 h 226"/>
              <a:gd name="T60" fmla="*/ 119 w 275"/>
              <a:gd name="T61" fmla="*/ 113 h 226"/>
              <a:gd name="T62" fmla="*/ 145 w 275"/>
              <a:gd name="T63" fmla="*/ 130 h 226"/>
              <a:gd name="T64" fmla="*/ 144 w 275"/>
              <a:gd name="T65" fmla="*/ 100 h 226"/>
              <a:gd name="T66" fmla="*/ 167 w 275"/>
              <a:gd name="T67" fmla="*/ 130 h 226"/>
              <a:gd name="T68" fmla="*/ 227 w 275"/>
              <a:gd name="T69" fmla="*/ 113 h 226"/>
              <a:gd name="T70" fmla="*/ 188 w 275"/>
              <a:gd name="T71" fmla="*/ 115 h 226"/>
              <a:gd name="T72" fmla="*/ 227 w 275"/>
              <a:gd name="T73" fmla="*/ 113 h 226"/>
              <a:gd name="T74" fmla="*/ 200 w 275"/>
              <a:gd name="T75" fmla="*/ 113 h 226"/>
              <a:gd name="T76" fmla="*/ 83 w 275"/>
              <a:gd name="T77" fmla="*/ 199 h 226"/>
              <a:gd name="T78" fmla="*/ 45 w 275"/>
              <a:gd name="T79" fmla="*/ 200 h 226"/>
              <a:gd name="T80" fmla="*/ 83 w 275"/>
              <a:gd name="T81" fmla="*/ 199 h 226"/>
              <a:gd name="T82" fmla="*/ 56 w 275"/>
              <a:gd name="T83" fmla="*/ 200 h 226"/>
              <a:gd name="T84" fmla="*/ 132 w 275"/>
              <a:gd name="T85" fmla="*/ 199 h 226"/>
              <a:gd name="T86" fmla="*/ 93 w 275"/>
              <a:gd name="T87" fmla="*/ 200 h 226"/>
              <a:gd name="T88" fmla="*/ 132 w 275"/>
              <a:gd name="T89" fmla="*/ 199 h 226"/>
              <a:gd name="T90" fmla="*/ 105 w 275"/>
              <a:gd name="T91" fmla="*/ 200 h 226"/>
              <a:gd name="T92" fmla="*/ 178 w 275"/>
              <a:gd name="T93" fmla="*/ 225 h 226"/>
              <a:gd name="T94" fmla="*/ 155 w 275"/>
              <a:gd name="T95" fmla="*/ 216 h 226"/>
              <a:gd name="T96" fmla="*/ 144 w 275"/>
              <a:gd name="T97" fmla="*/ 176 h 226"/>
              <a:gd name="T98" fmla="*/ 178 w 275"/>
              <a:gd name="T99" fmla="*/ 216 h 226"/>
              <a:gd name="T100" fmla="*/ 222 w 275"/>
              <a:gd name="T101" fmla="*/ 220 h 226"/>
              <a:gd name="T102" fmla="*/ 194 w 275"/>
              <a:gd name="T103" fmla="*/ 178 h 226"/>
              <a:gd name="T104" fmla="*/ 215 w 275"/>
              <a:gd name="T105" fmla="*/ 199 h 226"/>
              <a:gd name="T106" fmla="*/ 208 w 275"/>
              <a:gd name="T107" fmla="*/ 218 h 226"/>
              <a:gd name="T108" fmla="*/ 240 w 275"/>
              <a:gd name="T109" fmla="*/ 225 h 226"/>
              <a:gd name="T110" fmla="*/ 252 w 275"/>
              <a:gd name="T111" fmla="*/ 183 h 226"/>
              <a:gd name="T112" fmla="*/ 263 w 275"/>
              <a:gd name="T113" fmla="*/ 172 h 226"/>
              <a:gd name="T114" fmla="*/ 274 w 275"/>
              <a:gd name="T115" fmla="*/ 225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75" h="226">
                <a:moveTo>
                  <a:pt x="83" y="27"/>
                </a:moveTo>
                <a:cubicBezTo>
                  <a:pt x="83" y="36"/>
                  <a:pt x="82" y="44"/>
                  <a:pt x="78" y="48"/>
                </a:cubicBezTo>
                <a:cubicBezTo>
                  <a:pt x="75" y="53"/>
                  <a:pt x="70" y="55"/>
                  <a:pt x="64" y="55"/>
                </a:cubicBezTo>
                <a:cubicBezTo>
                  <a:pt x="51" y="55"/>
                  <a:pt x="45" y="46"/>
                  <a:pt x="45" y="28"/>
                </a:cubicBezTo>
                <a:cubicBezTo>
                  <a:pt x="45" y="19"/>
                  <a:pt x="46" y="13"/>
                  <a:pt x="51" y="7"/>
                </a:cubicBezTo>
                <a:cubicBezTo>
                  <a:pt x="54" y="3"/>
                  <a:pt x="58" y="0"/>
                  <a:pt x="65" y="0"/>
                </a:cubicBezTo>
                <a:cubicBezTo>
                  <a:pt x="77" y="0"/>
                  <a:pt x="83" y="9"/>
                  <a:pt x="83" y="27"/>
                </a:cubicBezTo>
                <a:moveTo>
                  <a:pt x="72" y="28"/>
                </a:moveTo>
                <a:cubicBezTo>
                  <a:pt x="72" y="16"/>
                  <a:pt x="68" y="9"/>
                  <a:pt x="64" y="9"/>
                </a:cubicBezTo>
                <a:cubicBezTo>
                  <a:pt x="60" y="9"/>
                  <a:pt x="56" y="16"/>
                  <a:pt x="56" y="28"/>
                </a:cubicBezTo>
                <a:cubicBezTo>
                  <a:pt x="56" y="41"/>
                  <a:pt x="60" y="46"/>
                  <a:pt x="64" y="46"/>
                </a:cubicBezTo>
                <a:cubicBezTo>
                  <a:pt x="68" y="46"/>
                  <a:pt x="72" y="41"/>
                  <a:pt x="72" y="28"/>
                </a:cubicBezTo>
                <a:moveTo>
                  <a:pt x="129" y="54"/>
                </a:moveTo>
                <a:cubicBezTo>
                  <a:pt x="96" y="54"/>
                  <a:pt x="96" y="54"/>
                  <a:pt x="96" y="54"/>
                </a:cubicBezTo>
                <a:cubicBezTo>
                  <a:pt x="96" y="45"/>
                  <a:pt x="96" y="45"/>
                  <a:pt x="96" y="45"/>
                </a:cubicBezTo>
                <a:cubicBezTo>
                  <a:pt x="107" y="45"/>
                  <a:pt x="107" y="45"/>
                  <a:pt x="107" y="45"/>
                </a:cubicBezTo>
                <a:cubicBezTo>
                  <a:pt x="107" y="11"/>
                  <a:pt x="107" y="11"/>
                  <a:pt x="107" y="11"/>
                </a:cubicBezTo>
                <a:cubicBezTo>
                  <a:pt x="96" y="15"/>
                  <a:pt x="96" y="15"/>
                  <a:pt x="96" y="15"/>
                </a:cubicBezTo>
                <a:cubicBezTo>
                  <a:pt x="96" y="5"/>
                  <a:pt x="96" y="5"/>
                  <a:pt x="96" y="5"/>
                </a:cubicBezTo>
                <a:cubicBezTo>
                  <a:pt x="119" y="0"/>
                  <a:pt x="119" y="0"/>
                  <a:pt x="119" y="0"/>
                </a:cubicBezTo>
                <a:cubicBezTo>
                  <a:pt x="119" y="45"/>
                  <a:pt x="119" y="45"/>
                  <a:pt x="119" y="45"/>
                </a:cubicBezTo>
                <a:cubicBezTo>
                  <a:pt x="129" y="45"/>
                  <a:pt x="129" y="45"/>
                  <a:pt x="129" y="45"/>
                </a:cubicBezTo>
                <a:lnTo>
                  <a:pt x="129" y="54"/>
                </a:lnTo>
                <a:close/>
                <a:moveTo>
                  <a:pt x="178" y="54"/>
                </a:moveTo>
                <a:cubicBezTo>
                  <a:pt x="144" y="54"/>
                  <a:pt x="144" y="54"/>
                  <a:pt x="144" y="54"/>
                </a:cubicBezTo>
                <a:cubicBezTo>
                  <a:pt x="144" y="45"/>
                  <a:pt x="144" y="45"/>
                  <a:pt x="144" y="45"/>
                </a:cubicBezTo>
                <a:cubicBezTo>
                  <a:pt x="155" y="45"/>
                  <a:pt x="155" y="45"/>
                  <a:pt x="155" y="45"/>
                </a:cubicBezTo>
                <a:cubicBezTo>
                  <a:pt x="155" y="11"/>
                  <a:pt x="155" y="11"/>
                  <a:pt x="155" y="11"/>
                </a:cubicBezTo>
                <a:cubicBezTo>
                  <a:pt x="144" y="15"/>
                  <a:pt x="144" y="15"/>
                  <a:pt x="144" y="15"/>
                </a:cubicBezTo>
                <a:cubicBezTo>
                  <a:pt x="144" y="5"/>
                  <a:pt x="144" y="5"/>
                  <a:pt x="144" y="5"/>
                </a:cubicBezTo>
                <a:cubicBezTo>
                  <a:pt x="167" y="0"/>
                  <a:pt x="167" y="0"/>
                  <a:pt x="167" y="0"/>
                </a:cubicBezTo>
                <a:cubicBezTo>
                  <a:pt x="167" y="45"/>
                  <a:pt x="167" y="45"/>
                  <a:pt x="167" y="45"/>
                </a:cubicBezTo>
                <a:cubicBezTo>
                  <a:pt x="178" y="45"/>
                  <a:pt x="178" y="45"/>
                  <a:pt x="178" y="45"/>
                </a:cubicBezTo>
                <a:lnTo>
                  <a:pt x="178" y="54"/>
                </a:lnTo>
                <a:close/>
                <a:moveTo>
                  <a:pt x="227" y="27"/>
                </a:moveTo>
                <a:cubicBezTo>
                  <a:pt x="227" y="36"/>
                  <a:pt x="225" y="44"/>
                  <a:pt x="222" y="48"/>
                </a:cubicBezTo>
                <a:cubicBezTo>
                  <a:pt x="218" y="53"/>
                  <a:pt x="214" y="55"/>
                  <a:pt x="207" y="55"/>
                </a:cubicBezTo>
                <a:cubicBezTo>
                  <a:pt x="195" y="55"/>
                  <a:pt x="188" y="46"/>
                  <a:pt x="188" y="28"/>
                </a:cubicBezTo>
                <a:cubicBezTo>
                  <a:pt x="188" y="19"/>
                  <a:pt x="191" y="13"/>
                  <a:pt x="194" y="7"/>
                </a:cubicBezTo>
                <a:cubicBezTo>
                  <a:pt x="197" y="3"/>
                  <a:pt x="203" y="0"/>
                  <a:pt x="208" y="0"/>
                </a:cubicBezTo>
                <a:cubicBezTo>
                  <a:pt x="220" y="0"/>
                  <a:pt x="227" y="9"/>
                  <a:pt x="227" y="27"/>
                </a:cubicBezTo>
                <a:moveTo>
                  <a:pt x="215" y="28"/>
                </a:moveTo>
                <a:cubicBezTo>
                  <a:pt x="215" y="16"/>
                  <a:pt x="213" y="9"/>
                  <a:pt x="208" y="9"/>
                </a:cubicBezTo>
                <a:cubicBezTo>
                  <a:pt x="203" y="9"/>
                  <a:pt x="200" y="16"/>
                  <a:pt x="200" y="28"/>
                </a:cubicBezTo>
                <a:cubicBezTo>
                  <a:pt x="200" y="41"/>
                  <a:pt x="203" y="46"/>
                  <a:pt x="208" y="46"/>
                </a:cubicBezTo>
                <a:cubicBezTo>
                  <a:pt x="213" y="46"/>
                  <a:pt x="215" y="41"/>
                  <a:pt x="215" y="28"/>
                </a:cubicBezTo>
                <a:moveTo>
                  <a:pt x="275" y="27"/>
                </a:moveTo>
                <a:cubicBezTo>
                  <a:pt x="275" y="36"/>
                  <a:pt x="274" y="44"/>
                  <a:pt x="269" y="48"/>
                </a:cubicBezTo>
                <a:cubicBezTo>
                  <a:pt x="266" y="53"/>
                  <a:pt x="262" y="55"/>
                  <a:pt x="256" y="55"/>
                </a:cubicBezTo>
                <a:cubicBezTo>
                  <a:pt x="243" y="55"/>
                  <a:pt x="236" y="46"/>
                  <a:pt x="236" y="28"/>
                </a:cubicBezTo>
                <a:cubicBezTo>
                  <a:pt x="236" y="19"/>
                  <a:pt x="238" y="13"/>
                  <a:pt x="242" y="7"/>
                </a:cubicBezTo>
                <a:cubicBezTo>
                  <a:pt x="245" y="3"/>
                  <a:pt x="250" y="0"/>
                  <a:pt x="256" y="0"/>
                </a:cubicBezTo>
                <a:cubicBezTo>
                  <a:pt x="269" y="0"/>
                  <a:pt x="275" y="9"/>
                  <a:pt x="275" y="27"/>
                </a:cubicBezTo>
                <a:moveTo>
                  <a:pt x="263" y="28"/>
                </a:moveTo>
                <a:cubicBezTo>
                  <a:pt x="263" y="16"/>
                  <a:pt x="260" y="9"/>
                  <a:pt x="256" y="9"/>
                </a:cubicBezTo>
                <a:cubicBezTo>
                  <a:pt x="250" y="9"/>
                  <a:pt x="248" y="16"/>
                  <a:pt x="248" y="28"/>
                </a:cubicBezTo>
                <a:cubicBezTo>
                  <a:pt x="248" y="41"/>
                  <a:pt x="250" y="46"/>
                  <a:pt x="256" y="46"/>
                </a:cubicBezTo>
                <a:cubicBezTo>
                  <a:pt x="260" y="46"/>
                  <a:pt x="263" y="41"/>
                  <a:pt x="263" y="28"/>
                </a:cubicBezTo>
                <a:moveTo>
                  <a:pt x="34" y="140"/>
                </a:moveTo>
                <a:cubicBezTo>
                  <a:pt x="0" y="140"/>
                  <a:pt x="0" y="140"/>
                  <a:pt x="0" y="140"/>
                </a:cubicBezTo>
                <a:cubicBezTo>
                  <a:pt x="0" y="130"/>
                  <a:pt x="0" y="130"/>
                  <a:pt x="0" y="130"/>
                </a:cubicBezTo>
                <a:cubicBezTo>
                  <a:pt x="11" y="130"/>
                  <a:pt x="11" y="130"/>
                  <a:pt x="11" y="130"/>
                </a:cubicBezTo>
                <a:cubicBezTo>
                  <a:pt x="11" y="98"/>
                  <a:pt x="11" y="98"/>
                  <a:pt x="11" y="98"/>
                </a:cubicBezTo>
                <a:cubicBezTo>
                  <a:pt x="0" y="100"/>
                  <a:pt x="0" y="100"/>
                  <a:pt x="0" y="100"/>
                </a:cubicBezTo>
                <a:cubicBezTo>
                  <a:pt x="0" y="90"/>
                  <a:pt x="0" y="90"/>
                  <a:pt x="0" y="90"/>
                </a:cubicBezTo>
                <a:cubicBezTo>
                  <a:pt x="23" y="85"/>
                  <a:pt x="23" y="85"/>
                  <a:pt x="23" y="85"/>
                </a:cubicBezTo>
                <a:cubicBezTo>
                  <a:pt x="23" y="130"/>
                  <a:pt x="23" y="130"/>
                  <a:pt x="23" y="130"/>
                </a:cubicBezTo>
                <a:cubicBezTo>
                  <a:pt x="34" y="130"/>
                  <a:pt x="34" y="130"/>
                  <a:pt x="34" y="130"/>
                </a:cubicBezTo>
                <a:lnTo>
                  <a:pt x="34" y="140"/>
                </a:lnTo>
                <a:close/>
                <a:moveTo>
                  <a:pt x="84" y="113"/>
                </a:moveTo>
                <a:cubicBezTo>
                  <a:pt x="84" y="122"/>
                  <a:pt x="81" y="129"/>
                  <a:pt x="78" y="134"/>
                </a:cubicBezTo>
                <a:cubicBezTo>
                  <a:pt x="75" y="139"/>
                  <a:pt x="70" y="141"/>
                  <a:pt x="64" y="141"/>
                </a:cubicBezTo>
                <a:cubicBezTo>
                  <a:pt x="51" y="141"/>
                  <a:pt x="45" y="132"/>
                  <a:pt x="45" y="115"/>
                </a:cubicBezTo>
                <a:cubicBezTo>
                  <a:pt x="45" y="104"/>
                  <a:pt x="47" y="98"/>
                  <a:pt x="50" y="93"/>
                </a:cubicBezTo>
                <a:cubicBezTo>
                  <a:pt x="54" y="88"/>
                  <a:pt x="58" y="85"/>
                  <a:pt x="65" y="85"/>
                </a:cubicBezTo>
                <a:cubicBezTo>
                  <a:pt x="77" y="85"/>
                  <a:pt x="84" y="94"/>
                  <a:pt x="84" y="113"/>
                </a:cubicBezTo>
                <a:moveTo>
                  <a:pt x="71" y="113"/>
                </a:moveTo>
                <a:cubicBezTo>
                  <a:pt x="71" y="101"/>
                  <a:pt x="69" y="94"/>
                  <a:pt x="64" y="94"/>
                </a:cubicBezTo>
                <a:cubicBezTo>
                  <a:pt x="59" y="94"/>
                  <a:pt x="57" y="101"/>
                  <a:pt x="57" y="113"/>
                </a:cubicBezTo>
                <a:cubicBezTo>
                  <a:pt x="57" y="126"/>
                  <a:pt x="59" y="132"/>
                  <a:pt x="64" y="132"/>
                </a:cubicBezTo>
                <a:cubicBezTo>
                  <a:pt x="69" y="132"/>
                  <a:pt x="71" y="126"/>
                  <a:pt x="71" y="113"/>
                </a:cubicBezTo>
                <a:moveTo>
                  <a:pt x="131" y="113"/>
                </a:moveTo>
                <a:cubicBezTo>
                  <a:pt x="131" y="122"/>
                  <a:pt x="129" y="129"/>
                  <a:pt x="126" y="134"/>
                </a:cubicBezTo>
                <a:cubicBezTo>
                  <a:pt x="122" y="139"/>
                  <a:pt x="118" y="141"/>
                  <a:pt x="111" y="141"/>
                </a:cubicBezTo>
                <a:cubicBezTo>
                  <a:pt x="99" y="141"/>
                  <a:pt x="92" y="132"/>
                  <a:pt x="92" y="115"/>
                </a:cubicBezTo>
                <a:cubicBezTo>
                  <a:pt x="92" y="104"/>
                  <a:pt x="95" y="98"/>
                  <a:pt x="98" y="93"/>
                </a:cubicBezTo>
                <a:cubicBezTo>
                  <a:pt x="101" y="88"/>
                  <a:pt x="106" y="85"/>
                  <a:pt x="112" y="85"/>
                </a:cubicBezTo>
                <a:cubicBezTo>
                  <a:pt x="125" y="85"/>
                  <a:pt x="131" y="94"/>
                  <a:pt x="131" y="113"/>
                </a:cubicBezTo>
                <a:moveTo>
                  <a:pt x="119" y="113"/>
                </a:moveTo>
                <a:cubicBezTo>
                  <a:pt x="119" y="101"/>
                  <a:pt x="117" y="94"/>
                  <a:pt x="112" y="94"/>
                </a:cubicBezTo>
                <a:cubicBezTo>
                  <a:pt x="107" y="94"/>
                  <a:pt x="105" y="101"/>
                  <a:pt x="105" y="113"/>
                </a:cubicBezTo>
                <a:cubicBezTo>
                  <a:pt x="105" y="126"/>
                  <a:pt x="107" y="132"/>
                  <a:pt x="111" y="132"/>
                </a:cubicBezTo>
                <a:cubicBezTo>
                  <a:pt x="117" y="132"/>
                  <a:pt x="119" y="126"/>
                  <a:pt x="119" y="113"/>
                </a:cubicBezTo>
                <a:moveTo>
                  <a:pt x="178" y="140"/>
                </a:moveTo>
                <a:cubicBezTo>
                  <a:pt x="145" y="140"/>
                  <a:pt x="145" y="140"/>
                  <a:pt x="145" y="140"/>
                </a:cubicBezTo>
                <a:cubicBezTo>
                  <a:pt x="145" y="130"/>
                  <a:pt x="145" y="130"/>
                  <a:pt x="145" y="130"/>
                </a:cubicBezTo>
                <a:cubicBezTo>
                  <a:pt x="156" y="130"/>
                  <a:pt x="156" y="130"/>
                  <a:pt x="156" y="130"/>
                </a:cubicBezTo>
                <a:cubicBezTo>
                  <a:pt x="156" y="98"/>
                  <a:pt x="156" y="98"/>
                  <a:pt x="156" y="98"/>
                </a:cubicBezTo>
                <a:cubicBezTo>
                  <a:pt x="144" y="100"/>
                  <a:pt x="144" y="100"/>
                  <a:pt x="144" y="100"/>
                </a:cubicBezTo>
                <a:cubicBezTo>
                  <a:pt x="144" y="90"/>
                  <a:pt x="144" y="90"/>
                  <a:pt x="144" y="90"/>
                </a:cubicBezTo>
                <a:cubicBezTo>
                  <a:pt x="167" y="85"/>
                  <a:pt x="167" y="85"/>
                  <a:pt x="167" y="85"/>
                </a:cubicBezTo>
                <a:cubicBezTo>
                  <a:pt x="167" y="130"/>
                  <a:pt x="167" y="130"/>
                  <a:pt x="167" y="130"/>
                </a:cubicBezTo>
                <a:cubicBezTo>
                  <a:pt x="178" y="130"/>
                  <a:pt x="178" y="130"/>
                  <a:pt x="178" y="130"/>
                </a:cubicBezTo>
                <a:lnTo>
                  <a:pt x="178" y="140"/>
                </a:lnTo>
                <a:close/>
                <a:moveTo>
                  <a:pt x="227" y="113"/>
                </a:moveTo>
                <a:cubicBezTo>
                  <a:pt x="227" y="122"/>
                  <a:pt x="226" y="129"/>
                  <a:pt x="221" y="134"/>
                </a:cubicBezTo>
                <a:cubicBezTo>
                  <a:pt x="218" y="139"/>
                  <a:pt x="213" y="141"/>
                  <a:pt x="208" y="141"/>
                </a:cubicBezTo>
                <a:cubicBezTo>
                  <a:pt x="195" y="141"/>
                  <a:pt x="188" y="132"/>
                  <a:pt x="188" y="115"/>
                </a:cubicBezTo>
                <a:cubicBezTo>
                  <a:pt x="188" y="104"/>
                  <a:pt x="190" y="98"/>
                  <a:pt x="193" y="93"/>
                </a:cubicBezTo>
                <a:cubicBezTo>
                  <a:pt x="197" y="88"/>
                  <a:pt x="202" y="85"/>
                  <a:pt x="208" y="85"/>
                </a:cubicBezTo>
                <a:cubicBezTo>
                  <a:pt x="221" y="85"/>
                  <a:pt x="227" y="94"/>
                  <a:pt x="227" y="113"/>
                </a:cubicBezTo>
                <a:moveTo>
                  <a:pt x="215" y="113"/>
                </a:moveTo>
                <a:cubicBezTo>
                  <a:pt x="215" y="101"/>
                  <a:pt x="212" y="94"/>
                  <a:pt x="208" y="94"/>
                </a:cubicBezTo>
                <a:cubicBezTo>
                  <a:pt x="202" y="94"/>
                  <a:pt x="200" y="101"/>
                  <a:pt x="200" y="113"/>
                </a:cubicBezTo>
                <a:cubicBezTo>
                  <a:pt x="200" y="126"/>
                  <a:pt x="202" y="132"/>
                  <a:pt x="208" y="132"/>
                </a:cubicBezTo>
                <a:cubicBezTo>
                  <a:pt x="212" y="132"/>
                  <a:pt x="215" y="126"/>
                  <a:pt x="215" y="113"/>
                </a:cubicBezTo>
                <a:moveTo>
                  <a:pt x="83" y="199"/>
                </a:moveTo>
                <a:cubicBezTo>
                  <a:pt x="83" y="207"/>
                  <a:pt x="82" y="214"/>
                  <a:pt x="78" y="220"/>
                </a:cubicBezTo>
                <a:cubicBezTo>
                  <a:pt x="75" y="224"/>
                  <a:pt x="70" y="226"/>
                  <a:pt x="64" y="226"/>
                </a:cubicBezTo>
                <a:cubicBezTo>
                  <a:pt x="51" y="226"/>
                  <a:pt x="45" y="218"/>
                  <a:pt x="45" y="200"/>
                </a:cubicBezTo>
                <a:cubicBezTo>
                  <a:pt x="45" y="191"/>
                  <a:pt x="46" y="183"/>
                  <a:pt x="51" y="178"/>
                </a:cubicBezTo>
                <a:cubicBezTo>
                  <a:pt x="54" y="174"/>
                  <a:pt x="58" y="172"/>
                  <a:pt x="65" y="172"/>
                </a:cubicBezTo>
                <a:cubicBezTo>
                  <a:pt x="77" y="172"/>
                  <a:pt x="83" y="181"/>
                  <a:pt x="83" y="199"/>
                </a:cubicBezTo>
                <a:moveTo>
                  <a:pt x="72" y="199"/>
                </a:moveTo>
                <a:cubicBezTo>
                  <a:pt x="72" y="186"/>
                  <a:pt x="68" y="181"/>
                  <a:pt x="64" y="181"/>
                </a:cubicBezTo>
                <a:cubicBezTo>
                  <a:pt x="60" y="181"/>
                  <a:pt x="56" y="186"/>
                  <a:pt x="56" y="200"/>
                </a:cubicBezTo>
                <a:cubicBezTo>
                  <a:pt x="56" y="211"/>
                  <a:pt x="60" y="218"/>
                  <a:pt x="64" y="218"/>
                </a:cubicBezTo>
                <a:cubicBezTo>
                  <a:pt x="68" y="218"/>
                  <a:pt x="72" y="211"/>
                  <a:pt x="72" y="199"/>
                </a:cubicBezTo>
                <a:moveTo>
                  <a:pt x="132" y="199"/>
                </a:moveTo>
                <a:cubicBezTo>
                  <a:pt x="132" y="207"/>
                  <a:pt x="129" y="214"/>
                  <a:pt x="126" y="220"/>
                </a:cubicBezTo>
                <a:cubicBezTo>
                  <a:pt x="123" y="224"/>
                  <a:pt x="118" y="226"/>
                  <a:pt x="112" y="226"/>
                </a:cubicBezTo>
                <a:cubicBezTo>
                  <a:pt x="99" y="226"/>
                  <a:pt x="93" y="218"/>
                  <a:pt x="93" y="200"/>
                </a:cubicBezTo>
                <a:cubicBezTo>
                  <a:pt x="93" y="191"/>
                  <a:pt x="95" y="183"/>
                  <a:pt x="98" y="178"/>
                </a:cubicBezTo>
                <a:cubicBezTo>
                  <a:pt x="102" y="174"/>
                  <a:pt x="106" y="172"/>
                  <a:pt x="113" y="172"/>
                </a:cubicBezTo>
                <a:cubicBezTo>
                  <a:pt x="125" y="172"/>
                  <a:pt x="132" y="181"/>
                  <a:pt x="132" y="199"/>
                </a:cubicBezTo>
                <a:moveTo>
                  <a:pt x="119" y="199"/>
                </a:moveTo>
                <a:cubicBezTo>
                  <a:pt x="119" y="186"/>
                  <a:pt x="117" y="181"/>
                  <a:pt x="112" y="181"/>
                </a:cubicBezTo>
                <a:cubicBezTo>
                  <a:pt x="107" y="181"/>
                  <a:pt x="105" y="186"/>
                  <a:pt x="105" y="200"/>
                </a:cubicBezTo>
                <a:cubicBezTo>
                  <a:pt x="105" y="211"/>
                  <a:pt x="107" y="218"/>
                  <a:pt x="112" y="218"/>
                </a:cubicBezTo>
                <a:cubicBezTo>
                  <a:pt x="117" y="218"/>
                  <a:pt x="119" y="211"/>
                  <a:pt x="119" y="199"/>
                </a:cubicBezTo>
                <a:moveTo>
                  <a:pt x="178" y="225"/>
                </a:moveTo>
                <a:cubicBezTo>
                  <a:pt x="144" y="225"/>
                  <a:pt x="144" y="225"/>
                  <a:pt x="144" y="225"/>
                </a:cubicBezTo>
                <a:cubicBezTo>
                  <a:pt x="144" y="216"/>
                  <a:pt x="144" y="216"/>
                  <a:pt x="144" y="216"/>
                </a:cubicBezTo>
                <a:cubicBezTo>
                  <a:pt x="155" y="216"/>
                  <a:pt x="155" y="216"/>
                  <a:pt x="155" y="216"/>
                </a:cubicBezTo>
                <a:cubicBezTo>
                  <a:pt x="155" y="183"/>
                  <a:pt x="155" y="183"/>
                  <a:pt x="155" y="183"/>
                </a:cubicBezTo>
                <a:cubicBezTo>
                  <a:pt x="144" y="185"/>
                  <a:pt x="144" y="185"/>
                  <a:pt x="144" y="185"/>
                </a:cubicBezTo>
                <a:cubicBezTo>
                  <a:pt x="144" y="176"/>
                  <a:pt x="144" y="176"/>
                  <a:pt x="144" y="176"/>
                </a:cubicBezTo>
                <a:cubicBezTo>
                  <a:pt x="167" y="172"/>
                  <a:pt x="167" y="172"/>
                  <a:pt x="167" y="172"/>
                </a:cubicBezTo>
                <a:cubicBezTo>
                  <a:pt x="167" y="216"/>
                  <a:pt x="167" y="216"/>
                  <a:pt x="167" y="216"/>
                </a:cubicBezTo>
                <a:cubicBezTo>
                  <a:pt x="178" y="216"/>
                  <a:pt x="178" y="216"/>
                  <a:pt x="178" y="216"/>
                </a:cubicBezTo>
                <a:lnTo>
                  <a:pt x="178" y="225"/>
                </a:lnTo>
                <a:close/>
                <a:moveTo>
                  <a:pt x="227" y="199"/>
                </a:moveTo>
                <a:cubicBezTo>
                  <a:pt x="227" y="207"/>
                  <a:pt x="225" y="214"/>
                  <a:pt x="222" y="220"/>
                </a:cubicBezTo>
                <a:cubicBezTo>
                  <a:pt x="218" y="224"/>
                  <a:pt x="214" y="226"/>
                  <a:pt x="207" y="226"/>
                </a:cubicBezTo>
                <a:cubicBezTo>
                  <a:pt x="195" y="226"/>
                  <a:pt x="188" y="218"/>
                  <a:pt x="188" y="200"/>
                </a:cubicBezTo>
                <a:cubicBezTo>
                  <a:pt x="188" y="191"/>
                  <a:pt x="191" y="183"/>
                  <a:pt x="194" y="178"/>
                </a:cubicBezTo>
                <a:cubicBezTo>
                  <a:pt x="197" y="174"/>
                  <a:pt x="203" y="172"/>
                  <a:pt x="208" y="172"/>
                </a:cubicBezTo>
                <a:cubicBezTo>
                  <a:pt x="220" y="172"/>
                  <a:pt x="227" y="181"/>
                  <a:pt x="227" y="199"/>
                </a:cubicBezTo>
                <a:moveTo>
                  <a:pt x="215" y="199"/>
                </a:moveTo>
                <a:cubicBezTo>
                  <a:pt x="215" y="186"/>
                  <a:pt x="213" y="181"/>
                  <a:pt x="208" y="181"/>
                </a:cubicBezTo>
                <a:cubicBezTo>
                  <a:pt x="203" y="181"/>
                  <a:pt x="200" y="186"/>
                  <a:pt x="200" y="200"/>
                </a:cubicBezTo>
                <a:cubicBezTo>
                  <a:pt x="200" y="211"/>
                  <a:pt x="203" y="218"/>
                  <a:pt x="208" y="218"/>
                </a:cubicBezTo>
                <a:cubicBezTo>
                  <a:pt x="213" y="218"/>
                  <a:pt x="215" y="211"/>
                  <a:pt x="215" y="199"/>
                </a:cubicBezTo>
                <a:moveTo>
                  <a:pt x="274" y="225"/>
                </a:moveTo>
                <a:cubicBezTo>
                  <a:pt x="240" y="225"/>
                  <a:pt x="240" y="225"/>
                  <a:pt x="240" y="225"/>
                </a:cubicBezTo>
                <a:cubicBezTo>
                  <a:pt x="240" y="216"/>
                  <a:pt x="240" y="216"/>
                  <a:pt x="240" y="216"/>
                </a:cubicBezTo>
                <a:cubicBezTo>
                  <a:pt x="252" y="216"/>
                  <a:pt x="252" y="216"/>
                  <a:pt x="252" y="216"/>
                </a:cubicBezTo>
                <a:cubicBezTo>
                  <a:pt x="252" y="183"/>
                  <a:pt x="252" y="183"/>
                  <a:pt x="252" y="183"/>
                </a:cubicBezTo>
                <a:cubicBezTo>
                  <a:pt x="240" y="185"/>
                  <a:pt x="240" y="185"/>
                  <a:pt x="240" y="185"/>
                </a:cubicBezTo>
                <a:cubicBezTo>
                  <a:pt x="240" y="176"/>
                  <a:pt x="240" y="176"/>
                  <a:pt x="240" y="176"/>
                </a:cubicBezTo>
                <a:cubicBezTo>
                  <a:pt x="263" y="172"/>
                  <a:pt x="263" y="172"/>
                  <a:pt x="263" y="172"/>
                </a:cubicBezTo>
                <a:cubicBezTo>
                  <a:pt x="263" y="216"/>
                  <a:pt x="263" y="216"/>
                  <a:pt x="263" y="216"/>
                </a:cubicBezTo>
                <a:cubicBezTo>
                  <a:pt x="274" y="216"/>
                  <a:pt x="274" y="216"/>
                  <a:pt x="274" y="216"/>
                </a:cubicBezTo>
                <a:lnTo>
                  <a:pt x="274" y="225"/>
                </a:lnTo>
                <a:close/>
              </a:path>
            </a:pathLst>
          </a:custGeom>
          <a:solidFill>
            <a:schemeClr val="bg1">
              <a:lumMod val="95000"/>
            </a:schemeClr>
          </a:solidFill>
          <a:ln>
            <a:noFill/>
          </a:ln>
          <a:extLst/>
        </p:spPr>
        <p:txBody>
          <a:bodyPr vert="horz" wrap="square" lIns="87855" tIns="43927" rIns="87855" bIns="43927" numCol="1" anchor="t" anchorCtr="0" compatLnSpc="1">
            <a:prstTxWarp prst="textNoShape">
              <a:avLst/>
            </a:prstTxWarp>
          </a:bodyPr>
          <a:lstStyle/>
          <a:p>
            <a:pPr defTabSz="896010"/>
            <a:endParaRPr lang="en-US" sz="1730" dirty="0">
              <a:solidFill>
                <a:schemeClr val="bg1">
                  <a:lumMod val="85000"/>
                </a:schemeClr>
              </a:solidFill>
            </a:endParaRPr>
          </a:p>
        </p:txBody>
      </p:sp>
      <p:sp>
        <p:nvSpPr>
          <p:cNvPr id="98" name="Oval 97"/>
          <p:cNvSpPr/>
          <p:nvPr/>
        </p:nvSpPr>
        <p:spPr>
          <a:xfrm>
            <a:off x="9699503" y="3230418"/>
            <a:ext cx="1342300" cy="1342300"/>
          </a:xfrm>
          <a:prstGeom prst="ellipse">
            <a:avLst/>
          </a:prstGeom>
          <a:solidFill>
            <a:srgbClr val="00205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sp>
        <p:nvSpPr>
          <p:cNvPr id="99" name="Oval 98"/>
          <p:cNvSpPr/>
          <p:nvPr/>
        </p:nvSpPr>
        <p:spPr>
          <a:xfrm>
            <a:off x="9403919" y="1594404"/>
            <a:ext cx="1342300" cy="1342300"/>
          </a:xfrm>
          <a:prstGeom prst="ellipse">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a:p>
        </p:txBody>
      </p:sp>
      <p:grpSp>
        <p:nvGrpSpPr>
          <p:cNvPr id="6" name="Group 5"/>
          <p:cNvGrpSpPr/>
          <p:nvPr/>
        </p:nvGrpSpPr>
        <p:grpSpPr>
          <a:xfrm>
            <a:off x="9661839" y="1990253"/>
            <a:ext cx="797012" cy="563582"/>
            <a:chOff x="9230271" y="4337050"/>
            <a:chExt cx="812994" cy="574883"/>
          </a:xfrm>
          <a:solidFill>
            <a:schemeClr val="bg1">
              <a:lumMod val="95000"/>
            </a:schemeClr>
          </a:solidFill>
        </p:grpSpPr>
        <p:sp>
          <p:nvSpPr>
            <p:cNvPr id="71" name="handheld"/>
            <p:cNvSpPr>
              <a:spLocks noChangeAspect="1"/>
            </p:cNvSpPr>
            <p:nvPr/>
          </p:nvSpPr>
          <p:spPr bwMode="auto">
            <a:xfrm>
              <a:off x="9230271" y="4337050"/>
              <a:ext cx="812463" cy="562688"/>
            </a:xfrm>
            <a:custGeom>
              <a:avLst/>
              <a:gdLst/>
              <a:ahLst/>
              <a:cxnLst/>
              <a:rect l="l" t="t" r="r" b="b"/>
              <a:pathLst>
                <a:path w="2953954" h="2046352">
                  <a:moveTo>
                    <a:pt x="2765016" y="1281519"/>
                  </a:moveTo>
                  <a:lnTo>
                    <a:pt x="2953954" y="1281519"/>
                  </a:lnTo>
                  <a:lnTo>
                    <a:pt x="2953954" y="2046352"/>
                  </a:lnTo>
                  <a:lnTo>
                    <a:pt x="2765016" y="2046352"/>
                  </a:lnTo>
                  <a:close/>
                  <a:moveTo>
                    <a:pt x="2620827" y="1281519"/>
                  </a:moveTo>
                  <a:lnTo>
                    <a:pt x="2712607" y="1281519"/>
                  </a:lnTo>
                  <a:lnTo>
                    <a:pt x="2712607" y="2046352"/>
                  </a:lnTo>
                  <a:lnTo>
                    <a:pt x="2620827" y="2046352"/>
                  </a:lnTo>
                  <a:close/>
                  <a:moveTo>
                    <a:pt x="2223114" y="1281519"/>
                  </a:moveTo>
                  <a:lnTo>
                    <a:pt x="2314894" y="1281519"/>
                  </a:lnTo>
                  <a:lnTo>
                    <a:pt x="2314894" y="2046352"/>
                  </a:lnTo>
                  <a:lnTo>
                    <a:pt x="2223114" y="2046352"/>
                  </a:lnTo>
                  <a:close/>
                  <a:moveTo>
                    <a:pt x="1923980" y="1281519"/>
                  </a:moveTo>
                  <a:lnTo>
                    <a:pt x="2015760" y="1281519"/>
                  </a:lnTo>
                  <a:lnTo>
                    <a:pt x="2015760" y="2046352"/>
                  </a:lnTo>
                  <a:lnTo>
                    <a:pt x="1923980" y="2046352"/>
                  </a:lnTo>
                  <a:close/>
                  <a:moveTo>
                    <a:pt x="1648639" y="1281519"/>
                  </a:moveTo>
                  <a:lnTo>
                    <a:pt x="1869590" y="1281519"/>
                  </a:lnTo>
                  <a:lnTo>
                    <a:pt x="1869590" y="2046352"/>
                  </a:lnTo>
                  <a:lnTo>
                    <a:pt x="1648639" y="2046352"/>
                  </a:lnTo>
                  <a:close/>
                  <a:moveTo>
                    <a:pt x="1531611" y="1281519"/>
                  </a:moveTo>
                  <a:lnTo>
                    <a:pt x="1621444" y="1281519"/>
                  </a:lnTo>
                  <a:lnTo>
                    <a:pt x="1621444" y="2046352"/>
                  </a:lnTo>
                  <a:lnTo>
                    <a:pt x="1531611" y="2046352"/>
                  </a:lnTo>
                  <a:close/>
                  <a:moveTo>
                    <a:pt x="0" y="0"/>
                  </a:moveTo>
                  <a:lnTo>
                    <a:pt x="2947156" y="0"/>
                  </a:lnTo>
                  <a:lnTo>
                    <a:pt x="2953954" y="363720"/>
                  </a:lnTo>
                  <a:lnTo>
                    <a:pt x="2648021" y="1009579"/>
                  </a:lnTo>
                  <a:lnTo>
                    <a:pt x="1407293" y="1009579"/>
                  </a:lnTo>
                  <a:lnTo>
                    <a:pt x="1233930" y="1346105"/>
                  </a:lnTo>
                  <a:lnTo>
                    <a:pt x="1094561" y="1305314"/>
                  </a:lnTo>
                  <a:lnTo>
                    <a:pt x="815822" y="2029356"/>
                  </a:lnTo>
                  <a:lnTo>
                    <a:pt x="370519" y="2046352"/>
                  </a:lnTo>
                  <a:lnTo>
                    <a:pt x="608467" y="1026575"/>
                  </a:lnTo>
                  <a:lnTo>
                    <a:pt x="0" y="1026575"/>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87855" tIns="43927" rIns="1054266" bIns="43927" numCol="1" spcCol="0" rtlCol="0" fromWordArt="0" anchor="b" anchorCtr="0" forceAA="0" compatLnSpc="1">
              <a:prstTxWarp prst="textNoShape">
                <a:avLst/>
              </a:prstTxWarp>
              <a:noAutofit/>
            </a:bodyPr>
            <a:lstStyle/>
            <a:p>
              <a:pPr defTabSz="878101" fontAlgn="base">
                <a:spcBef>
                  <a:spcPct val="0"/>
                </a:spcBef>
                <a:spcAft>
                  <a:spcPct val="0"/>
                </a:spcAft>
                <a:defRPr/>
              </a:pPr>
              <a:endParaRPr lang="en-US" sz="2115" kern="0" spc="-48" dirty="0" err="1">
                <a:solidFill>
                  <a:srgbClr val="008272"/>
                </a:solidFill>
                <a:latin typeface="Segoe UI Light"/>
                <a:ea typeface="Segoe UI" pitchFamily="34" charset="0"/>
                <a:cs typeface="Segoe UI" pitchFamily="34" charset="0"/>
              </a:endParaRPr>
            </a:p>
          </p:txBody>
        </p:sp>
        <p:sp>
          <p:nvSpPr>
            <p:cNvPr id="72" name="Freeform 71"/>
            <p:cNvSpPr/>
            <p:nvPr/>
          </p:nvSpPr>
          <p:spPr>
            <a:xfrm>
              <a:off x="9323256" y="4617252"/>
              <a:ext cx="297360" cy="294681"/>
            </a:xfrm>
            <a:custGeom>
              <a:avLst/>
              <a:gdLst>
                <a:gd name="connsiteX0" fmla="*/ 233680 w 1087120"/>
                <a:gd name="connsiteY0" fmla="*/ 0 h 1117600"/>
                <a:gd name="connsiteX1" fmla="*/ 0 w 1087120"/>
                <a:gd name="connsiteY1" fmla="*/ 1117600 h 1117600"/>
                <a:gd name="connsiteX2" fmla="*/ 477520 w 1087120"/>
                <a:gd name="connsiteY2" fmla="*/ 1107440 h 1117600"/>
                <a:gd name="connsiteX3" fmla="*/ 751840 w 1087120"/>
                <a:gd name="connsiteY3" fmla="*/ 314960 h 1117600"/>
                <a:gd name="connsiteX4" fmla="*/ 894080 w 1087120"/>
                <a:gd name="connsiteY4" fmla="*/ 365760 h 1117600"/>
                <a:gd name="connsiteX5" fmla="*/ 1087120 w 1087120"/>
                <a:gd name="connsiteY5" fmla="*/ 0 h 1117600"/>
                <a:gd name="connsiteX6" fmla="*/ 233680 w 1087120"/>
                <a:gd name="connsiteY6" fmla="*/ 0 h 1117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87120" h="1117600">
                  <a:moveTo>
                    <a:pt x="233680" y="0"/>
                  </a:moveTo>
                  <a:lnTo>
                    <a:pt x="0" y="1117600"/>
                  </a:lnTo>
                  <a:lnTo>
                    <a:pt x="477520" y="1107440"/>
                  </a:lnTo>
                  <a:lnTo>
                    <a:pt x="751840" y="314960"/>
                  </a:lnTo>
                  <a:lnTo>
                    <a:pt x="894080" y="365760"/>
                  </a:lnTo>
                  <a:lnTo>
                    <a:pt x="1087120" y="0"/>
                  </a:lnTo>
                  <a:lnTo>
                    <a:pt x="233680" y="0"/>
                  </a:lnTo>
                  <a:close/>
                </a:path>
              </a:pathLst>
            </a:custGeom>
            <a:grp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2"/>
              <a:endParaRPr lang="en-US" sz="1765">
                <a:solidFill>
                  <a:prstClr val="white"/>
                </a:solidFill>
              </a:endParaRPr>
            </a:p>
          </p:txBody>
        </p:sp>
        <p:sp>
          <p:nvSpPr>
            <p:cNvPr id="73" name="Rectangle 72"/>
            <p:cNvSpPr/>
            <p:nvPr/>
          </p:nvSpPr>
          <p:spPr>
            <a:xfrm>
              <a:off x="9426940" y="4387329"/>
              <a:ext cx="616325" cy="45719"/>
            </a:xfrm>
            <a:prstGeom prst="rect">
              <a:avLst/>
            </a:prstGeom>
            <a:solidFill>
              <a:schemeClr val="tx1">
                <a:lumMod val="65000"/>
                <a:lumOff val="3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89617" tIns="44808" rIns="89617" bIns="44808" numCol="1" spcCol="0" rtlCol="0" fromWordArt="0" anchor="ctr" anchorCtr="0" forceAA="0" compatLnSpc="1">
              <a:prstTxWarp prst="textNoShape">
                <a:avLst/>
              </a:prstTxWarp>
              <a:noAutofit/>
            </a:bodyPr>
            <a:lstStyle/>
            <a:p>
              <a:pPr algn="ctr" defTabSz="896182"/>
              <a:endParaRPr lang="en-US" sz="1765">
                <a:solidFill>
                  <a:prstClr val="white"/>
                </a:solidFill>
              </a:endParaRPr>
            </a:p>
          </p:txBody>
        </p:sp>
      </p:grpSp>
      <p:sp>
        <p:nvSpPr>
          <p:cNvPr id="30" name="Freeform 7"/>
          <p:cNvSpPr>
            <a:spLocks/>
          </p:cNvSpPr>
          <p:nvPr/>
        </p:nvSpPr>
        <p:spPr bwMode="auto">
          <a:xfrm>
            <a:off x="8188689" y="1959341"/>
            <a:ext cx="761979" cy="501165"/>
          </a:xfrm>
          <a:custGeom>
            <a:avLst/>
            <a:gdLst>
              <a:gd name="T0" fmla="*/ 934 w 1037"/>
              <a:gd name="T1" fmla="*/ 269 h 681"/>
              <a:gd name="T2" fmla="*/ 861 w 1037"/>
              <a:gd name="T3" fmla="*/ 135 h 681"/>
              <a:gd name="T4" fmla="*/ 768 w 1037"/>
              <a:gd name="T5" fmla="*/ 107 h 681"/>
              <a:gd name="T6" fmla="*/ 690 w 1037"/>
              <a:gd name="T7" fmla="*/ 128 h 681"/>
              <a:gd name="T8" fmla="*/ 451 w 1037"/>
              <a:gd name="T9" fmla="*/ 0 h 681"/>
              <a:gd name="T10" fmla="*/ 328 w 1037"/>
              <a:gd name="T11" fmla="*/ 28 h 681"/>
              <a:gd name="T12" fmla="*/ 329 w 1037"/>
              <a:gd name="T13" fmla="*/ 28 h 681"/>
              <a:gd name="T14" fmla="*/ 167 w 1037"/>
              <a:gd name="T15" fmla="*/ 286 h 681"/>
              <a:gd name="T16" fmla="*/ 167 w 1037"/>
              <a:gd name="T17" fmla="*/ 300 h 681"/>
              <a:gd name="T18" fmla="*/ 0 w 1037"/>
              <a:gd name="T19" fmla="*/ 489 h 681"/>
              <a:gd name="T20" fmla="*/ 192 w 1037"/>
              <a:gd name="T21" fmla="*/ 681 h 681"/>
              <a:gd name="T22" fmla="*/ 267 w 1037"/>
              <a:gd name="T23" fmla="*/ 681 h 681"/>
              <a:gd name="T24" fmla="*/ 301 w 1037"/>
              <a:gd name="T25" fmla="*/ 681 h 681"/>
              <a:gd name="T26" fmla="*/ 313 w 1037"/>
              <a:gd name="T27" fmla="*/ 681 h 681"/>
              <a:gd name="T28" fmla="*/ 322 w 1037"/>
              <a:gd name="T29" fmla="*/ 681 h 681"/>
              <a:gd name="T30" fmla="*/ 789 w 1037"/>
              <a:gd name="T31" fmla="*/ 681 h 681"/>
              <a:gd name="T32" fmla="*/ 812 w 1037"/>
              <a:gd name="T33" fmla="*/ 681 h 681"/>
              <a:gd name="T34" fmla="*/ 837 w 1037"/>
              <a:gd name="T35" fmla="*/ 681 h 681"/>
              <a:gd name="T36" fmla="*/ 942 w 1037"/>
              <a:gd name="T37" fmla="*/ 641 h 681"/>
              <a:gd name="T38" fmla="*/ 942 w 1037"/>
              <a:gd name="T39" fmla="*/ 642 h 681"/>
              <a:gd name="T40" fmla="*/ 1037 w 1037"/>
              <a:gd name="T41" fmla="*/ 458 h 681"/>
              <a:gd name="T42" fmla="*/ 934 w 1037"/>
              <a:gd name="T43" fmla="*/ 269 h 6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37" h="681">
                <a:moveTo>
                  <a:pt x="934" y="269"/>
                </a:moveTo>
                <a:cubicBezTo>
                  <a:pt x="933" y="213"/>
                  <a:pt x="904" y="164"/>
                  <a:pt x="861" y="135"/>
                </a:cubicBezTo>
                <a:cubicBezTo>
                  <a:pt x="834" y="117"/>
                  <a:pt x="803" y="107"/>
                  <a:pt x="768" y="107"/>
                </a:cubicBezTo>
                <a:cubicBezTo>
                  <a:pt x="739" y="107"/>
                  <a:pt x="713" y="115"/>
                  <a:pt x="690" y="128"/>
                </a:cubicBezTo>
                <a:cubicBezTo>
                  <a:pt x="638" y="52"/>
                  <a:pt x="550" y="0"/>
                  <a:pt x="451" y="0"/>
                </a:cubicBezTo>
                <a:cubicBezTo>
                  <a:pt x="407" y="0"/>
                  <a:pt x="365" y="10"/>
                  <a:pt x="328" y="28"/>
                </a:cubicBezTo>
                <a:cubicBezTo>
                  <a:pt x="329" y="28"/>
                  <a:pt x="329" y="28"/>
                  <a:pt x="329" y="28"/>
                </a:cubicBezTo>
                <a:cubicBezTo>
                  <a:pt x="233" y="74"/>
                  <a:pt x="167" y="172"/>
                  <a:pt x="167" y="286"/>
                </a:cubicBezTo>
                <a:cubicBezTo>
                  <a:pt x="167" y="290"/>
                  <a:pt x="167" y="296"/>
                  <a:pt x="167" y="300"/>
                </a:cubicBezTo>
                <a:cubicBezTo>
                  <a:pt x="71" y="313"/>
                  <a:pt x="0" y="392"/>
                  <a:pt x="0" y="489"/>
                </a:cubicBezTo>
                <a:cubicBezTo>
                  <a:pt x="0" y="594"/>
                  <a:pt x="86" y="681"/>
                  <a:pt x="192" y="681"/>
                </a:cubicBezTo>
                <a:cubicBezTo>
                  <a:pt x="192" y="681"/>
                  <a:pt x="192" y="681"/>
                  <a:pt x="267" y="681"/>
                </a:cubicBezTo>
                <a:cubicBezTo>
                  <a:pt x="278" y="681"/>
                  <a:pt x="295" y="681"/>
                  <a:pt x="301" y="681"/>
                </a:cubicBezTo>
                <a:cubicBezTo>
                  <a:pt x="301" y="681"/>
                  <a:pt x="301" y="681"/>
                  <a:pt x="313" y="681"/>
                </a:cubicBezTo>
                <a:cubicBezTo>
                  <a:pt x="315" y="681"/>
                  <a:pt x="318" y="681"/>
                  <a:pt x="322" y="681"/>
                </a:cubicBezTo>
                <a:cubicBezTo>
                  <a:pt x="438" y="681"/>
                  <a:pt x="685" y="681"/>
                  <a:pt x="789" y="681"/>
                </a:cubicBezTo>
                <a:cubicBezTo>
                  <a:pt x="797" y="681"/>
                  <a:pt x="805" y="681"/>
                  <a:pt x="812" y="681"/>
                </a:cubicBezTo>
                <a:cubicBezTo>
                  <a:pt x="820" y="681"/>
                  <a:pt x="830" y="681"/>
                  <a:pt x="837" y="681"/>
                </a:cubicBezTo>
                <a:cubicBezTo>
                  <a:pt x="876" y="681"/>
                  <a:pt x="912" y="663"/>
                  <a:pt x="942" y="641"/>
                </a:cubicBezTo>
                <a:cubicBezTo>
                  <a:pt x="942" y="642"/>
                  <a:pt x="942" y="642"/>
                  <a:pt x="942" y="642"/>
                </a:cubicBezTo>
                <a:cubicBezTo>
                  <a:pt x="1000" y="601"/>
                  <a:pt x="1037" y="534"/>
                  <a:pt x="1037" y="458"/>
                </a:cubicBezTo>
                <a:cubicBezTo>
                  <a:pt x="1037" y="380"/>
                  <a:pt x="995" y="309"/>
                  <a:pt x="934" y="269"/>
                </a:cubicBezTo>
                <a:close/>
              </a:path>
            </a:pathLst>
          </a:custGeom>
          <a:solidFill>
            <a:srgbClr val="FFFFFF"/>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nvGrpSpPr>
          <p:cNvPr id="26" name="Group 25"/>
          <p:cNvGrpSpPr/>
          <p:nvPr/>
        </p:nvGrpSpPr>
        <p:grpSpPr>
          <a:xfrm>
            <a:off x="6710916" y="1930774"/>
            <a:ext cx="748225" cy="619374"/>
            <a:chOff x="16659225" y="-4403725"/>
            <a:chExt cx="3724275" cy="3082925"/>
          </a:xfrm>
          <a:solidFill>
            <a:schemeClr val="bg1"/>
          </a:solidFill>
        </p:grpSpPr>
        <p:sp>
          <p:nvSpPr>
            <p:cNvPr id="24" name="Freeform 28"/>
            <p:cNvSpPr>
              <a:spLocks noEditPoints="1"/>
            </p:cNvSpPr>
            <p:nvPr/>
          </p:nvSpPr>
          <p:spPr bwMode="auto">
            <a:xfrm>
              <a:off x="16659225" y="-4014788"/>
              <a:ext cx="3724275"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25" name="Oval 29"/>
            <p:cNvSpPr>
              <a:spLocks noChangeArrowheads="1"/>
            </p:cNvSpPr>
            <p:nvPr/>
          </p:nvSpPr>
          <p:spPr bwMode="auto">
            <a:xfrm>
              <a:off x="18103850" y="-4403725"/>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114" name="Group 113"/>
          <p:cNvGrpSpPr/>
          <p:nvPr/>
        </p:nvGrpSpPr>
        <p:grpSpPr>
          <a:xfrm>
            <a:off x="7445557" y="3418897"/>
            <a:ext cx="809768" cy="643466"/>
            <a:chOff x="-3435350" y="5073650"/>
            <a:chExt cx="3192462" cy="2536826"/>
          </a:xfrm>
          <a:solidFill>
            <a:schemeClr val="bg1">
              <a:lumMod val="95000"/>
            </a:schemeClr>
          </a:solidFill>
        </p:grpSpPr>
        <p:sp>
          <p:nvSpPr>
            <p:cNvPr id="115" name="Freeform 5"/>
            <p:cNvSpPr>
              <a:spLocks noEditPoints="1"/>
            </p:cNvSpPr>
            <p:nvPr/>
          </p:nvSpPr>
          <p:spPr bwMode="auto">
            <a:xfrm>
              <a:off x="-1771650" y="5205413"/>
              <a:ext cx="573087" cy="573088"/>
            </a:xfrm>
            <a:custGeom>
              <a:avLst/>
              <a:gdLst>
                <a:gd name="T0" fmla="*/ 75 w 152"/>
                <a:gd name="T1" fmla="*/ 152 h 152"/>
                <a:gd name="T2" fmla="*/ 152 w 152"/>
                <a:gd name="T3" fmla="*/ 76 h 152"/>
                <a:gd name="T4" fmla="*/ 75 w 152"/>
                <a:gd name="T5" fmla="*/ 0 h 152"/>
                <a:gd name="T6" fmla="*/ 0 w 152"/>
                <a:gd name="T7" fmla="*/ 76 h 152"/>
                <a:gd name="T8" fmla="*/ 75 w 152"/>
                <a:gd name="T9" fmla="*/ 152 h 152"/>
                <a:gd name="T10" fmla="*/ 75 w 152"/>
                <a:gd name="T11" fmla="*/ 32 h 152"/>
                <a:gd name="T12" fmla="*/ 119 w 152"/>
                <a:gd name="T13" fmla="*/ 76 h 152"/>
                <a:gd name="T14" fmla="*/ 75 w 152"/>
                <a:gd name="T15" fmla="*/ 119 h 152"/>
                <a:gd name="T16" fmla="*/ 32 w 152"/>
                <a:gd name="T17" fmla="*/ 76 h 152"/>
                <a:gd name="T18" fmla="*/ 75 w 152"/>
                <a:gd name="T19" fmla="*/ 3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2" h="152">
                  <a:moveTo>
                    <a:pt x="75" y="152"/>
                  </a:moveTo>
                  <a:cubicBezTo>
                    <a:pt x="118" y="152"/>
                    <a:pt x="152" y="118"/>
                    <a:pt x="152" y="76"/>
                  </a:cubicBezTo>
                  <a:cubicBezTo>
                    <a:pt x="152" y="34"/>
                    <a:pt x="118" y="0"/>
                    <a:pt x="75" y="0"/>
                  </a:cubicBezTo>
                  <a:cubicBezTo>
                    <a:pt x="34" y="0"/>
                    <a:pt x="0" y="34"/>
                    <a:pt x="0" y="76"/>
                  </a:cubicBezTo>
                  <a:cubicBezTo>
                    <a:pt x="0" y="118"/>
                    <a:pt x="34" y="152"/>
                    <a:pt x="75" y="152"/>
                  </a:cubicBezTo>
                  <a:close/>
                  <a:moveTo>
                    <a:pt x="75" y="32"/>
                  </a:moveTo>
                  <a:cubicBezTo>
                    <a:pt x="100" y="32"/>
                    <a:pt x="119" y="52"/>
                    <a:pt x="119" y="76"/>
                  </a:cubicBezTo>
                  <a:cubicBezTo>
                    <a:pt x="119" y="100"/>
                    <a:pt x="100" y="119"/>
                    <a:pt x="75" y="119"/>
                  </a:cubicBezTo>
                  <a:cubicBezTo>
                    <a:pt x="51" y="119"/>
                    <a:pt x="32" y="100"/>
                    <a:pt x="32" y="76"/>
                  </a:cubicBezTo>
                  <a:cubicBezTo>
                    <a:pt x="32" y="52"/>
                    <a:pt x="51" y="32"/>
                    <a:pt x="75" y="3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6" name="Oval 6"/>
            <p:cNvSpPr>
              <a:spLocks noChangeArrowheads="1"/>
            </p:cNvSpPr>
            <p:nvPr/>
          </p:nvSpPr>
          <p:spPr bwMode="auto">
            <a:xfrm>
              <a:off x="-1571625" y="5405438"/>
              <a:ext cx="168275" cy="1698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7" name="Freeform 7"/>
            <p:cNvSpPr>
              <a:spLocks noEditPoints="1"/>
            </p:cNvSpPr>
            <p:nvPr/>
          </p:nvSpPr>
          <p:spPr bwMode="auto">
            <a:xfrm>
              <a:off x="-3435350" y="5073650"/>
              <a:ext cx="782637" cy="784225"/>
            </a:xfrm>
            <a:custGeom>
              <a:avLst/>
              <a:gdLst>
                <a:gd name="T0" fmla="*/ 208 w 208"/>
                <a:gd name="T1" fmla="*/ 104 h 208"/>
                <a:gd name="T2" fmla="*/ 104 w 208"/>
                <a:gd name="T3" fmla="*/ 0 h 208"/>
                <a:gd name="T4" fmla="*/ 0 w 208"/>
                <a:gd name="T5" fmla="*/ 104 h 208"/>
                <a:gd name="T6" fmla="*/ 104 w 208"/>
                <a:gd name="T7" fmla="*/ 208 h 208"/>
                <a:gd name="T8" fmla="*/ 208 w 208"/>
                <a:gd name="T9" fmla="*/ 104 h 208"/>
                <a:gd name="T10" fmla="*/ 49 w 208"/>
                <a:gd name="T11" fmla="*/ 104 h 208"/>
                <a:gd name="T12" fmla="*/ 104 w 208"/>
                <a:gd name="T13" fmla="*/ 49 h 208"/>
                <a:gd name="T14" fmla="*/ 159 w 208"/>
                <a:gd name="T15" fmla="*/ 104 h 208"/>
                <a:gd name="T16" fmla="*/ 104 w 208"/>
                <a:gd name="T17" fmla="*/ 159 h 208"/>
                <a:gd name="T18" fmla="*/ 49 w 208"/>
                <a:gd name="T19" fmla="*/ 104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08" h="208">
                  <a:moveTo>
                    <a:pt x="208" y="104"/>
                  </a:moveTo>
                  <a:cubicBezTo>
                    <a:pt x="208" y="46"/>
                    <a:pt x="161" y="0"/>
                    <a:pt x="104" y="0"/>
                  </a:cubicBezTo>
                  <a:cubicBezTo>
                    <a:pt x="46" y="0"/>
                    <a:pt x="0" y="46"/>
                    <a:pt x="0" y="104"/>
                  </a:cubicBezTo>
                  <a:cubicBezTo>
                    <a:pt x="0" y="161"/>
                    <a:pt x="46" y="208"/>
                    <a:pt x="104" y="208"/>
                  </a:cubicBezTo>
                  <a:cubicBezTo>
                    <a:pt x="161" y="208"/>
                    <a:pt x="208" y="161"/>
                    <a:pt x="208" y="104"/>
                  </a:cubicBezTo>
                  <a:close/>
                  <a:moveTo>
                    <a:pt x="49" y="104"/>
                  </a:moveTo>
                  <a:cubicBezTo>
                    <a:pt x="49" y="73"/>
                    <a:pt x="73" y="49"/>
                    <a:pt x="104" y="49"/>
                  </a:cubicBezTo>
                  <a:cubicBezTo>
                    <a:pt x="134" y="49"/>
                    <a:pt x="159" y="73"/>
                    <a:pt x="159" y="104"/>
                  </a:cubicBezTo>
                  <a:cubicBezTo>
                    <a:pt x="159" y="134"/>
                    <a:pt x="134" y="159"/>
                    <a:pt x="104" y="159"/>
                  </a:cubicBezTo>
                  <a:cubicBezTo>
                    <a:pt x="73" y="159"/>
                    <a:pt x="49" y="134"/>
                    <a:pt x="49" y="10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8" name="Oval 8"/>
            <p:cNvSpPr>
              <a:spLocks noChangeArrowheads="1"/>
            </p:cNvSpPr>
            <p:nvPr/>
          </p:nvSpPr>
          <p:spPr bwMode="auto">
            <a:xfrm>
              <a:off x="-3160713" y="5349875"/>
              <a:ext cx="230187" cy="23336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19" name="Freeform 9"/>
            <p:cNvSpPr>
              <a:spLocks/>
            </p:cNvSpPr>
            <p:nvPr/>
          </p:nvSpPr>
          <p:spPr bwMode="auto">
            <a:xfrm>
              <a:off x="-792163" y="6540500"/>
              <a:ext cx="458787" cy="733425"/>
            </a:xfrm>
            <a:custGeom>
              <a:avLst/>
              <a:gdLst>
                <a:gd name="T0" fmla="*/ 0 w 122"/>
                <a:gd name="T1" fmla="*/ 61 h 195"/>
                <a:gd name="T2" fmla="*/ 33 w 122"/>
                <a:gd name="T3" fmla="*/ 115 h 195"/>
                <a:gd name="T4" fmla="*/ 33 w 122"/>
                <a:gd name="T5" fmla="*/ 151 h 195"/>
                <a:gd name="T6" fmla="*/ 47 w 122"/>
                <a:gd name="T7" fmla="*/ 151 h 195"/>
                <a:gd name="T8" fmla="*/ 47 w 122"/>
                <a:gd name="T9" fmla="*/ 166 h 195"/>
                <a:gd name="T10" fmla="*/ 56 w 122"/>
                <a:gd name="T11" fmla="*/ 166 h 195"/>
                <a:gd name="T12" fmla="*/ 56 w 122"/>
                <a:gd name="T13" fmla="*/ 195 h 195"/>
                <a:gd name="T14" fmla="*/ 71 w 122"/>
                <a:gd name="T15" fmla="*/ 195 h 195"/>
                <a:gd name="T16" fmla="*/ 71 w 122"/>
                <a:gd name="T17" fmla="*/ 166 h 195"/>
                <a:gd name="T18" fmla="*/ 79 w 122"/>
                <a:gd name="T19" fmla="*/ 166 h 195"/>
                <a:gd name="T20" fmla="*/ 79 w 122"/>
                <a:gd name="T21" fmla="*/ 151 h 195"/>
                <a:gd name="T22" fmla="*/ 91 w 122"/>
                <a:gd name="T23" fmla="*/ 151 h 195"/>
                <a:gd name="T24" fmla="*/ 91 w 122"/>
                <a:gd name="T25" fmla="*/ 114 h 195"/>
                <a:gd name="T26" fmla="*/ 122 w 122"/>
                <a:gd name="T27" fmla="*/ 61 h 195"/>
                <a:gd name="T28" fmla="*/ 61 w 122"/>
                <a:gd name="T29" fmla="*/ 0 h 195"/>
                <a:gd name="T30" fmla="*/ 0 w 122"/>
                <a:gd name="T31" fmla="*/ 61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2" h="195">
                  <a:moveTo>
                    <a:pt x="0" y="61"/>
                  </a:moveTo>
                  <a:cubicBezTo>
                    <a:pt x="0" y="85"/>
                    <a:pt x="14" y="105"/>
                    <a:pt x="33" y="115"/>
                  </a:cubicBezTo>
                  <a:cubicBezTo>
                    <a:pt x="33" y="151"/>
                    <a:pt x="33" y="151"/>
                    <a:pt x="33" y="151"/>
                  </a:cubicBezTo>
                  <a:cubicBezTo>
                    <a:pt x="47" y="151"/>
                    <a:pt x="47" y="151"/>
                    <a:pt x="47" y="151"/>
                  </a:cubicBezTo>
                  <a:cubicBezTo>
                    <a:pt x="47" y="166"/>
                    <a:pt x="47" y="166"/>
                    <a:pt x="47" y="166"/>
                  </a:cubicBezTo>
                  <a:cubicBezTo>
                    <a:pt x="56" y="166"/>
                    <a:pt x="56" y="166"/>
                    <a:pt x="56" y="166"/>
                  </a:cubicBezTo>
                  <a:cubicBezTo>
                    <a:pt x="56" y="195"/>
                    <a:pt x="56" y="195"/>
                    <a:pt x="56" y="195"/>
                  </a:cubicBezTo>
                  <a:cubicBezTo>
                    <a:pt x="71" y="195"/>
                    <a:pt x="71" y="195"/>
                    <a:pt x="71" y="195"/>
                  </a:cubicBezTo>
                  <a:cubicBezTo>
                    <a:pt x="71" y="166"/>
                    <a:pt x="71" y="166"/>
                    <a:pt x="71" y="166"/>
                  </a:cubicBezTo>
                  <a:cubicBezTo>
                    <a:pt x="79" y="166"/>
                    <a:pt x="79" y="166"/>
                    <a:pt x="79" y="166"/>
                  </a:cubicBezTo>
                  <a:cubicBezTo>
                    <a:pt x="79" y="151"/>
                    <a:pt x="79" y="151"/>
                    <a:pt x="79" y="151"/>
                  </a:cubicBezTo>
                  <a:cubicBezTo>
                    <a:pt x="91" y="151"/>
                    <a:pt x="91" y="151"/>
                    <a:pt x="91" y="151"/>
                  </a:cubicBezTo>
                  <a:cubicBezTo>
                    <a:pt x="91" y="114"/>
                    <a:pt x="91" y="114"/>
                    <a:pt x="91" y="114"/>
                  </a:cubicBezTo>
                  <a:cubicBezTo>
                    <a:pt x="110" y="104"/>
                    <a:pt x="122" y="84"/>
                    <a:pt x="122" y="61"/>
                  </a:cubicBezTo>
                  <a:cubicBezTo>
                    <a:pt x="122" y="28"/>
                    <a:pt x="95" y="0"/>
                    <a:pt x="61" y="0"/>
                  </a:cubicBezTo>
                  <a:cubicBezTo>
                    <a:pt x="28" y="0"/>
                    <a:pt x="0" y="28"/>
                    <a:pt x="0" y="6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0" name="Freeform 10"/>
            <p:cNvSpPr>
              <a:spLocks/>
            </p:cNvSpPr>
            <p:nvPr/>
          </p:nvSpPr>
          <p:spPr bwMode="auto">
            <a:xfrm>
              <a:off x="-3235325" y="6938963"/>
              <a:ext cx="2992437" cy="671513"/>
            </a:xfrm>
            <a:custGeom>
              <a:avLst/>
              <a:gdLst>
                <a:gd name="T0" fmla="*/ 777 w 1885"/>
                <a:gd name="T1" fmla="*/ 313 h 423"/>
                <a:gd name="T2" fmla="*/ 777 w 1885"/>
                <a:gd name="T3" fmla="*/ 143 h 423"/>
                <a:gd name="T4" fmla="*/ 685 w 1885"/>
                <a:gd name="T5" fmla="*/ 143 h 423"/>
                <a:gd name="T6" fmla="*/ 685 w 1885"/>
                <a:gd name="T7" fmla="*/ 0 h 423"/>
                <a:gd name="T8" fmla="*/ 173 w 1885"/>
                <a:gd name="T9" fmla="*/ 0 h 423"/>
                <a:gd name="T10" fmla="*/ 173 w 1885"/>
                <a:gd name="T11" fmla="*/ 143 h 423"/>
                <a:gd name="T12" fmla="*/ 80 w 1885"/>
                <a:gd name="T13" fmla="*/ 143 h 423"/>
                <a:gd name="T14" fmla="*/ 80 w 1885"/>
                <a:gd name="T15" fmla="*/ 313 h 423"/>
                <a:gd name="T16" fmla="*/ 0 w 1885"/>
                <a:gd name="T17" fmla="*/ 313 h 423"/>
                <a:gd name="T18" fmla="*/ 0 w 1885"/>
                <a:gd name="T19" fmla="*/ 423 h 423"/>
                <a:gd name="T20" fmla="*/ 1885 w 1885"/>
                <a:gd name="T21" fmla="*/ 423 h 423"/>
                <a:gd name="T22" fmla="*/ 1885 w 1885"/>
                <a:gd name="T23" fmla="*/ 313 h 423"/>
                <a:gd name="T24" fmla="*/ 777 w 1885"/>
                <a:gd name="T25" fmla="*/ 313 h 4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5" h="423">
                  <a:moveTo>
                    <a:pt x="777" y="313"/>
                  </a:moveTo>
                  <a:lnTo>
                    <a:pt x="777" y="143"/>
                  </a:lnTo>
                  <a:lnTo>
                    <a:pt x="685" y="143"/>
                  </a:lnTo>
                  <a:lnTo>
                    <a:pt x="685" y="0"/>
                  </a:lnTo>
                  <a:lnTo>
                    <a:pt x="173" y="0"/>
                  </a:lnTo>
                  <a:lnTo>
                    <a:pt x="173" y="143"/>
                  </a:lnTo>
                  <a:lnTo>
                    <a:pt x="80" y="143"/>
                  </a:lnTo>
                  <a:lnTo>
                    <a:pt x="80" y="313"/>
                  </a:lnTo>
                  <a:lnTo>
                    <a:pt x="0" y="313"/>
                  </a:lnTo>
                  <a:lnTo>
                    <a:pt x="0" y="423"/>
                  </a:lnTo>
                  <a:lnTo>
                    <a:pt x="1885" y="423"/>
                  </a:lnTo>
                  <a:lnTo>
                    <a:pt x="1885" y="313"/>
                  </a:lnTo>
                  <a:lnTo>
                    <a:pt x="777" y="3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1" name="Freeform 11"/>
            <p:cNvSpPr>
              <a:spLocks/>
            </p:cNvSpPr>
            <p:nvPr/>
          </p:nvSpPr>
          <p:spPr bwMode="auto">
            <a:xfrm>
              <a:off x="-3100388" y="5813425"/>
              <a:ext cx="1009650" cy="1004888"/>
            </a:xfrm>
            <a:custGeom>
              <a:avLst/>
              <a:gdLst>
                <a:gd name="T0" fmla="*/ 0 w 268"/>
                <a:gd name="T1" fmla="*/ 55 h 267"/>
                <a:gd name="T2" fmla="*/ 53 w 268"/>
                <a:gd name="T3" fmla="*/ 203 h 267"/>
                <a:gd name="T4" fmla="*/ 15 w 268"/>
                <a:gd name="T5" fmla="*/ 203 h 267"/>
                <a:gd name="T6" fmla="*/ 15 w 268"/>
                <a:gd name="T7" fmla="*/ 267 h 267"/>
                <a:gd name="T8" fmla="*/ 268 w 268"/>
                <a:gd name="T9" fmla="*/ 267 h 267"/>
                <a:gd name="T10" fmla="*/ 268 w 268"/>
                <a:gd name="T11" fmla="*/ 203 h 267"/>
                <a:gd name="T12" fmla="*/ 230 w 268"/>
                <a:gd name="T13" fmla="*/ 203 h 267"/>
                <a:gd name="T14" fmla="*/ 131 w 268"/>
                <a:gd name="T15" fmla="*/ 0 h 267"/>
                <a:gd name="T16" fmla="*/ 15 w 268"/>
                <a:gd name="T17" fmla="*/ 56 h 267"/>
                <a:gd name="T18" fmla="*/ 0 w 268"/>
                <a:gd name="T19" fmla="*/ 55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68" h="267">
                  <a:moveTo>
                    <a:pt x="0" y="55"/>
                  </a:moveTo>
                  <a:cubicBezTo>
                    <a:pt x="53" y="203"/>
                    <a:pt x="53" y="203"/>
                    <a:pt x="53" y="203"/>
                  </a:cubicBezTo>
                  <a:cubicBezTo>
                    <a:pt x="15" y="203"/>
                    <a:pt x="15" y="203"/>
                    <a:pt x="15" y="203"/>
                  </a:cubicBezTo>
                  <a:cubicBezTo>
                    <a:pt x="15" y="267"/>
                    <a:pt x="15" y="267"/>
                    <a:pt x="15" y="267"/>
                  </a:cubicBezTo>
                  <a:cubicBezTo>
                    <a:pt x="268" y="267"/>
                    <a:pt x="268" y="267"/>
                    <a:pt x="268" y="267"/>
                  </a:cubicBezTo>
                  <a:cubicBezTo>
                    <a:pt x="268" y="203"/>
                    <a:pt x="268" y="203"/>
                    <a:pt x="268" y="203"/>
                  </a:cubicBezTo>
                  <a:cubicBezTo>
                    <a:pt x="230" y="203"/>
                    <a:pt x="230" y="203"/>
                    <a:pt x="230" y="203"/>
                  </a:cubicBezTo>
                  <a:cubicBezTo>
                    <a:pt x="131" y="0"/>
                    <a:pt x="131" y="0"/>
                    <a:pt x="131" y="0"/>
                  </a:cubicBezTo>
                  <a:cubicBezTo>
                    <a:pt x="104" y="34"/>
                    <a:pt x="62" y="56"/>
                    <a:pt x="15" y="56"/>
                  </a:cubicBezTo>
                  <a:cubicBezTo>
                    <a:pt x="10" y="56"/>
                    <a:pt x="5" y="56"/>
                    <a:pt x="0" y="5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2" name="Freeform 12"/>
            <p:cNvSpPr>
              <a:spLocks/>
            </p:cNvSpPr>
            <p:nvPr/>
          </p:nvSpPr>
          <p:spPr bwMode="auto">
            <a:xfrm>
              <a:off x="-2562225" y="5251450"/>
              <a:ext cx="719137" cy="493713"/>
            </a:xfrm>
            <a:custGeom>
              <a:avLst/>
              <a:gdLst>
                <a:gd name="T0" fmla="*/ 186 w 191"/>
                <a:gd name="T1" fmla="*/ 114 h 131"/>
                <a:gd name="T2" fmla="*/ 174 w 191"/>
                <a:gd name="T3" fmla="*/ 64 h 131"/>
                <a:gd name="T4" fmla="*/ 191 w 191"/>
                <a:gd name="T5" fmla="*/ 5 h 131"/>
                <a:gd name="T6" fmla="*/ 9 w 191"/>
                <a:gd name="T7" fmla="*/ 0 h 131"/>
                <a:gd name="T8" fmla="*/ 20 w 191"/>
                <a:gd name="T9" fmla="*/ 57 h 131"/>
                <a:gd name="T10" fmla="*/ 0 w 191"/>
                <a:gd name="T11" fmla="*/ 131 h 131"/>
                <a:gd name="T12" fmla="*/ 186 w 191"/>
                <a:gd name="T13" fmla="*/ 114 h 131"/>
              </a:gdLst>
              <a:ahLst/>
              <a:cxnLst>
                <a:cxn ang="0">
                  <a:pos x="T0" y="T1"/>
                </a:cxn>
                <a:cxn ang="0">
                  <a:pos x="T2" y="T3"/>
                </a:cxn>
                <a:cxn ang="0">
                  <a:pos x="T4" y="T5"/>
                </a:cxn>
                <a:cxn ang="0">
                  <a:pos x="T6" y="T7"/>
                </a:cxn>
                <a:cxn ang="0">
                  <a:pos x="T8" y="T9"/>
                </a:cxn>
                <a:cxn ang="0">
                  <a:pos x="T10" y="T11"/>
                </a:cxn>
                <a:cxn ang="0">
                  <a:pos x="T12" y="T13"/>
                </a:cxn>
              </a:cxnLst>
              <a:rect l="0" t="0" r="r" b="b"/>
              <a:pathLst>
                <a:path w="191" h="131">
                  <a:moveTo>
                    <a:pt x="186" y="114"/>
                  </a:moveTo>
                  <a:cubicBezTo>
                    <a:pt x="179" y="99"/>
                    <a:pt x="174" y="82"/>
                    <a:pt x="174" y="64"/>
                  </a:cubicBezTo>
                  <a:cubicBezTo>
                    <a:pt x="174" y="42"/>
                    <a:pt x="180" y="22"/>
                    <a:pt x="191" y="5"/>
                  </a:cubicBezTo>
                  <a:cubicBezTo>
                    <a:pt x="9" y="0"/>
                    <a:pt x="9" y="0"/>
                    <a:pt x="9" y="0"/>
                  </a:cubicBezTo>
                  <a:cubicBezTo>
                    <a:pt x="16" y="17"/>
                    <a:pt x="20" y="37"/>
                    <a:pt x="20" y="57"/>
                  </a:cubicBezTo>
                  <a:cubicBezTo>
                    <a:pt x="20" y="84"/>
                    <a:pt x="13" y="109"/>
                    <a:pt x="0" y="131"/>
                  </a:cubicBezTo>
                  <a:lnTo>
                    <a:pt x="186" y="1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23" name="Freeform 13"/>
            <p:cNvSpPr>
              <a:spLocks/>
            </p:cNvSpPr>
            <p:nvPr/>
          </p:nvSpPr>
          <p:spPr bwMode="auto">
            <a:xfrm>
              <a:off x="-1447800" y="5699125"/>
              <a:ext cx="877887" cy="957263"/>
            </a:xfrm>
            <a:custGeom>
              <a:avLst/>
              <a:gdLst>
                <a:gd name="T0" fmla="*/ 155 w 233"/>
                <a:gd name="T1" fmla="*/ 254 h 254"/>
                <a:gd name="T2" fmla="*/ 233 w 233"/>
                <a:gd name="T3" fmla="*/ 197 h 254"/>
                <a:gd name="T4" fmla="*/ 86 w 233"/>
                <a:gd name="T5" fmla="*/ 0 h 254"/>
                <a:gd name="T6" fmla="*/ 0 w 233"/>
                <a:gd name="T7" fmla="*/ 55 h 254"/>
                <a:gd name="T8" fmla="*/ 155 w 233"/>
                <a:gd name="T9" fmla="*/ 254 h 254"/>
              </a:gdLst>
              <a:ahLst/>
              <a:cxnLst>
                <a:cxn ang="0">
                  <a:pos x="T0" y="T1"/>
                </a:cxn>
                <a:cxn ang="0">
                  <a:pos x="T2" y="T3"/>
                </a:cxn>
                <a:cxn ang="0">
                  <a:pos x="T4" y="T5"/>
                </a:cxn>
                <a:cxn ang="0">
                  <a:pos x="T6" y="T7"/>
                </a:cxn>
                <a:cxn ang="0">
                  <a:pos x="T8" y="T9"/>
                </a:cxn>
              </a:cxnLst>
              <a:rect l="0" t="0" r="r" b="b"/>
              <a:pathLst>
                <a:path w="233" h="254">
                  <a:moveTo>
                    <a:pt x="155" y="254"/>
                  </a:moveTo>
                  <a:cubicBezTo>
                    <a:pt x="166" y="222"/>
                    <a:pt x="197" y="198"/>
                    <a:pt x="233" y="197"/>
                  </a:cubicBezTo>
                  <a:cubicBezTo>
                    <a:pt x="86" y="0"/>
                    <a:pt x="86" y="0"/>
                    <a:pt x="86" y="0"/>
                  </a:cubicBezTo>
                  <a:cubicBezTo>
                    <a:pt x="68" y="30"/>
                    <a:pt x="37" y="52"/>
                    <a:pt x="0" y="55"/>
                  </a:cubicBezTo>
                  <a:lnTo>
                    <a:pt x="155" y="2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grpSp>
        <p:nvGrpSpPr>
          <p:cNvPr id="27" name="Group 26"/>
          <p:cNvGrpSpPr/>
          <p:nvPr/>
        </p:nvGrpSpPr>
        <p:grpSpPr>
          <a:xfrm>
            <a:off x="10113390" y="3540267"/>
            <a:ext cx="501622" cy="669466"/>
            <a:chOff x="835910" y="4221820"/>
            <a:chExt cx="511681" cy="682890"/>
          </a:xfrm>
          <a:solidFill>
            <a:schemeClr val="bg1">
              <a:lumMod val="95000"/>
            </a:schemeClr>
          </a:solidFill>
        </p:grpSpPr>
        <p:sp>
          <p:nvSpPr>
            <p:cNvPr id="132" name="Freeform 5"/>
            <p:cNvSpPr>
              <a:spLocks noEditPoints="1"/>
            </p:cNvSpPr>
            <p:nvPr/>
          </p:nvSpPr>
          <p:spPr bwMode="auto">
            <a:xfrm>
              <a:off x="835910" y="4509762"/>
              <a:ext cx="321406" cy="394948"/>
            </a:xfrm>
            <a:custGeom>
              <a:avLst/>
              <a:gdLst>
                <a:gd name="T0" fmla="*/ 0 w 826"/>
                <a:gd name="T1" fmla="*/ 0 h 1015"/>
                <a:gd name="T2" fmla="*/ 0 w 826"/>
                <a:gd name="T3" fmla="*/ 1015 h 1015"/>
                <a:gd name="T4" fmla="*/ 268 w 826"/>
                <a:gd name="T5" fmla="*/ 1015 h 1015"/>
                <a:gd name="T6" fmla="*/ 268 w 826"/>
                <a:gd name="T7" fmla="*/ 806 h 1015"/>
                <a:gd name="T8" fmla="*/ 375 w 826"/>
                <a:gd name="T9" fmla="*/ 806 h 1015"/>
                <a:gd name="T10" fmla="*/ 375 w 826"/>
                <a:gd name="T11" fmla="*/ 1015 h 1015"/>
                <a:gd name="T12" fmla="*/ 453 w 826"/>
                <a:gd name="T13" fmla="*/ 1015 h 1015"/>
                <a:gd name="T14" fmla="*/ 453 w 826"/>
                <a:gd name="T15" fmla="*/ 806 h 1015"/>
                <a:gd name="T16" fmla="*/ 563 w 826"/>
                <a:gd name="T17" fmla="*/ 806 h 1015"/>
                <a:gd name="T18" fmla="*/ 563 w 826"/>
                <a:gd name="T19" fmla="*/ 1015 h 1015"/>
                <a:gd name="T20" fmla="*/ 826 w 826"/>
                <a:gd name="T21" fmla="*/ 1015 h 1015"/>
                <a:gd name="T22" fmla="*/ 826 w 826"/>
                <a:gd name="T23" fmla="*/ 0 h 1015"/>
                <a:gd name="T24" fmla="*/ 0 w 826"/>
                <a:gd name="T25" fmla="*/ 0 h 1015"/>
                <a:gd name="T26" fmla="*/ 748 w 826"/>
                <a:gd name="T27" fmla="*/ 740 h 1015"/>
                <a:gd name="T28" fmla="*/ 83 w 826"/>
                <a:gd name="T29" fmla="*/ 740 h 1015"/>
                <a:gd name="T30" fmla="*/ 83 w 826"/>
                <a:gd name="T31" fmla="*/ 633 h 1015"/>
                <a:gd name="T32" fmla="*/ 748 w 826"/>
                <a:gd name="T33" fmla="*/ 633 h 1015"/>
                <a:gd name="T34" fmla="*/ 748 w 826"/>
                <a:gd name="T35" fmla="*/ 740 h 1015"/>
                <a:gd name="T36" fmla="*/ 748 w 826"/>
                <a:gd name="T37" fmla="*/ 555 h 1015"/>
                <a:gd name="T38" fmla="*/ 83 w 826"/>
                <a:gd name="T39" fmla="*/ 555 h 1015"/>
                <a:gd name="T40" fmla="*/ 83 w 826"/>
                <a:gd name="T41" fmla="*/ 448 h 1015"/>
                <a:gd name="T42" fmla="*/ 748 w 826"/>
                <a:gd name="T43" fmla="*/ 448 h 1015"/>
                <a:gd name="T44" fmla="*/ 748 w 826"/>
                <a:gd name="T45" fmla="*/ 555 h 1015"/>
                <a:gd name="T46" fmla="*/ 748 w 826"/>
                <a:gd name="T47" fmla="*/ 372 h 1015"/>
                <a:gd name="T48" fmla="*/ 83 w 826"/>
                <a:gd name="T49" fmla="*/ 372 h 1015"/>
                <a:gd name="T50" fmla="*/ 83 w 826"/>
                <a:gd name="T51" fmla="*/ 266 h 1015"/>
                <a:gd name="T52" fmla="*/ 748 w 826"/>
                <a:gd name="T53" fmla="*/ 266 h 1015"/>
                <a:gd name="T54" fmla="*/ 748 w 826"/>
                <a:gd name="T55" fmla="*/ 372 h 1015"/>
                <a:gd name="T56" fmla="*/ 748 w 826"/>
                <a:gd name="T57" fmla="*/ 187 h 1015"/>
                <a:gd name="T58" fmla="*/ 83 w 826"/>
                <a:gd name="T59" fmla="*/ 187 h 1015"/>
                <a:gd name="T60" fmla="*/ 83 w 826"/>
                <a:gd name="T61" fmla="*/ 81 h 1015"/>
                <a:gd name="T62" fmla="*/ 748 w 826"/>
                <a:gd name="T63" fmla="*/ 81 h 1015"/>
                <a:gd name="T64" fmla="*/ 748 w 826"/>
                <a:gd name="T65" fmla="*/ 187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6" h="1015">
                  <a:moveTo>
                    <a:pt x="0" y="0"/>
                  </a:moveTo>
                  <a:lnTo>
                    <a:pt x="0" y="1015"/>
                  </a:lnTo>
                  <a:lnTo>
                    <a:pt x="268" y="1015"/>
                  </a:lnTo>
                  <a:lnTo>
                    <a:pt x="268" y="806"/>
                  </a:lnTo>
                  <a:lnTo>
                    <a:pt x="375" y="806"/>
                  </a:lnTo>
                  <a:lnTo>
                    <a:pt x="375" y="1015"/>
                  </a:lnTo>
                  <a:lnTo>
                    <a:pt x="453" y="1015"/>
                  </a:lnTo>
                  <a:lnTo>
                    <a:pt x="453" y="806"/>
                  </a:lnTo>
                  <a:lnTo>
                    <a:pt x="563" y="806"/>
                  </a:lnTo>
                  <a:lnTo>
                    <a:pt x="563" y="1015"/>
                  </a:lnTo>
                  <a:lnTo>
                    <a:pt x="826" y="1015"/>
                  </a:lnTo>
                  <a:lnTo>
                    <a:pt x="826" y="0"/>
                  </a:lnTo>
                  <a:lnTo>
                    <a:pt x="0" y="0"/>
                  </a:lnTo>
                  <a:close/>
                  <a:moveTo>
                    <a:pt x="748" y="740"/>
                  </a:moveTo>
                  <a:lnTo>
                    <a:pt x="83" y="740"/>
                  </a:lnTo>
                  <a:lnTo>
                    <a:pt x="83" y="633"/>
                  </a:lnTo>
                  <a:lnTo>
                    <a:pt x="748" y="633"/>
                  </a:lnTo>
                  <a:lnTo>
                    <a:pt x="748" y="740"/>
                  </a:lnTo>
                  <a:close/>
                  <a:moveTo>
                    <a:pt x="748" y="555"/>
                  </a:moveTo>
                  <a:lnTo>
                    <a:pt x="83" y="555"/>
                  </a:lnTo>
                  <a:lnTo>
                    <a:pt x="83" y="448"/>
                  </a:lnTo>
                  <a:lnTo>
                    <a:pt x="748" y="448"/>
                  </a:lnTo>
                  <a:lnTo>
                    <a:pt x="748" y="555"/>
                  </a:lnTo>
                  <a:close/>
                  <a:moveTo>
                    <a:pt x="748" y="372"/>
                  </a:moveTo>
                  <a:lnTo>
                    <a:pt x="83" y="372"/>
                  </a:lnTo>
                  <a:lnTo>
                    <a:pt x="83" y="266"/>
                  </a:lnTo>
                  <a:lnTo>
                    <a:pt x="748" y="266"/>
                  </a:lnTo>
                  <a:lnTo>
                    <a:pt x="748" y="372"/>
                  </a:lnTo>
                  <a:close/>
                  <a:moveTo>
                    <a:pt x="748" y="187"/>
                  </a:moveTo>
                  <a:lnTo>
                    <a:pt x="83" y="187"/>
                  </a:lnTo>
                  <a:lnTo>
                    <a:pt x="83" y="81"/>
                  </a:lnTo>
                  <a:lnTo>
                    <a:pt x="748" y="81"/>
                  </a:lnTo>
                  <a:lnTo>
                    <a:pt x="748"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sp>
          <p:nvSpPr>
            <p:cNvPr id="133" name="Freeform 6"/>
            <p:cNvSpPr>
              <a:spLocks noEditPoints="1"/>
            </p:cNvSpPr>
            <p:nvPr/>
          </p:nvSpPr>
          <p:spPr bwMode="auto">
            <a:xfrm>
              <a:off x="1026963" y="4221820"/>
              <a:ext cx="320628" cy="682890"/>
            </a:xfrm>
            <a:custGeom>
              <a:avLst/>
              <a:gdLst>
                <a:gd name="T0" fmla="*/ 0 w 824"/>
                <a:gd name="T1" fmla="*/ 0 h 1755"/>
                <a:gd name="T2" fmla="*/ 0 w 824"/>
                <a:gd name="T3" fmla="*/ 686 h 1755"/>
                <a:gd name="T4" fmla="*/ 81 w 824"/>
                <a:gd name="T5" fmla="*/ 686 h 1755"/>
                <a:gd name="T6" fmla="*/ 81 w 824"/>
                <a:gd name="T7" fmla="*/ 636 h 1755"/>
                <a:gd name="T8" fmla="*/ 748 w 824"/>
                <a:gd name="T9" fmla="*/ 636 h 1755"/>
                <a:gd name="T10" fmla="*/ 748 w 824"/>
                <a:gd name="T11" fmla="*/ 742 h 1755"/>
                <a:gd name="T12" fmla="*/ 414 w 824"/>
                <a:gd name="T13" fmla="*/ 742 h 1755"/>
                <a:gd name="T14" fmla="*/ 414 w 824"/>
                <a:gd name="T15" fmla="*/ 821 h 1755"/>
                <a:gd name="T16" fmla="*/ 748 w 824"/>
                <a:gd name="T17" fmla="*/ 821 h 1755"/>
                <a:gd name="T18" fmla="*/ 748 w 824"/>
                <a:gd name="T19" fmla="*/ 927 h 1755"/>
                <a:gd name="T20" fmla="*/ 414 w 824"/>
                <a:gd name="T21" fmla="*/ 927 h 1755"/>
                <a:gd name="T22" fmla="*/ 414 w 824"/>
                <a:gd name="T23" fmla="*/ 1006 h 1755"/>
                <a:gd name="T24" fmla="*/ 748 w 824"/>
                <a:gd name="T25" fmla="*/ 1006 h 1755"/>
                <a:gd name="T26" fmla="*/ 748 w 824"/>
                <a:gd name="T27" fmla="*/ 1112 h 1755"/>
                <a:gd name="T28" fmla="*/ 414 w 824"/>
                <a:gd name="T29" fmla="*/ 1112 h 1755"/>
                <a:gd name="T30" fmla="*/ 414 w 824"/>
                <a:gd name="T31" fmla="*/ 1188 h 1755"/>
                <a:gd name="T32" fmla="*/ 748 w 824"/>
                <a:gd name="T33" fmla="*/ 1188 h 1755"/>
                <a:gd name="T34" fmla="*/ 748 w 824"/>
                <a:gd name="T35" fmla="*/ 1295 h 1755"/>
                <a:gd name="T36" fmla="*/ 414 w 824"/>
                <a:gd name="T37" fmla="*/ 1295 h 1755"/>
                <a:gd name="T38" fmla="*/ 414 w 824"/>
                <a:gd name="T39" fmla="*/ 1373 h 1755"/>
                <a:gd name="T40" fmla="*/ 748 w 824"/>
                <a:gd name="T41" fmla="*/ 1373 h 1755"/>
                <a:gd name="T42" fmla="*/ 748 w 824"/>
                <a:gd name="T43" fmla="*/ 1480 h 1755"/>
                <a:gd name="T44" fmla="*/ 414 w 824"/>
                <a:gd name="T45" fmla="*/ 1480 h 1755"/>
                <a:gd name="T46" fmla="*/ 414 w 824"/>
                <a:gd name="T47" fmla="*/ 1755 h 1755"/>
                <a:gd name="T48" fmla="*/ 454 w 824"/>
                <a:gd name="T49" fmla="*/ 1755 h 1755"/>
                <a:gd name="T50" fmla="*/ 454 w 824"/>
                <a:gd name="T51" fmla="*/ 1546 h 1755"/>
                <a:gd name="T52" fmla="*/ 561 w 824"/>
                <a:gd name="T53" fmla="*/ 1546 h 1755"/>
                <a:gd name="T54" fmla="*/ 561 w 824"/>
                <a:gd name="T55" fmla="*/ 1755 h 1755"/>
                <a:gd name="T56" fmla="*/ 824 w 824"/>
                <a:gd name="T57" fmla="*/ 1755 h 1755"/>
                <a:gd name="T58" fmla="*/ 824 w 824"/>
                <a:gd name="T59" fmla="*/ 0 h 1755"/>
                <a:gd name="T60" fmla="*/ 0 w 824"/>
                <a:gd name="T61" fmla="*/ 0 h 1755"/>
                <a:gd name="T62" fmla="*/ 748 w 824"/>
                <a:gd name="T63" fmla="*/ 558 h 1755"/>
                <a:gd name="T64" fmla="*/ 81 w 824"/>
                <a:gd name="T65" fmla="*/ 558 h 1755"/>
                <a:gd name="T66" fmla="*/ 81 w 824"/>
                <a:gd name="T67" fmla="*/ 451 h 1755"/>
                <a:gd name="T68" fmla="*/ 748 w 824"/>
                <a:gd name="T69" fmla="*/ 451 h 1755"/>
                <a:gd name="T70" fmla="*/ 748 w 824"/>
                <a:gd name="T71" fmla="*/ 558 h 1755"/>
                <a:gd name="T72" fmla="*/ 748 w 824"/>
                <a:gd name="T73" fmla="*/ 375 h 1755"/>
                <a:gd name="T74" fmla="*/ 81 w 824"/>
                <a:gd name="T75" fmla="*/ 375 h 1755"/>
                <a:gd name="T76" fmla="*/ 81 w 824"/>
                <a:gd name="T77" fmla="*/ 268 h 1755"/>
                <a:gd name="T78" fmla="*/ 748 w 824"/>
                <a:gd name="T79" fmla="*/ 268 h 1755"/>
                <a:gd name="T80" fmla="*/ 748 w 824"/>
                <a:gd name="T81" fmla="*/ 375 h 1755"/>
                <a:gd name="T82" fmla="*/ 748 w 824"/>
                <a:gd name="T83" fmla="*/ 190 h 1755"/>
                <a:gd name="T84" fmla="*/ 81 w 824"/>
                <a:gd name="T85" fmla="*/ 190 h 1755"/>
                <a:gd name="T86" fmla="*/ 81 w 824"/>
                <a:gd name="T87" fmla="*/ 83 h 1755"/>
                <a:gd name="T88" fmla="*/ 748 w 824"/>
                <a:gd name="T89" fmla="*/ 83 h 1755"/>
                <a:gd name="T90" fmla="*/ 748 w 824"/>
                <a:gd name="T91" fmla="*/ 19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5">
                  <a:moveTo>
                    <a:pt x="0" y="0"/>
                  </a:moveTo>
                  <a:lnTo>
                    <a:pt x="0" y="686"/>
                  </a:lnTo>
                  <a:lnTo>
                    <a:pt x="81" y="686"/>
                  </a:lnTo>
                  <a:lnTo>
                    <a:pt x="81" y="636"/>
                  </a:lnTo>
                  <a:lnTo>
                    <a:pt x="748" y="636"/>
                  </a:lnTo>
                  <a:lnTo>
                    <a:pt x="748" y="742"/>
                  </a:lnTo>
                  <a:lnTo>
                    <a:pt x="414" y="742"/>
                  </a:lnTo>
                  <a:lnTo>
                    <a:pt x="414" y="821"/>
                  </a:lnTo>
                  <a:lnTo>
                    <a:pt x="748" y="821"/>
                  </a:lnTo>
                  <a:lnTo>
                    <a:pt x="748" y="927"/>
                  </a:lnTo>
                  <a:lnTo>
                    <a:pt x="414" y="927"/>
                  </a:lnTo>
                  <a:lnTo>
                    <a:pt x="414" y="1006"/>
                  </a:lnTo>
                  <a:lnTo>
                    <a:pt x="748" y="1006"/>
                  </a:lnTo>
                  <a:lnTo>
                    <a:pt x="748" y="1112"/>
                  </a:lnTo>
                  <a:lnTo>
                    <a:pt x="414" y="1112"/>
                  </a:lnTo>
                  <a:lnTo>
                    <a:pt x="414" y="1188"/>
                  </a:lnTo>
                  <a:lnTo>
                    <a:pt x="748" y="1188"/>
                  </a:lnTo>
                  <a:lnTo>
                    <a:pt x="748" y="1295"/>
                  </a:lnTo>
                  <a:lnTo>
                    <a:pt x="414" y="1295"/>
                  </a:lnTo>
                  <a:lnTo>
                    <a:pt x="414" y="1373"/>
                  </a:lnTo>
                  <a:lnTo>
                    <a:pt x="748" y="1373"/>
                  </a:lnTo>
                  <a:lnTo>
                    <a:pt x="748" y="1480"/>
                  </a:lnTo>
                  <a:lnTo>
                    <a:pt x="414" y="1480"/>
                  </a:lnTo>
                  <a:lnTo>
                    <a:pt x="414" y="1755"/>
                  </a:lnTo>
                  <a:lnTo>
                    <a:pt x="454" y="1755"/>
                  </a:lnTo>
                  <a:lnTo>
                    <a:pt x="454" y="1546"/>
                  </a:lnTo>
                  <a:lnTo>
                    <a:pt x="561" y="1546"/>
                  </a:lnTo>
                  <a:lnTo>
                    <a:pt x="561" y="1755"/>
                  </a:lnTo>
                  <a:lnTo>
                    <a:pt x="824" y="1755"/>
                  </a:lnTo>
                  <a:lnTo>
                    <a:pt x="824" y="0"/>
                  </a:lnTo>
                  <a:lnTo>
                    <a:pt x="0" y="0"/>
                  </a:lnTo>
                  <a:close/>
                  <a:moveTo>
                    <a:pt x="748" y="558"/>
                  </a:moveTo>
                  <a:lnTo>
                    <a:pt x="81" y="558"/>
                  </a:lnTo>
                  <a:lnTo>
                    <a:pt x="81" y="451"/>
                  </a:lnTo>
                  <a:lnTo>
                    <a:pt x="748" y="451"/>
                  </a:lnTo>
                  <a:lnTo>
                    <a:pt x="748" y="558"/>
                  </a:lnTo>
                  <a:close/>
                  <a:moveTo>
                    <a:pt x="748" y="375"/>
                  </a:moveTo>
                  <a:lnTo>
                    <a:pt x="81" y="375"/>
                  </a:lnTo>
                  <a:lnTo>
                    <a:pt x="81" y="268"/>
                  </a:lnTo>
                  <a:lnTo>
                    <a:pt x="748" y="268"/>
                  </a:lnTo>
                  <a:lnTo>
                    <a:pt x="748" y="375"/>
                  </a:lnTo>
                  <a:close/>
                  <a:moveTo>
                    <a:pt x="748" y="190"/>
                  </a:moveTo>
                  <a:lnTo>
                    <a:pt x="81" y="190"/>
                  </a:lnTo>
                  <a:lnTo>
                    <a:pt x="81" y="83"/>
                  </a:lnTo>
                  <a:lnTo>
                    <a:pt x="748" y="83"/>
                  </a:lnTo>
                  <a:lnTo>
                    <a:pt x="748" y="19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223957937"/>
      </p:ext>
    </p:extLst>
  </p:cSld>
  <p:clrMapOvr>
    <a:masterClrMapping/>
  </p:clrMapOvr>
  <p:transition>
    <p:wip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 name="Picture 136"/>
          <p:cNvPicPr>
            <a:picLocks noChangeAspect="1"/>
          </p:cNvPicPr>
          <p:nvPr/>
        </p:nvPicPr>
        <p:blipFill rotWithShape="1">
          <a:blip r:embed="rId3"/>
          <a:srcRect l="-10871" t="-350" r="15472" b="24475"/>
          <a:stretch/>
        </p:blipFill>
        <p:spPr>
          <a:xfrm>
            <a:off x="4966071" y="3773254"/>
            <a:ext cx="7225067" cy="3083776"/>
          </a:xfrm>
          <a:prstGeom prst="rect">
            <a:avLst/>
          </a:prstGeom>
        </p:spPr>
      </p:pic>
      <p:sp>
        <p:nvSpPr>
          <p:cNvPr id="2" name="Title 1"/>
          <p:cNvSpPr>
            <a:spLocks noGrp="1"/>
          </p:cNvSpPr>
          <p:nvPr>
            <p:ph type="title"/>
          </p:nvPr>
        </p:nvSpPr>
        <p:spPr>
          <a:xfrm>
            <a:off x="0" y="72101"/>
            <a:ext cx="10515600" cy="765228"/>
          </a:xfrm>
        </p:spPr>
        <p:txBody>
          <a:bodyPr>
            <a:normAutofit/>
          </a:bodyPr>
          <a:lstStyle/>
          <a:p>
            <a:r>
              <a:rPr lang="en-US" sz="4400" dirty="0" smtClean="0">
                <a:latin typeface="Segoe UI Light" panose="020B0502040204020203" pitchFamily="34" charset="0"/>
                <a:cs typeface="Segoe UI Light" panose="020B0502040204020203" pitchFamily="34" charset="0"/>
              </a:rPr>
              <a:t>Bringing the Internet of Things to life</a:t>
            </a:r>
            <a:endParaRPr lang="en-IN" sz="4400" dirty="0">
              <a:latin typeface="Segoe UI Light" panose="020B0502040204020203" pitchFamily="34" charset="0"/>
              <a:cs typeface="Segoe UI Light" panose="020B0502040204020203" pitchFamily="34" charset="0"/>
            </a:endParaRPr>
          </a:p>
        </p:txBody>
      </p:sp>
      <p:sp>
        <p:nvSpPr>
          <p:cNvPr id="81" name="Rectangle 80"/>
          <p:cNvSpPr/>
          <p:nvPr/>
        </p:nvSpPr>
        <p:spPr>
          <a:xfrm>
            <a:off x="7440447" y="1638851"/>
            <a:ext cx="3540376" cy="3585190"/>
          </a:xfrm>
          <a:prstGeom prst="rect">
            <a:avLst/>
          </a:prstGeom>
          <a:solidFill>
            <a:srgbClr val="5C2D91">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2353" dirty="0">
                <a:solidFill>
                  <a:prstClr val="white"/>
                </a:solidFill>
                <a:latin typeface="Segoe UI Light"/>
              </a:rPr>
              <a:t>Services help you make sense of the data:</a:t>
            </a:r>
          </a:p>
        </p:txBody>
      </p:sp>
      <p:grpSp>
        <p:nvGrpSpPr>
          <p:cNvPr id="10" name="Group 9"/>
          <p:cNvGrpSpPr/>
          <p:nvPr/>
        </p:nvGrpSpPr>
        <p:grpSpPr>
          <a:xfrm>
            <a:off x="7529965" y="2760152"/>
            <a:ext cx="3241134" cy="575342"/>
            <a:chOff x="7530168" y="2760061"/>
            <a:chExt cx="3241593" cy="575425"/>
          </a:xfrm>
        </p:grpSpPr>
        <p:sp>
          <p:nvSpPr>
            <p:cNvPr id="119" name="Rectangle 118"/>
            <p:cNvSpPr/>
            <p:nvPr/>
          </p:nvSpPr>
          <p:spPr>
            <a:xfrm>
              <a:off x="7530168" y="2760061"/>
              <a:ext cx="3241593" cy="406265"/>
            </a:xfrm>
            <a:prstGeom prst="rect">
              <a:avLst/>
            </a:prstGeom>
          </p:spPr>
          <p:txBody>
            <a:bodyPr wrap="none">
              <a:spAutoFit/>
            </a:bodyPr>
            <a:lstStyle/>
            <a:p>
              <a:pPr defTabSz="896010"/>
              <a:r>
                <a:rPr lang="en-US" sz="2000" kern="0" dirty="0">
                  <a:solidFill>
                    <a:srgbClr val="FFFFFF"/>
                  </a:solidFill>
                  <a:latin typeface="Segoe UI Light"/>
                  <a:ea typeface="Segoe UI" panose="020B0502040204020203" pitchFamily="34" charset="0"/>
                  <a:cs typeface="Segoe UI" panose="020B0502040204020203" pitchFamily="34" charset="0"/>
                </a:rPr>
                <a:t>Microsoft Azure IoT services</a:t>
              </a:r>
            </a:p>
          </p:txBody>
        </p:sp>
        <p:sp>
          <p:nvSpPr>
            <p:cNvPr id="3" name="Rectangle 2"/>
            <p:cNvSpPr/>
            <p:nvPr/>
          </p:nvSpPr>
          <p:spPr>
            <a:xfrm>
              <a:off x="7530168" y="3104621"/>
              <a:ext cx="2403562" cy="230865"/>
            </a:xfrm>
            <a:prstGeom prst="rect">
              <a:avLst/>
            </a:prstGeom>
          </p:spPr>
          <p:txBody>
            <a:bodyPr wrap="none">
              <a:spAutoFit/>
            </a:bodyPr>
            <a:lstStyle/>
            <a:p>
              <a:pPr defTabSz="896010"/>
              <a:r>
                <a:rPr lang="en-US" sz="900" kern="0" dirty="0">
                  <a:solidFill>
                    <a:srgbClr val="FFFFFF"/>
                  </a:solidFill>
                </a:rPr>
                <a:t>Azure Machine Learning | </a:t>
              </a:r>
              <a:r>
                <a:rPr lang="en-US" sz="900" kern="0" dirty="0" err="1">
                  <a:solidFill>
                    <a:srgbClr val="FFFFFF"/>
                  </a:solidFill>
                </a:rPr>
                <a:t>HDInsight</a:t>
              </a:r>
              <a:r>
                <a:rPr lang="en-US" sz="900" kern="0" dirty="0">
                  <a:solidFill>
                    <a:srgbClr val="FFFFFF"/>
                  </a:solidFill>
                </a:rPr>
                <a:t> | Power BI</a:t>
              </a:r>
            </a:p>
          </p:txBody>
        </p:sp>
      </p:grpSp>
      <p:pic>
        <p:nvPicPr>
          <p:cNvPr id="140" name="Picture 1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96378" y="3475666"/>
            <a:ext cx="2432254" cy="342660"/>
          </a:xfrm>
          <a:prstGeom prst="rect">
            <a:avLst/>
          </a:prstGeom>
        </p:spPr>
      </p:pic>
      <p:pic>
        <p:nvPicPr>
          <p:cNvPr id="141" name="Picture 1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10548" y="4123642"/>
            <a:ext cx="1448406" cy="303302"/>
          </a:xfrm>
          <a:prstGeom prst="rect">
            <a:avLst/>
          </a:prstGeom>
        </p:spPr>
      </p:pic>
      <p:sp>
        <p:nvSpPr>
          <p:cNvPr id="82" name="Rectangle 81"/>
          <p:cNvSpPr/>
          <p:nvPr/>
        </p:nvSpPr>
        <p:spPr>
          <a:xfrm>
            <a:off x="3855257" y="1638851"/>
            <a:ext cx="3540376" cy="3585190"/>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2353" dirty="0">
                <a:solidFill>
                  <a:prstClr val="white"/>
                </a:solidFill>
                <a:latin typeface="Segoe UI Light"/>
              </a:rPr>
              <a:t>Things produce data…</a:t>
            </a:r>
          </a:p>
        </p:txBody>
      </p:sp>
      <p:sp>
        <p:nvSpPr>
          <p:cNvPr id="178" name="Donut 80"/>
          <p:cNvSpPr/>
          <p:nvPr/>
        </p:nvSpPr>
        <p:spPr bwMode="auto">
          <a:xfrm>
            <a:off x="5812327" y="2893569"/>
            <a:ext cx="524940" cy="418984"/>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rgbClr val="FFFFFF"/>
          </a:solidFill>
          <a:ln w="9525" cap="flat" cmpd="sng" algn="ctr">
            <a:noFill/>
            <a:prstDash val="solid"/>
          </a:ln>
          <a:effectLst/>
        </p:spPr>
        <p:txBody>
          <a:bodyPr rot="0" spcFirstLastPara="0" vertOverflow="overflow" horzOverflow="overflow" vert="horz" wrap="square" lIns="87867" tIns="43934" rIns="43934" bIns="87867" numCol="1" spcCol="0" rtlCol="0" fromWordArt="0" anchor="b" anchorCtr="0" forceAA="0" compatLnSpc="1">
            <a:prstTxWarp prst="textNoShape">
              <a:avLst/>
            </a:prstTxWarp>
            <a:noAutofit/>
          </a:bodyPr>
          <a:lstStyle/>
          <a:p>
            <a:pPr algn="ctr" defTabSz="878269" fontAlgn="base">
              <a:spcBef>
                <a:spcPct val="0"/>
              </a:spcBef>
              <a:spcAft>
                <a:spcPct val="0"/>
              </a:spcAft>
              <a:defRPr/>
            </a:pPr>
            <a:endParaRPr lang="en-US" sz="1153" kern="0" spc="-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Flowchart: Magnetic Disk 86"/>
          <p:cNvSpPr>
            <a:spLocks noChangeAspect="1"/>
          </p:cNvSpPr>
          <p:nvPr/>
        </p:nvSpPr>
        <p:spPr bwMode="auto">
          <a:xfrm>
            <a:off x="4952341" y="2877731"/>
            <a:ext cx="377858" cy="454070"/>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a:gradFill>
                <a:gsLst>
                  <a:gs pos="0">
                    <a:srgbClr val="FFFFFF"/>
                  </a:gs>
                  <a:gs pos="100000">
                    <a:srgbClr val="FFFFFF"/>
                  </a:gs>
                </a:gsLst>
                <a:lin ang="5400000" scaled="0"/>
              </a:gradFill>
              <a:ea typeface="Segoe UI" pitchFamily="34" charset="0"/>
              <a:cs typeface="Segoe UI" pitchFamily="34" charset="0"/>
            </a:endParaRPr>
          </a:p>
        </p:txBody>
      </p:sp>
      <p:grpSp>
        <p:nvGrpSpPr>
          <p:cNvPr id="180" name="Group 179"/>
          <p:cNvGrpSpPr/>
          <p:nvPr/>
        </p:nvGrpSpPr>
        <p:grpSpPr>
          <a:xfrm>
            <a:off x="5848002" y="3827475"/>
            <a:ext cx="475037" cy="443555"/>
            <a:chOff x="-5364163" y="-2738437"/>
            <a:chExt cx="4327525" cy="4054475"/>
          </a:xfrm>
          <a:solidFill>
            <a:schemeClr val="bg1"/>
          </a:solidFill>
        </p:grpSpPr>
        <p:sp>
          <p:nvSpPr>
            <p:cNvPr id="18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1"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2"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3"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4"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5"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6"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7"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8"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grpSp>
      <p:grpSp>
        <p:nvGrpSpPr>
          <p:cNvPr id="181" name="Group 180"/>
          <p:cNvGrpSpPr/>
          <p:nvPr/>
        </p:nvGrpSpPr>
        <p:grpSpPr>
          <a:xfrm>
            <a:off x="4986876" y="3805267"/>
            <a:ext cx="367950" cy="485919"/>
            <a:chOff x="7667625" y="-3309937"/>
            <a:chExt cx="2163763" cy="2857500"/>
          </a:xfrm>
          <a:solidFill>
            <a:schemeClr val="bg1"/>
          </a:solidFill>
        </p:grpSpPr>
        <p:sp>
          <p:nvSpPr>
            <p:cNvPr id="182" name="Freeform 19"/>
            <p:cNvSpPr>
              <a:spLocks noEditPoints="1"/>
            </p:cNvSpPr>
            <p:nvPr/>
          </p:nvSpPr>
          <p:spPr bwMode="auto">
            <a:xfrm>
              <a:off x="7667625" y="-3309937"/>
              <a:ext cx="2163763" cy="2857500"/>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1765">
                <a:solidFill>
                  <a:prstClr val="black"/>
                </a:solidFill>
              </a:endParaRPr>
            </a:p>
          </p:txBody>
        </p:sp>
        <p:sp>
          <p:nvSpPr>
            <p:cNvPr id="183" name="Freeform 20"/>
            <p:cNvSpPr>
              <a:spLocks/>
            </p:cNvSpPr>
            <p:nvPr/>
          </p:nvSpPr>
          <p:spPr bwMode="auto">
            <a:xfrm>
              <a:off x="9266238" y="-3175001"/>
              <a:ext cx="428625" cy="430213"/>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1765">
                <a:solidFill>
                  <a:prstClr val="black"/>
                </a:solidFill>
              </a:endParaRPr>
            </a:p>
          </p:txBody>
        </p:sp>
      </p:grpSp>
      <p:sp>
        <p:nvSpPr>
          <p:cNvPr id="83" name="Rectangle 82"/>
          <p:cNvSpPr/>
          <p:nvPr/>
        </p:nvSpPr>
        <p:spPr>
          <a:xfrm>
            <a:off x="275146" y="1638851"/>
            <a:ext cx="3540376" cy="3585190"/>
          </a:xfrm>
          <a:prstGeom prst="rect">
            <a:avLst/>
          </a:prstGeom>
          <a:solidFill>
            <a:srgbClr val="0078D7">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2353" dirty="0">
                <a:solidFill>
                  <a:prstClr val="white"/>
                </a:solidFill>
                <a:latin typeface="Segoe UI Light"/>
              </a:rPr>
              <a:t>You have things…</a:t>
            </a:r>
          </a:p>
        </p:txBody>
      </p:sp>
      <p:grpSp>
        <p:nvGrpSpPr>
          <p:cNvPr id="9" name="Group 8"/>
          <p:cNvGrpSpPr/>
          <p:nvPr/>
        </p:nvGrpSpPr>
        <p:grpSpPr>
          <a:xfrm>
            <a:off x="2026188" y="2187459"/>
            <a:ext cx="1784254" cy="2811043"/>
            <a:chOff x="2025610" y="2187283"/>
            <a:chExt cx="1784507" cy="2811441"/>
          </a:xfrm>
          <a:solidFill>
            <a:schemeClr val="bg1">
              <a:lumMod val="95000"/>
            </a:schemeClr>
          </a:solidFill>
        </p:grpSpPr>
        <p:sp>
          <p:nvSpPr>
            <p:cNvPr id="107" name="Rectangle 106"/>
            <p:cNvSpPr/>
            <p:nvPr/>
          </p:nvSpPr>
          <p:spPr>
            <a:xfrm>
              <a:off x="2025610" y="2187283"/>
              <a:ext cx="1784507" cy="6166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Other devices &amp; </a:t>
              </a:r>
              <a:b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b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line-of-business assets</a:t>
              </a:r>
            </a:p>
          </p:txBody>
        </p:sp>
        <p:grpSp>
          <p:nvGrpSpPr>
            <p:cNvPr id="151" name="Group 150"/>
            <p:cNvGrpSpPr/>
            <p:nvPr/>
          </p:nvGrpSpPr>
          <p:grpSpPr>
            <a:xfrm>
              <a:off x="2227924" y="4432229"/>
              <a:ext cx="498087" cy="566495"/>
              <a:chOff x="471215" y="3809831"/>
              <a:chExt cx="550717" cy="626353"/>
            </a:xfrm>
            <a:grpFill/>
          </p:grpSpPr>
          <p:pic>
            <p:nvPicPr>
              <p:cNvPr id="150" name="Picture 149"/>
              <p:cNvPicPr>
                <a:picLocks noChangeAspect="1"/>
              </p:cNvPicPr>
              <p:nvPr/>
            </p:nvPicPr>
            <p:blipFill>
              <a:blip r:embed="rId6"/>
              <a:stretch>
                <a:fillRect/>
              </a:stretch>
            </p:blipFill>
            <p:spPr>
              <a:xfrm>
                <a:off x="471215" y="3932110"/>
                <a:ext cx="273784" cy="319415"/>
              </a:xfrm>
              <a:prstGeom prst="rect">
                <a:avLst/>
              </a:prstGeom>
              <a:noFill/>
            </p:spPr>
          </p:pic>
          <p:sp>
            <p:nvSpPr>
              <p:cNvPr id="120" name="Freeform 119"/>
              <p:cNvSpPr>
                <a:spLocks noChangeAspect="1" noEditPoints="1"/>
              </p:cNvSpPr>
              <p:nvPr/>
            </p:nvSpPr>
            <p:spPr bwMode="auto">
              <a:xfrm>
                <a:off x="781564" y="4148967"/>
                <a:ext cx="240368" cy="287217"/>
              </a:xfrm>
              <a:custGeom>
                <a:avLst/>
                <a:gdLst>
                  <a:gd name="T0" fmla="*/ 532 w 1063"/>
                  <a:gd name="T1" fmla="*/ 78 h 1245"/>
                  <a:gd name="T2" fmla="*/ 673 w 1063"/>
                  <a:gd name="T3" fmla="*/ 104 h 1245"/>
                  <a:gd name="T4" fmla="*/ 736 w 1063"/>
                  <a:gd name="T5" fmla="*/ 6 h 1245"/>
                  <a:gd name="T6" fmla="*/ 752 w 1063"/>
                  <a:gd name="T7" fmla="*/ 3 h 1245"/>
                  <a:gd name="T8" fmla="*/ 755 w 1063"/>
                  <a:gd name="T9" fmla="*/ 19 h 1245"/>
                  <a:gd name="T10" fmla="*/ 694 w 1063"/>
                  <a:gd name="T11" fmla="*/ 113 h 1245"/>
                  <a:gd name="T12" fmla="*/ 866 w 1063"/>
                  <a:gd name="T13" fmla="*/ 350 h 1245"/>
                  <a:gd name="T14" fmla="*/ 197 w 1063"/>
                  <a:gd name="T15" fmla="*/ 350 h 1245"/>
                  <a:gd name="T16" fmla="*/ 369 w 1063"/>
                  <a:gd name="T17" fmla="*/ 113 h 1245"/>
                  <a:gd name="T18" fmla="*/ 308 w 1063"/>
                  <a:gd name="T19" fmla="*/ 19 h 1245"/>
                  <a:gd name="T20" fmla="*/ 311 w 1063"/>
                  <a:gd name="T21" fmla="*/ 3 h 1245"/>
                  <a:gd name="T22" fmla="*/ 327 w 1063"/>
                  <a:gd name="T23" fmla="*/ 6 h 1245"/>
                  <a:gd name="T24" fmla="*/ 390 w 1063"/>
                  <a:gd name="T25" fmla="*/ 104 h 1245"/>
                  <a:gd name="T26" fmla="*/ 532 w 1063"/>
                  <a:gd name="T27" fmla="*/ 78 h 1245"/>
                  <a:gd name="T28" fmla="*/ 471 w 1063"/>
                  <a:gd name="T29" fmla="*/ 1003 h 1245"/>
                  <a:gd name="T30" fmla="*/ 471 w 1063"/>
                  <a:gd name="T31" fmla="*/ 1170 h 1245"/>
                  <a:gd name="T32" fmla="*/ 396 w 1063"/>
                  <a:gd name="T33" fmla="*/ 1245 h 1245"/>
                  <a:gd name="T34" fmla="*/ 396 w 1063"/>
                  <a:gd name="T35" fmla="*/ 1245 h 1245"/>
                  <a:gd name="T36" fmla="*/ 321 w 1063"/>
                  <a:gd name="T37" fmla="*/ 1170 h 1245"/>
                  <a:gd name="T38" fmla="*/ 321 w 1063"/>
                  <a:gd name="T39" fmla="*/ 1003 h 1245"/>
                  <a:gd name="T40" fmla="*/ 258 w 1063"/>
                  <a:gd name="T41" fmla="*/ 1003 h 1245"/>
                  <a:gd name="T42" fmla="*/ 197 w 1063"/>
                  <a:gd name="T43" fmla="*/ 943 h 1245"/>
                  <a:gd name="T44" fmla="*/ 197 w 1063"/>
                  <a:gd name="T45" fmla="*/ 395 h 1245"/>
                  <a:gd name="T46" fmla="*/ 867 w 1063"/>
                  <a:gd name="T47" fmla="*/ 395 h 1245"/>
                  <a:gd name="T48" fmla="*/ 867 w 1063"/>
                  <a:gd name="T49" fmla="*/ 943 h 1245"/>
                  <a:gd name="T50" fmla="*/ 806 w 1063"/>
                  <a:gd name="T51" fmla="*/ 1003 h 1245"/>
                  <a:gd name="T52" fmla="*/ 743 w 1063"/>
                  <a:gd name="T53" fmla="*/ 1003 h 1245"/>
                  <a:gd name="T54" fmla="*/ 743 w 1063"/>
                  <a:gd name="T55" fmla="*/ 1170 h 1245"/>
                  <a:gd name="T56" fmla="*/ 668 w 1063"/>
                  <a:gd name="T57" fmla="*/ 1245 h 1245"/>
                  <a:gd name="T58" fmla="*/ 668 w 1063"/>
                  <a:gd name="T59" fmla="*/ 1245 h 1245"/>
                  <a:gd name="T60" fmla="*/ 593 w 1063"/>
                  <a:gd name="T61" fmla="*/ 1170 h 1245"/>
                  <a:gd name="T62" fmla="*/ 593 w 1063"/>
                  <a:gd name="T63" fmla="*/ 1003 h 1245"/>
                  <a:gd name="T64" fmla="*/ 471 w 1063"/>
                  <a:gd name="T65" fmla="*/ 1003 h 1245"/>
                  <a:gd name="T66" fmla="*/ 75 w 1063"/>
                  <a:gd name="T67" fmla="*/ 398 h 1245"/>
                  <a:gd name="T68" fmla="*/ 75 w 1063"/>
                  <a:gd name="T69" fmla="*/ 398 h 1245"/>
                  <a:gd name="T70" fmla="*/ 151 w 1063"/>
                  <a:gd name="T71" fmla="*/ 473 h 1245"/>
                  <a:gd name="T72" fmla="*/ 151 w 1063"/>
                  <a:gd name="T73" fmla="*/ 773 h 1245"/>
                  <a:gd name="T74" fmla="*/ 75 w 1063"/>
                  <a:gd name="T75" fmla="*/ 849 h 1245"/>
                  <a:gd name="T76" fmla="*/ 75 w 1063"/>
                  <a:gd name="T77" fmla="*/ 849 h 1245"/>
                  <a:gd name="T78" fmla="*/ 0 w 1063"/>
                  <a:gd name="T79" fmla="*/ 773 h 1245"/>
                  <a:gd name="T80" fmla="*/ 0 w 1063"/>
                  <a:gd name="T81" fmla="*/ 473 h 1245"/>
                  <a:gd name="T82" fmla="*/ 75 w 1063"/>
                  <a:gd name="T83" fmla="*/ 398 h 1245"/>
                  <a:gd name="T84" fmla="*/ 988 w 1063"/>
                  <a:gd name="T85" fmla="*/ 398 h 1245"/>
                  <a:gd name="T86" fmla="*/ 988 w 1063"/>
                  <a:gd name="T87" fmla="*/ 398 h 1245"/>
                  <a:gd name="T88" fmla="*/ 1063 w 1063"/>
                  <a:gd name="T89" fmla="*/ 473 h 1245"/>
                  <a:gd name="T90" fmla="*/ 1063 w 1063"/>
                  <a:gd name="T91" fmla="*/ 773 h 1245"/>
                  <a:gd name="T92" fmla="*/ 988 w 1063"/>
                  <a:gd name="T93" fmla="*/ 849 h 1245"/>
                  <a:gd name="T94" fmla="*/ 988 w 1063"/>
                  <a:gd name="T95" fmla="*/ 849 h 1245"/>
                  <a:gd name="T96" fmla="*/ 913 w 1063"/>
                  <a:gd name="T97" fmla="*/ 773 h 1245"/>
                  <a:gd name="T98" fmla="*/ 913 w 1063"/>
                  <a:gd name="T99" fmla="*/ 473 h 1245"/>
                  <a:gd name="T100" fmla="*/ 988 w 1063"/>
                  <a:gd name="T101" fmla="*/ 398 h 1245"/>
                  <a:gd name="T102" fmla="*/ 387 w 1063"/>
                  <a:gd name="T103" fmla="*/ 180 h 1245"/>
                  <a:gd name="T104" fmla="*/ 426 w 1063"/>
                  <a:gd name="T105" fmla="*/ 218 h 1245"/>
                  <a:gd name="T106" fmla="*/ 387 w 1063"/>
                  <a:gd name="T107" fmla="*/ 256 h 1245"/>
                  <a:gd name="T108" fmla="*/ 349 w 1063"/>
                  <a:gd name="T109" fmla="*/ 218 h 1245"/>
                  <a:gd name="T110" fmla="*/ 387 w 1063"/>
                  <a:gd name="T111" fmla="*/ 180 h 1245"/>
                  <a:gd name="T112" fmla="*/ 676 w 1063"/>
                  <a:gd name="T113" fmla="*/ 180 h 1245"/>
                  <a:gd name="T114" fmla="*/ 715 w 1063"/>
                  <a:gd name="T115" fmla="*/ 218 h 1245"/>
                  <a:gd name="T116" fmla="*/ 676 w 1063"/>
                  <a:gd name="T117" fmla="*/ 256 h 1245"/>
                  <a:gd name="T118" fmla="*/ 638 w 1063"/>
                  <a:gd name="T119" fmla="*/ 218 h 1245"/>
                  <a:gd name="T120" fmla="*/ 676 w 1063"/>
                  <a:gd name="T121" fmla="*/ 180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3" h="1245">
                    <a:moveTo>
                      <a:pt x="532" y="78"/>
                    </a:moveTo>
                    <a:cubicBezTo>
                      <a:pt x="582" y="78"/>
                      <a:pt x="630" y="87"/>
                      <a:pt x="673" y="104"/>
                    </a:cubicBezTo>
                    <a:cubicBezTo>
                      <a:pt x="736" y="6"/>
                      <a:pt x="736" y="6"/>
                      <a:pt x="736" y="6"/>
                    </a:cubicBezTo>
                    <a:cubicBezTo>
                      <a:pt x="740" y="1"/>
                      <a:pt x="747" y="0"/>
                      <a:pt x="752" y="3"/>
                    </a:cubicBezTo>
                    <a:cubicBezTo>
                      <a:pt x="757" y="6"/>
                      <a:pt x="759" y="13"/>
                      <a:pt x="755" y="19"/>
                    </a:cubicBezTo>
                    <a:cubicBezTo>
                      <a:pt x="694" y="113"/>
                      <a:pt x="694" y="113"/>
                      <a:pt x="694" y="113"/>
                    </a:cubicBezTo>
                    <a:cubicBezTo>
                      <a:pt x="795" y="159"/>
                      <a:pt x="864" y="248"/>
                      <a:pt x="866" y="350"/>
                    </a:cubicBezTo>
                    <a:cubicBezTo>
                      <a:pt x="197" y="350"/>
                      <a:pt x="197" y="350"/>
                      <a:pt x="197" y="350"/>
                    </a:cubicBezTo>
                    <a:cubicBezTo>
                      <a:pt x="199" y="248"/>
                      <a:pt x="268" y="159"/>
                      <a:pt x="369" y="113"/>
                    </a:cubicBezTo>
                    <a:cubicBezTo>
                      <a:pt x="308" y="19"/>
                      <a:pt x="308" y="19"/>
                      <a:pt x="308" y="19"/>
                    </a:cubicBezTo>
                    <a:cubicBezTo>
                      <a:pt x="305" y="13"/>
                      <a:pt x="306" y="6"/>
                      <a:pt x="311" y="3"/>
                    </a:cubicBezTo>
                    <a:cubicBezTo>
                      <a:pt x="317" y="0"/>
                      <a:pt x="324" y="1"/>
                      <a:pt x="327" y="6"/>
                    </a:cubicBezTo>
                    <a:cubicBezTo>
                      <a:pt x="390" y="104"/>
                      <a:pt x="390" y="104"/>
                      <a:pt x="390" y="104"/>
                    </a:cubicBezTo>
                    <a:cubicBezTo>
                      <a:pt x="433" y="87"/>
                      <a:pt x="481" y="78"/>
                      <a:pt x="532" y="78"/>
                    </a:cubicBezTo>
                    <a:close/>
                    <a:moveTo>
                      <a:pt x="471" y="1003"/>
                    </a:moveTo>
                    <a:cubicBezTo>
                      <a:pt x="471" y="1170"/>
                      <a:pt x="471" y="1170"/>
                      <a:pt x="471" y="1170"/>
                    </a:cubicBezTo>
                    <a:cubicBezTo>
                      <a:pt x="471" y="1212"/>
                      <a:pt x="437" y="1245"/>
                      <a:pt x="396" y="1245"/>
                    </a:cubicBezTo>
                    <a:cubicBezTo>
                      <a:pt x="396" y="1245"/>
                      <a:pt x="396" y="1245"/>
                      <a:pt x="396" y="1245"/>
                    </a:cubicBezTo>
                    <a:cubicBezTo>
                      <a:pt x="354" y="1245"/>
                      <a:pt x="321" y="1212"/>
                      <a:pt x="321" y="1170"/>
                    </a:cubicBezTo>
                    <a:cubicBezTo>
                      <a:pt x="321" y="1003"/>
                      <a:pt x="321" y="1003"/>
                      <a:pt x="321" y="1003"/>
                    </a:cubicBezTo>
                    <a:cubicBezTo>
                      <a:pt x="258" y="1003"/>
                      <a:pt x="258" y="1003"/>
                      <a:pt x="258" y="1003"/>
                    </a:cubicBezTo>
                    <a:cubicBezTo>
                      <a:pt x="224" y="1003"/>
                      <a:pt x="197" y="976"/>
                      <a:pt x="197" y="943"/>
                    </a:cubicBezTo>
                    <a:cubicBezTo>
                      <a:pt x="197" y="395"/>
                      <a:pt x="197" y="395"/>
                      <a:pt x="197" y="395"/>
                    </a:cubicBezTo>
                    <a:cubicBezTo>
                      <a:pt x="867" y="395"/>
                      <a:pt x="867" y="395"/>
                      <a:pt x="867" y="395"/>
                    </a:cubicBezTo>
                    <a:cubicBezTo>
                      <a:pt x="867" y="943"/>
                      <a:pt x="867" y="943"/>
                      <a:pt x="867" y="943"/>
                    </a:cubicBezTo>
                    <a:cubicBezTo>
                      <a:pt x="867" y="976"/>
                      <a:pt x="839" y="1003"/>
                      <a:pt x="806" y="1003"/>
                    </a:cubicBezTo>
                    <a:cubicBezTo>
                      <a:pt x="743" y="1003"/>
                      <a:pt x="743" y="1003"/>
                      <a:pt x="743" y="1003"/>
                    </a:cubicBezTo>
                    <a:cubicBezTo>
                      <a:pt x="743" y="1170"/>
                      <a:pt x="743" y="1170"/>
                      <a:pt x="743" y="1170"/>
                    </a:cubicBezTo>
                    <a:cubicBezTo>
                      <a:pt x="743" y="1212"/>
                      <a:pt x="709" y="1245"/>
                      <a:pt x="668" y="1245"/>
                    </a:cubicBezTo>
                    <a:cubicBezTo>
                      <a:pt x="668" y="1245"/>
                      <a:pt x="668" y="1245"/>
                      <a:pt x="668" y="1245"/>
                    </a:cubicBezTo>
                    <a:cubicBezTo>
                      <a:pt x="627" y="1245"/>
                      <a:pt x="593" y="1212"/>
                      <a:pt x="593" y="1170"/>
                    </a:cubicBezTo>
                    <a:cubicBezTo>
                      <a:pt x="593" y="1003"/>
                      <a:pt x="593" y="1003"/>
                      <a:pt x="593" y="1003"/>
                    </a:cubicBezTo>
                    <a:cubicBezTo>
                      <a:pt x="471" y="1003"/>
                      <a:pt x="471" y="1003"/>
                      <a:pt x="471" y="1003"/>
                    </a:cubicBezTo>
                    <a:close/>
                    <a:moveTo>
                      <a:pt x="75" y="398"/>
                    </a:moveTo>
                    <a:cubicBezTo>
                      <a:pt x="75" y="398"/>
                      <a:pt x="75" y="398"/>
                      <a:pt x="75" y="398"/>
                    </a:cubicBezTo>
                    <a:cubicBezTo>
                      <a:pt x="117" y="398"/>
                      <a:pt x="151" y="432"/>
                      <a:pt x="151" y="473"/>
                    </a:cubicBezTo>
                    <a:cubicBezTo>
                      <a:pt x="151" y="773"/>
                      <a:pt x="151" y="773"/>
                      <a:pt x="151" y="773"/>
                    </a:cubicBezTo>
                    <a:cubicBezTo>
                      <a:pt x="151" y="815"/>
                      <a:pt x="117" y="849"/>
                      <a:pt x="75" y="849"/>
                    </a:cubicBezTo>
                    <a:cubicBezTo>
                      <a:pt x="75" y="849"/>
                      <a:pt x="75" y="849"/>
                      <a:pt x="75" y="849"/>
                    </a:cubicBezTo>
                    <a:cubicBezTo>
                      <a:pt x="34" y="849"/>
                      <a:pt x="0" y="815"/>
                      <a:pt x="0" y="773"/>
                    </a:cubicBezTo>
                    <a:cubicBezTo>
                      <a:pt x="0" y="473"/>
                      <a:pt x="0" y="473"/>
                      <a:pt x="0" y="473"/>
                    </a:cubicBezTo>
                    <a:cubicBezTo>
                      <a:pt x="0" y="432"/>
                      <a:pt x="34" y="398"/>
                      <a:pt x="75" y="398"/>
                    </a:cubicBezTo>
                    <a:close/>
                    <a:moveTo>
                      <a:pt x="988" y="398"/>
                    </a:moveTo>
                    <a:cubicBezTo>
                      <a:pt x="988" y="398"/>
                      <a:pt x="988" y="398"/>
                      <a:pt x="988" y="398"/>
                    </a:cubicBezTo>
                    <a:cubicBezTo>
                      <a:pt x="1029" y="398"/>
                      <a:pt x="1063" y="432"/>
                      <a:pt x="1063" y="473"/>
                    </a:cubicBezTo>
                    <a:cubicBezTo>
                      <a:pt x="1063" y="773"/>
                      <a:pt x="1063" y="773"/>
                      <a:pt x="1063" y="773"/>
                    </a:cubicBezTo>
                    <a:cubicBezTo>
                      <a:pt x="1063" y="815"/>
                      <a:pt x="1029" y="849"/>
                      <a:pt x="988" y="849"/>
                    </a:cubicBezTo>
                    <a:cubicBezTo>
                      <a:pt x="988" y="849"/>
                      <a:pt x="988" y="849"/>
                      <a:pt x="988" y="849"/>
                    </a:cubicBezTo>
                    <a:cubicBezTo>
                      <a:pt x="947" y="849"/>
                      <a:pt x="913" y="815"/>
                      <a:pt x="913" y="773"/>
                    </a:cubicBezTo>
                    <a:cubicBezTo>
                      <a:pt x="913" y="473"/>
                      <a:pt x="913" y="473"/>
                      <a:pt x="913" y="473"/>
                    </a:cubicBezTo>
                    <a:cubicBezTo>
                      <a:pt x="913" y="432"/>
                      <a:pt x="947" y="398"/>
                      <a:pt x="988" y="398"/>
                    </a:cubicBezTo>
                    <a:close/>
                    <a:moveTo>
                      <a:pt x="387" y="180"/>
                    </a:moveTo>
                    <a:cubicBezTo>
                      <a:pt x="408" y="180"/>
                      <a:pt x="426" y="197"/>
                      <a:pt x="426" y="218"/>
                    </a:cubicBezTo>
                    <a:cubicBezTo>
                      <a:pt x="426" y="239"/>
                      <a:pt x="408" y="256"/>
                      <a:pt x="387" y="256"/>
                    </a:cubicBezTo>
                    <a:cubicBezTo>
                      <a:pt x="366" y="256"/>
                      <a:pt x="349" y="239"/>
                      <a:pt x="349" y="218"/>
                    </a:cubicBezTo>
                    <a:cubicBezTo>
                      <a:pt x="349" y="197"/>
                      <a:pt x="366" y="180"/>
                      <a:pt x="387" y="180"/>
                    </a:cubicBezTo>
                    <a:close/>
                    <a:moveTo>
                      <a:pt x="676" y="180"/>
                    </a:moveTo>
                    <a:cubicBezTo>
                      <a:pt x="698" y="180"/>
                      <a:pt x="715" y="197"/>
                      <a:pt x="715" y="218"/>
                    </a:cubicBezTo>
                    <a:cubicBezTo>
                      <a:pt x="715" y="239"/>
                      <a:pt x="698" y="256"/>
                      <a:pt x="676" y="256"/>
                    </a:cubicBezTo>
                    <a:cubicBezTo>
                      <a:pt x="655" y="256"/>
                      <a:pt x="638" y="239"/>
                      <a:pt x="638" y="218"/>
                    </a:cubicBezTo>
                    <a:cubicBezTo>
                      <a:pt x="638" y="197"/>
                      <a:pt x="655" y="180"/>
                      <a:pt x="676" y="180"/>
                    </a:cubicBezTo>
                    <a:close/>
                  </a:path>
                </a:pathLst>
              </a:custGeom>
              <a:grpFill/>
              <a:ln>
                <a:noFill/>
              </a:ln>
              <a:extLst/>
            </p:spPr>
            <p:txBody>
              <a:bodyPr vert="horz" wrap="square" lIns="87845" tIns="43921" rIns="87845" bIns="43921" numCol="1" anchor="t" anchorCtr="0" compatLnSpc="1">
                <a:prstTxWarp prst="textNoShape">
                  <a:avLst/>
                </a:prstTxWarp>
              </a:bodyPr>
              <a:lstStyle/>
              <a:p>
                <a:pPr defTabSz="896181"/>
                <a:endParaRPr lang="en-US" sz="1729">
                  <a:solidFill>
                    <a:prstClr val="black"/>
                  </a:solidFill>
                </a:endParaRPr>
              </a:p>
            </p:txBody>
          </p:sp>
          <p:grpSp>
            <p:nvGrpSpPr>
              <p:cNvPr id="121" name="Group 120"/>
              <p:cNvGrpSpPr/>
              <p:nvPr/>
            </p:nvGrpSpPr>
            <p:grpSpPr>
              <a:xfrm>
                <a:off x="797730" y="3809831"/>
                <a:ext cx="215490" cy="273312"/>
                <a:chOff x="710246" y="3955639"/>
                <a:chExt cx="215490" cy="273312"/>
              </a:xfrm>
              <a:grpFill/>
            </p:grpSpPr>
            <p:sp>
              <p:nvSpPr>
                <p:cNvPr id="122" name="Freeform 11"/>
                <p:cNvSpPr>
                  <a:spLocks/>
                </p:cNvSpPr>
                <p:nvPr/>
              </p:nvSpPr>
              <p:spPr bwMode="auto">
                <a:xfrm>
                  <a:off x="710246" y="4024177"/>
                  <a:ext cx="215490" cy="204774"/>
                </a:xfrm>
                <a:custGeom>
                  <a:avLst/>
                  <a:gdLst>
                    <a:gd name="T0" fmla="*/ 467 w 485"/>
                    <a:gd name="T1" fmla="*/ 57 h 454"/>
                    <a:gd name="T2" fmla="*/ 365 w 485"/>
                    <a:gd name="T3" fmla="*/ 0 h 454"/>
                    <a:gd name="T4" fmla="*/ 257 w 485"/>
                    <a:gd name="T5" fmla="*/ 33 h 454"/>
                    <a:gd name="T6" fmla="*/ 165 w 485"/>
                    <a:gd name="T7" fmla="*/ 2 h 454"/>
                    <a:gd name="T8" fmla="*/ 0 w 485"/>
                    <a:gd name="T9" fmla="*/ 172 h 454"/>
                    <a:gd name="T10" fmla="*/ 54 w 485"/>
                    <a:gd name="T11" fmla="*/ 371 h 454"/>
                    <a:gd name="T12" fmla="*/ 153 w 485"/>
                    <a:gd name="T13" fmla="*/ 454 h 454"/>
                    <a:gd name="T14" fmla="*/ 250 w 485"/>
                    <a:gd name="T15" fmla="*/ 429 h 454"/>
                    <a:gd name="T16" fmla="*/ 345 w 485"/>
                    <a:gd name="T17" fmla="*/ 452 h 454"/>
                    <a:gd name="T18" fmla="*/ 485 w 485"/>
                    <a:gd name="T19" fmla="*/ 294 h 454"/>
                    <a:gd name="T20" fmla="*/ 484 w 485"/>
                    <a:gd name="T21" fmla="*/ 286 h 454"/>
                    <a:gd name="T22" fmla="*/ 484 w 485"/>
                    <a:gd name="T23" fmla="*/ 282 h 454"/>
                    <a:gd name="T24" fmla="*/ 411 w 485"/>
                    <a:gd name="T25" fmla="*/ 165 h 454"/>
                    <a:gd name="T26" fmla="*/ 465 w 485"/>
                    <a:gd name="T27" fmla="*/ 58 h 454"/>
                    <a:gd name="T28" fmla="*/ 467 w 485"/>
                    <a:gd name="T29" fmla="*/ 5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5" h="454">
                      <a:moveTo>
                        <a:pt x="467" y="57"/>
                      </a:moveTo>
                      <a:cubicBezTo>
                        <a:pt x="444" y="29"/>
                        <a:pt x="413" y="0"/>
                        <a:pt x="365" y="0"/>
                      </a:cubicBezTo>
                      <a:cubicBezTo>
                        <a:pt x="331" y="0"/>
                        <a:pt x="303" y="33"/>
                        <a:pt x="257" y="33"/>
                      </a:cubicBezTo>
                      <a:cubicBezTo>
                        <a:pt x="220" y="33"/>
                        <a:pt x="205" y="2"/>
                        <a:pt x="165" y="2"/>
                      </a:cubicBezTo>
                      <a:cubicBezTo>
                        <a:pt x="82" y="2"/>
                        <a:pt x="0" y="76"/>
                        <a:pt x="0" y="172"/>
                      </a:cubicBezTo>
                      <a:cubicBezTo>
                        <a:pt x="0" y="223"/>
                        <a:pt x="17" y="302"/>
                        <a:pt x="54" y="371"/>
                      </a:cubicBezTo>
                      <a:cubicBezTo>
                        <a:pt x="82" y="421"/>
                        <a:pt x="115" y="454"/>
                        <a:pt x="153" y="454"/>
                      </a:cubicBezTo>
                      <a:cubicBezTo>
                        <a:pt x="180" y="454"/>
                        <a:pt x="212" y="429"/>
                        <a:pt x="250" y="429"/>
                      </a:cubicBezTo>
                      <a:cubicBezTo>
                        <a:pt x="283" y="429"/>
                        <a:pt x="315" y="452"/>
                        <a:pt x="345" y="452"/>
                      </a:cubicBezTo>
                      <a:cubicBezTo>
                        <a:pt x="417" y="452"/>
                        <a:pt x="485" y="357"/>
                        <a:pt x="485" y="294"/>
                      </a:cubicBezTo>
                      <a:cubicBezTo>
                        <a:pt x="485" y="291"/>
                        <a:pt x="484" y="289"/>
                        <a:pt x="484" y="286"/>
                      </a:cubicBezTo>
                      <a:cubicBezTo>
                        <a:pt x="484" y="282"/>
                        <a:pt x="484" y="282"/>
                        <a:pt x="484" y="282"/>
                      </a:cubicBezTo>
                      <a:cubicBezTo>
                        <a:pt x="437" y="257"/>
                        <a:pt x="411" y="219"/>
                        <a:pt x="411" y="165"/>
                      </a:cubicBezTo>
                      <a:cubicBezTo>
                        <a:pt x="411" y="121"/>
                        <a:pt x="430" y="83"/>
                        <a:pt x="465" y="58"/>
                      </a:cubicBezTo>
                      <a:cubicBezTo>
                        <a:pt x="467" y="57"/>
                        <a:pt x="467" y="57"/>
                        <a:pt x="467"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45" tIns="43921" rIns="87845" bIns="43921" numCol="1" anchor="t" anchorCtr="0" compatLnSpc="1">
                  <a:prstTxWarp prst="textNoShape">
                    <a:avLst/>
                  </a:prstTxWarp>
                </a:bodyPr>
                <a:lstStyle/>
                <a:p>
                  <a:pPr defTabSz="896181"/>
                  <a:endParaRPr lang="en-US" sz="1729">
                    <a:solidFill>
                      <a:prstClr val="black"/>
                    </a:solidFill>
                  </a:endParaRPr>
                </a:p>
              </p:txBody>
            </p:sp>
            <p:sp>
              <p:nvSpPr>
                <p:cNvPr id="123" name="Freeform 12"/>
                <p:cNvSpPr>
                  <a:spLocks/>
                </p:cNvSpPr>
                <p:nvPr/>
              </p:nvSpPr>
              <p:spPr bwMode="auto">
                <a:xfrm>
                  <a:off x="812135" y="3955639"/>
                  <a:ext cx="47564" cy="68539"/>
                </a:xfrm>
                <a:custGeom>
                  <a:avLst/>
                  <a:gdLst>
                    <a:gd name="T0" fmla="*/ 2 w 107"/>
                    <a:gd name="T1" fmla="*/ 152 h 152"/>
                    <a:gd name="T2" fmla="*/ 107 w 107"/>
                    <a:gd name="T3" fmla="*/ 24 h 152"/>
                    <a:gd name="T4" fmla="*/ 105 w 107"/>
                    <a:gd name="T5" fmla="*/ 3 h 152"/>
                    <a:gd name="T6" fmla="*/ 105 w 107"/>
                    <a:gd name="T7" fmla="*/ 0 h 152"/>
                    <a:gd name="T8" fmla="*/ 0 w 107"/>
                    <a:gd name="T9" fmla="*/ 126 h 152"/>
                    <a:gd name="T10" fmla="*/ 2 w 107"/>
                    <a:gd name="T11" fmla="*/ 149 h 152"/>
                    <a:gd name="T12" fmla="*/ 2 w 107"/>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107" h="152">
                      <a:moveTo>
                        <a:pt x="2" y="152"/>
                      </a:moveTo>
                      <a:cubicBezTo>
                        <a:pt x="57" y="136"/>
                        <a:pt x="107" y="95"/>
                        <a:pt x="107" y="24"/>
                      </a:cubicBezTo>
                      <a:cubicBezTo>
                        <a:pt x="107" y="18"/>
                        <a:pt x="106" y="11"/>
                        <a:pt x="105" y="3"/>
                      </a:cubicBezTo>
                      <a:cubicBezTo>
                        <a:pt x="105" y="0"/>
                        <a:pt x="105" y="0"/>
                        <a:pt x="105" y="0"/>
                      </a:cubicBezTo>
                      <a:cubicBezTo>
                        <a:pt x="50" y="15"/>
                        <a:pt x="0" y="58"/>
                        <a:pt x="0" y="126"/>
                      </a:cubicBezTo>
                      <a:cubicBezTo>
                        <a:pt x="0" y="132"/>
                        <a:pt x="1" y="140"/>
                        <a:pt x="2" y="149"/>
                      </a:cubicBezTo>
                      <a:cubicBezTo>
                        <a:pt x="2" y="152"/>
                        <a:pt x="2" y="152"/>
                        <a:pt x="2"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45" tIns="43921" rIns="87845" bIns="43921" numCol="1" anchor="t" anchorCtr="0" compatLnSpc="1">
                  <a:prstTxWarp prst="textNoShape">
                    <a:avLst/>
                  </a:prstTxWarp>
                </a:bodyPr>
                <a:lstStyle/>
                <a:p>
                  <a:pPr defTabSz="896181"/>
                  <a:endParaRPr lang="en-US" sz="1729">
                    <a:solidFill>
                      <a:prstClr val="black"/>
                    </a:solidFill>
                  </a:endParaRPr>
                </a:p>
              </p:txBody>
            </p:sp>
          </p:grpSp>
        </p:grpSp>
        <p:sp>
          <p:nvSpPr>
            <p:cNvPr id="125" name="Frame 5"/>
            <p:cNvSpPr>
              <a:spLocks noChangeAspect="1"/>
            </p:cNvSpPr>
            <p:nvPr/>
          </p:nvSpPr>
          <p:spPr bwMode="auto">
            <a:xfrm>
              <a:off x="2314371" y="3992145"/>
              <a:ext cx="325193" cy="325106"/>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05441" tIns="52721" rIns="52721" bIns="105441" numCol="1" spcCol="0" rtlCol="0" fromWordArt="0" anchor="b" anchorCtr="0" forceAA="0" compatLnSpc="1">
              <a:prstTxWarp prst="textNoShape">
                <a:avLst/>
              </a:prstTxWarp>
              <a:noAutofit/>
            </a:bodyPr>
            <a:lstStyle/>
            <a:p>
              <a:pPr algn="ctr" defTabSz="1053923" fontAlgn="base">
                <a:spcBef>
                  <a:spcPct val="0"/>
                </a:spcBef>
                <a:spcAft>
                  <a:spcPct val="0"/>
                </a:spcAft>
                <a:defRPr/>
              </a:pPr>
              <a:endParaRPr lang="en-US" sz="2307" kern="0" spc="-5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6" name="Group 125"/>
            <p:cNvGrpSpPr/>
            <p:nvPr/>
          </p:nvGrpSpPr>
          <p:grpSpPr>
            <a:xfrm>
              <a:off x="3026582" y="3535542"/>
              <a:ext cx="407296" cy="543581"/>
              <a:chOff x="16803982" y="-6873903"/>
              <a:chExt cx="2087554" cy="2786065"/>
            </a:xfrm>
            <a:grpFill/>
          </p:grpSpPr>
          <p:sp>
            <p:nvSpPr>
              <p:cNvPr id="127" name="Freeform 5"/>
              <p:cNvSpPr>
                <a:spLocks noEditPoints="1"/>
              </p:cNvSpPr>
              <p:nvPr/>
            </p:nvSpPr>
            <p:spPr bwMode="auto">
              <a:xfrm>
                <a:off x="16803982" y="-5699150"/>
                <a:ext cx="1311273" cy="1611312"/>
              </a:xfrm>
              <a:custGeom>
                <a:avLst/>
                <a:gdLst>
                  <a:gd name="T0" fmla="*/ 0 w 826"/>
                  <a:gd name="T1" fmla="*/ 0 h 1015"/>
                  <a:gd name="T2" fmla="*/ 0 w 826"/>
                  <a:gd name="T3" fmla="*/ 1015 h 1015"/>
                  <a:gd name="T4" fmla="*/ 268 w 826"/>
                  <a:gd name="T5" fmla="*/ 1015 h 1015"/>
                  <a:gd name="T6" fmla="*/ 268 w 826"/>
                  <a:gd name="T7" fmla="*/ 806 h 1015"/>
                  <a:gd name="T8" fmla="*/ 375 w 826"/>
                  <a:gd name="T9" fmla="*/ 806 h 1015"/>
                  <a:gd name="T10" fmla="*/ 375 w 826"/>
                  <a:gd name="T11" fmla="*/ 1015 h 1015"/>
                  <a:gd name="T12" fmla="*/ 453 w 826"/>
                  <a:gd name="T13" fmla="*/ 1015 h 1015"/>
                  <a:gd name="T14" fmla="*/ 453 w 826"/>
                  <a:gd name="T15" fmla="*/ 806 h 1015"/>
                  <a:gd name="T16" fmla="*/ 563 w 826"/>
                  <a:gd name="T17" fmla="*/ 806 h 1015"/>
                  <a:gd name="T18" fmla="*/ 563 w 826"/>
                  <a:gd name="T19" fmla="*/ 1015 h 1015"/>
                  <a:gd name="T20" fmla="*/ 826 w 826"/>
                  <a:gd name="T21" fmla="*/ 1015 h 1015"/>
                  <a:gd name="T22" fmla="*/ 826 w 826"/>
                  <a:gd name="T23" fmla="*/ 0 h 1015"/>
                  <a:gd name="T24" fmla="*/ 0 w 826"/>
                  <a:gd name="T25" fmla="*/ 0 h 1015"/>
                  <a:gd name="T26" fmla="*/ 748 w 826"/>
                  <a:gd name="T27" fmla="*/ 740 h 1015"/>
                  <a:gd name="T28" fmla="*/ 83 w 826"/>
                  <a:gd name="T29" fmla="*/ 740 h 1015"/>
                  <a:gd name="T30" fmla="*/ 83 w 826"/>
                  <a:gd name="T31" fmla="*/ 633 h 1015"/>
                  <a:gd name="T32" fmla="*/ 748 w 826"/>
                  <a:gd name="T33" fmla="*/ 633 h 1015"/>
                  <a:gd name="T34" fmla="*/ 748 w 826"/>
                  <a:gd name="T35" fmla="*/ 740 h 1015"/>
                  <a:gd name="T36" fmla="*/ 748 w 826"/>
                  <a:gd name="T37" fmla="*/ 555 h 1015"/>
                  <a:gd name="T38" fmla="*/ 83 w 826"/>
                  <a:gd name="T39" fmla="*/ 555 h 1015"/>
                  <a:gd name="T40" fmla="*/ 83 w 826"/>
                  <a:gd name="T41" fmla="*/ 448 h 1015"/>
                  <a:gd name="T42" fmla="*/ 748 w 826"/>
                  <a:gd name="T43" fmla="*/ 448 h 1015"/>
                  <a:gd name="T44" fmla="*/ 748 w 826"/>
                  <a:gd name="T45" fmla="*/ 555 h 1015"/>
                  <a:gd name="T46" fmla="*/ 748 w 826"/>
                  <a:gd name="T47" fmla="*/ 372 h 1015"/>
                  <a:gd name="T48" fmla="*/ 83 w 826"/>
                  <a:gd name="T49" fmla="*/ 372 h 1015"/>
                  <a:gd name="T50" fmla="*/ 83 w 826"/>
                  <a:gd name="T51" fmla="*/ 266 h 1015"/>
                  <a:gd name="T52" fmla="*/ 748 w 826"/>
                  <a:gd name="T53" fmla="*/ 266 h 1015"/>
                  <a:gd name="T54" fmla="*/ 748 w 826"/>
                  <a:gd name="T55" fmla="*/ 372 h 1015"/>
                  <a:gd name="T56" fmla="*/ 748 w 826"/>
                  <a:gd name="T57" fmla="*/ 187 h 1015"/>
                  <a:gd name="T58" fmla="*/ 83 w 826"/>
                  <a:gd name="T59" fmla="*/ 187 h 1015"/>
                  <a:gd name="T60" fmla="*/ 83 w 826"/>
                  <a:gd name="T61" fmla="*/ 81 h 1015"/>
                  <a:gd name="T62" fmla="*/ 748 w 826"/>
                  <a:gd name="T63" fmla="*/ 81 h 1015"/>
                  <a:gd name="T64" fmla="*/ 748 w 826"/>
                  <a:gd name="T65" fmla="*/ 187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6" h="1015">
                    <a:moveTo>
                      <a:pt x="0" y="0"/>
                    </a:moveTo>
                    <a:lnTo>
                      <a:pt x="0" y="1015"/>
                    </a:lnTo>
                    <a:lnTo>
                      <a:pt x="268" y="1015"/>
                    </a:lnTo>
                    <a:lnTo>
                      <a:pt x="268" y="806"/>
                    </a:lnTo>
                    <a:lnTo>
                      <a:pt x="375" y="806"/>
                    </a:lnTo>
                    <a:lnTo>
                      <a:pt x="375" y="1015"/>
                    </a:lnTo>
                    <a:lnTo>
                      <a:pt x="453" y="1015"/>
                    </a:lnTo>
                    <a:lnTo>
                      <a:pt x="453" y="806"/>
                    </a:lnTo>
                    <a:lnTo>
                      <a:pt x="563" y="806"/>
                    </a:lnTo>
                    <a:lnTo>
                      <a:pt x="563" y="1015"/>
                    </a:lnTo>
                    <a:lnTo>
                      <a:pt x="826" y="1015"/>
                    </a:lnTo>
                    <a:lnTo>
                      <a:pt x="826" y="0"/>
                    </a:lnTo>
                    <a:lnTo>
                      <a:pt x="0" y="0"/>
                    </a:lnTo>
                    <a:close/>
                    <a:moveTo>
                      <a:pt x="748" y="740"/>
                    </a:moveTo>
                    <a:lnTo>
                      <a:pt x="83" y="740"/>
                    </a:lnTo>
                    <a:lnTo>
                      <a:pt x="83" y="633"/>
                    </a:lnTo>
                    <a:lnTo>
                      <a:pt x="748" y="633"/>
                    </a:lnTo>
                    <a:lnTo>
                      <a:pt x="748" y="740"/>
                    </a:lnTo>
                    <a:close/>
                    <a:moveTo>
                      <a:pt x="748" y="555"/>
                    </a:moveTo>
                    <a:lnTo>
                      <a:pt x="83" y="555"/>
                    </a:lnTo>
                    <a:lnTo>
                      <a:pt x="83" y="448"/>
                    </a:lnTo>
                    <a:lnTo>
                      <a:pt x="748" y="448"/>
                    </a:lnTo>
                    <a:lnTo>
                      <a:pt x="748" y="555"/>
                    </a:lnTo>
                    <a:close/>
                    <a:moveTo>
                      <a:pt x="748" y="372"/>
                    </a:moveTo>
                    <a:lnTo>
                      <a:pt x="83" y="372"/>
                    </a:lnTo>
                    <a:lnTo>
                      <a:pt x="83" y="266"/>
                    </a:lnTo>
                    <a:lnTo>
                      <a:pt x="748" y="266"/>
                    </a:lnTo>
                    <a:lnTo>
                      <a:pt x="748" y="372"/>
                    </a:lnTo>
                    <a:close/>
                    <a:moveTo>
                      <a:pt x="748" y="187"/>
                    </a:moveTo>
                    <a:lnTo>
                      <a:pt x="83" y="187"/>
                    </a:lnTo>
                    <a:lnTo>
                      <a:pt x="83" y="81"/>
                    </a:lnTo>
                    <a:lnTo>
                      <a:pt x="748" y="81"/>
                    </a:lnTo>
                    <a:lnTo>
                      <a:pt x="748"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1765">
                  <a:solidFill>
                    <a:prstClr val="black"/>
                  </a:solidFill>
                </a:endParaRPr>
              </a:p>
            </p:txBody>
          </p:sp>
          <p:sp>
            <p:nvSpPr>
              <p:cNvPr id="152" name="Freeform 6"/>
              <p:cNvSpPr>
                <a:spLocks noEditPoints="1"/>
              </p:cNvSpPr>
              <p:nvPr/>
            </p:nvSpPr>
            <p:spPr bwMode="auto">
              <a:xfrm>
                <a:off x="17583436" y="-6873903"/>
                <a:ext cx="1308100" cy="2786062"/>
              </a:xfrm>
              <a:custGeom>
                <a:avLst/>
                <a:gdLst>
                  <a:gd name="T0" fmla="*/ 0 w 824"/>
                  <a:gd name="T1" fmla="*/ 0 h 1755"/>
                  <a:gd name="T2" fmla="*/ 0 w 824"/>
                  <a:gd name="T3" fmla="*/ 686 h 1755"/>
                  <a:gd name="T4" fmla="*/ 81 w 824"/>
                  <a:gd name="T5" fmla="*/ 686 h 1755"/>
                  <a:gd name="T6" fmla="*/ 81 w 824"/>
                  <a:gd name="T7" fmla="*/ 636 h 1755"/>
                  <a:gd name="T8" fmla="*/ 748 w 824"/>
                  <a:gd name="T9" fmla="*/ 636 h 1755"/>
                  <a:gd name="T10" fmla="*/ 748 w 824"/>
                  <a:gd name="T11" fmla="*/ 742 h 1755"/>
                  <a:gd name="T12" fmla="*/ 414 w 824"/>
                  <a:gd name="T13" fmla="*/ 742 h 1755"/>
                  <a:gd name="T14" fmla="*/ 414 w 824"/>
                  <a:gd name="T15" fmla="*/ 821 h 1755"/>
                  <a:gd name="T16" fmla="*/ 748 w 824"/>
                  <a:gd name="T17" fmla="*/ 821 h 1755"/>
                  <a:gd name="T18" fmla="*/ 748 w 824"/>
                  <a:gd name="T19" fmla="*/ 927 h 1755"/>
                  <a:gd name="T20" fmla="*/ 414 w 824"/>
                  <a:gd name="T21" fmla="*/ 927 h 1755"/>
                  <a:gd name="T22" fmla="*/ 414 w 824"/>
                  <a:gd name="T23" fmla="*/ 1006 h 1755"/>
                  <a:gd name="T24" fmla="*/ 748 w 824"/>
                  <a:gd name="T25" fmla="*/ 1006 h 1755"/>
                  <a:gd name="T26" fmla="*/ 748 w 824"/>
                  <a:gd name="T27" fmla="*/ 1112 h 1755"/>
                  <a:gd name="T28" fmla="*/ 414 w 824"/>
                  <a:gd name="T29" fmla="*/ 1112 h 1755"/>
                  <a:gd name="T30" fmla="*/ 414 w 824"/>
                  <a:gd name="T31" fmla="*/ 1188 h 1755"/>
                  <a:gd name="T32" fmla="*/ 748 w 824"/>
                  <a:gd name="T33" fmla="*/ 1188 h 1755"/>
                  <a:gd name="T34" fmla="*/ 748 w 824"/>
                  <a:gd name="T35" fmla="*/ 1295 h 1755"/>
                  <a:gd name="T36" fmla="*/ 414 w 824"/>
                  <a:gd name="T37" fmla="*/ 1295 h 1755"/>
                  <a:gd name="T38" fmla="*/ 414 w 824"/>
                  <a:gd name="T39" fmla="*/ 1373 h 1755"/>
                  <a:gd name="T40" fmla="*/ 748 w 824"/>
                  <a:gd name="T41" fmla="*/ 1373 h 1755"/>
                  <a:gd name="T42" fmla="*/ 748 w 824"/>
                  <a:gd name="T43" fmla="*/ 1480 h 1755"/>
                  <a:gd name="T44" fmla="*/ 414 w 824"/>
                  <a:gd name="T45" fmla="*/ 1480 h 1755"/>
                  <a:gd name="T46" fmla="*/ 414 w 824"/>
                  <a:gd name="T47" fmla="*/ 1755 h 1755"/>
                  <a:gd name="T48" fmla="*/ 454 w 824"/>
                  <a:gd name="T49" fmla="*/ 1755 h 1755"/>
                  <a:gd name="T50" fmla="*/ 454 w 824"/>
                  <a:gd name="T51" fmla="*/ 1546 h 1755"/>
                  <a:gd name="T52" fmla="*/ 561 w 824"/>
                  <a:gd name="T53" fmla="*/ 1546 h 1755"/>
                  <a:gd name="T54" fmla="*/ 561 w 824"/>
                  <a:gd name="T55" fmla="*/ 1755 h 1755"/>
                  <a:gd name="T56" fmla="*/ 824 w 824"/>
                  <a:gd name="T57" fmla="*/ 1755 h 1755"/>
                  <a:gd name="T58" fmla="*/ 824 w 824"/>
                  <a:gd name="T59" fmla="*/ 0 h 1755"/>
                  <a:gd name="T60" fmla="*/ 0 w 824"/>
                  <a:gd name="T61" fmla="*/ 0 h 1755"/>
                  <a:gd name="T62" fmla="*/ 748 w 824"/>
                  <a:gd name="T63" fmla="*/ 558 h 1755"/>
                  <a:gd name="T64" fmla="*/ 81 w 824"/>
                  <a:gd name="T65" fmla="*/ 558 h 1755"/>
                  <a:gd name="T66" fmla="*/ 81 w 824"/>
                  <a:gd name="T67" fmla="*/ 451 h 1755"/>
                  <a:gd name="T68" fmla="*/ 748 w 824"/>
                  <a:gd name="T69" fmla="*/ 451 h 1755"/>
                  <a:gd name="T70" fmla="*/ 748 w 824"/>
                  <a:gd name="T71" fmla="*/ 558 h 1755"/>
                  <a:gd name="T72" fmla="*/ 748 w 824"/>
                  <a:gd name="T73" fmla="*/ 375 h 1755"/>
                  <a:gd name="T74" fmla="*/ 81 w 824"/>
                  <a:gd name="T75" fmla="*/ 375 h 1755"/>
                  <a:gd name="T76" fmla="*/ 81 w 824"/>
                  <a:gd name="T77" fmla="*/ 268 h 1755"/>
                  <a:gd name="T78" fmla="*/ 748 w 824"/>
                  <a:gd name="T79" fmla="*/ 268 h 1755"/>
                  <a:gd name="T80" fmla="*/ 748 w 824"/>
                  <a:gd name="T81" fmla="*/ 375 h 1755"/>
                  <a:gd name="T82" fmla="*/ 748 w 824"/>
                  <a:gd name="T83" fmla="*/ 190 h 1755"/>
                  <a:gd name="T84" fmla="*/ 81 w 824"/>
                  <a:gd name="T85" fmla="*/ 190 h 1755"/>
                  <a:gd name="T86" fmla="*/ 81 w 824"/>
                  <a:gd name="T87" fmla="*/ 83 h 1755"/>
                  <a:gd name="T88" fmla="*/ 748 w 824"/>
                  <a:gd name="T89" fmla="*/ 83 h 1755"/>
                  <a:gd name="T90" fmla="*/ 748 w 824"/>
                  <a:gd name="T91" fmla="*/ 19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5">
                    <a:moveTo>
                      <a:pt x="0" y="0"/>
                    </a:moveTo>
                    <a:lnTo>
                      <a:pt x="0" y="686"/>
                    </a:lnTo>
                    <a:lnTo>
                      <a:pt x="81" y="686"/>
                    </a:lnTo>
                    <a:lnTo>
                      <a:pt x="81" y="636"/>
                    </a:lnTo>
                    <a:lnTo>
                      <a:pt x="748" y="636"/>
                    </a:lnTo>
                    <a:lnTo>
                      <a:pt x="748" y="742"/>
                    </a:lnTo>
                    <a:lnTo>
                      <a:pt x="414" y="742"/>
                    </a:lnTo>
                    <a:lnTo>
                      <a:pt x="414" y="821"/>
                    </a:lnTo>
                    <a:lnTo>
                      <a:pt x="748" y="821"/>
                    </a:lnTo>
                    <a:lnTo>
                      <a:pt x="748" y="927"/>
                    </a:lnTo>
                    <a:lnTo>
                      <a:pt x="414" y="927"/>
                    </a:lnTo>
                    <a:lnTo>
                      <a:pt x="414" y="1006"/>
                    </a:lnTo>
                    <a:lnTo>
                      <a:pt x="748" y="1006"/>
                    </a:lnTo>
                    <a:lnTo>
                      <a:pt x="748" y="1112"/>
                    </a:lnTo>
                    <a:lnTo>
                      <a:pt x="414" y="1112"/>
                    </a:lnTo>
                    <a:lnTo>
                      <a:pt x="414" y="1188"/>
                    </a:lnTo>
                    <a:lnTo>
                      <a:pt x="748" y="1188"/>
                    </a:lnTo>
                    <a:lnTo>
                      <a:pt x="748" y="1295"/>
                    </a:lnTo>
                    <a:lnTo>
                      <a:pt x="414" y="1295"/>
                    </a:lnTo>
                    <a:lnTo>
                      <a:pt x="414" y="1373"/>
                    </a:lnTo>
                    <a:lnTo>
                      <a:pt x="748" y="1373"/>
                    </a:lnTo>
                    <a:lnTo>
                      <a:pt x="748" y="1480"/>
                    </a:lnTo>
                    <a:lnTo>
                      <a:pt x="414" y="1480"/>
                    </a:lnTo>
                    <a:lnTo>
                      <a:pt x="414" y="1755"/>
                    </a:lnTo>
                    <a:lnTo>
                      <a:pt x="454" y="1755"/>
                    </a:lnTo>
                    <a:lnTo>
                      <a:pt x="454" y="1546"/>
                    </a:lnTo>
                    <a:lnTo>
                      <a:pt x="561" y="1546"/>
                    </a:lnTo>
                    <a:lnTo>
                      <a:pt x="561" y="1755"/>
                    </a:lnTo>
                    <a:lnTo>
                      <a:pt x="824" y="1755"/>
                    </a:lnTo>
                    <a:lnTo>
                      <a:pt x="824" y="0"/>
                    </a:lnTo>
                    <a:lnTo>
                      <a:pt x="0" y="0"/>
                    </a:lnTo>
                    <a:close/>
                    <a:moveTo>
                      <a:pt x="748" y="558"/>
                    </a:moveTo>
                    <a:lnTo>
                      <a:pt x="81" y="558"/>
                    </a:lnTo>
                    <a:lnTo>
                      <a:pt x="81" y="451"/>
                    </a:lnTo>
                    <a:lnTo>
                      <a:pt x="748" y="451"/>
                    </a:lnTo>
                    <a:lnTo>
                      <a:pt x="748" y="558"/>
                    </a:lnTo>
                    <a:close/>
                    <a:moveTo>
                      <a:pt x="748" y="375"/>
                    </a:moveTo>
                    <a:lnTo>
                      <a:pt x="81" y="375"/>
                    </a:lnTo>
                    <a:lnTo>
                      <a:pt x="81" y="268"/>
                    </a:lnTo>
                    <a:lnTo>
                      <a:pt x="748" y="268"/>
                    </a:lnTo>
                    <a:lnTo>
                      <a:pt x="748" y="375"/>
                    </a:lnTo>
                    <a:close/>
                    <a:moveTo>
                      <a:pt x="748" y="190"/>
                    </a:moveTo>
                    <a:lnTo>
                      <a:pt x="81" y="190"/>
                    </a:lnTo>
                    <a:lnTo>
                      <a:pt x="81" y="83"/>
                    </a:lnTo>
                    <a:lnTo>
                      <a:pt x="748" y="83"/>
                    </a:lnTo>
                    <a:lnTo>
                      <a:pt x="748" y="19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1765">
                  <a:solidFill>
                    <a:prstClr val="black"/>
                  </a:solidFill>
                </a:endParaRPr>
              </a:p>
            </p:txBody>
          </p:sp>
        </p:grpSp>
        <p:grpSp>
          <p:nvGrpSpPr>
            <p:cNvPr id="153" name="Group 152"/>
            <p:cNvGrpSpPr/>
            <p:nvPr/>
          </p:nvGrpSpPr>
          <p:grpSpPr>
            <a:xfrm>
              <a:off x="2206381" y="2881365"/>
              <a:ext cx="541173" cy="429311"/>
              <a:chOff x="26750213" y="-2462980"/>
              <a:chExt cx="3724275" cy="2964513"/>
            </a:xfrm>
            <a:grpFill/>
          </p:grpSpPr>
          <p:sp>
            <p:nvSpPr>
              <p:cNvPr id="154" name="Freeform 29"/>
              <p:cNvSpPr>
                <a:spLocks noEditPoints="1"/>
              </p:cNvSpPr>
              <p:nvPr/>
            </p:nvSpPr>
            <p:spPr bwMode="auto">
              <a:xfrm>
                <a:off x="26750213" y="-2194044"/>
                <a:ext cx="3724275" cy="2695577"/>
              </a:xfrm>
              <a:custGeom>
                <a:avLst/>
                <a:gdLst>
                  <a:gd name="T0" fmla="*/ 857 w 990"/>
                  <a:gd name="T1" fmla="*/ 0 h 716"/>
                  <a:gd name="T2" fmla="*/ 693 w 990"/>
                  <a:gd name="T3" fmla="*/ 0 h 716"/>
                  <a:gd name="T4" fmla="*/ 670 w 990"/>
                  <a:gd name="T5" fmla="*/ 9 h 716"/>
                  <a:gd name="T6" fmla="*/ 487 w 990"/>
                  <a:gd name="T7" fmla="*/ 188 h 716"/>
                  <a:gd name="T8" fmla="*/ 487 w 990"/>
                  <a:gd name="T9" fmla="*/ 142 h 716"/>
                  <a:gd name="T10" fmla="*/ 420 w 990"/>
                  <a:gd name="T11" fmla="*/ 75 h 716"/>
                  <a:gd name="T12" fmla="*/ 352 w 990"/>
                  <a:gd name="T13" fmla="*/ 142 h 716"/>
                  <a:gd name="T14" fmla="*/ 352 w 990"/>
                  <a:gd name="T15" fmla="*/ 319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7 w 990"/>
                  <a:gd name="T37" fmla="*/ 202 h 716"/>
                  <a:gd name="T38" fmla="*/ 746 w 990"/>
                  <a:gd name="T39" fmla="*/ 202 h 716"/>
                  <a:gd name="T40" fmla="*/ 723 w 990"/>
                  <a:gd name="T41" fmla="*/ 211 h 716"/>
                  <a:gd name="T42" fmla="*/ 272 w 990"/>
                  <a:gd name="T43" fmla="*/ 652 h 716"/>
                  <a:gd name="T44" fmla="*/ 133 w 990"/>
                  <a:gd name="T45" fmla="*/ 652 h 716"/>
                  <a:gd name="T46" fmla="*/ 64 w 990"/>
                  <a:gd name="T47" fmla="*/ 583 h 716"/>
                  <a:gd name="T48" fmla="*/ 133 w 990"/>
                  <a:gd name="T49" fmla="*/ 514 h 716"/>
                  <a:gd name="T50" fmla="*/ 230 w 990"/>
                  <a:gd name="T51" fmla="*/ 514 h 716"/>
                  <a:gd name="T52" fmla="*/ 253 w 990"/>
                  <a:gd name="T53" fmla="*/ 505 h 716"/>
                  <a:gd name="T54" fmla="*/ 706 w 990"/>
                  <a:gd name="T55" fmla="*/ 64 h 716"/>
                  <a:gd name="T56" fmla="*/ 857 w 990"/>
                  <a:gd name="T57" fmla="*/ 64 h 716"/>
                  <a:gd name="T58" fmla="*/ 926 w 990"/>
                  <a:gd name="T59" fmla="*/ 133 h 716"/>
                  <a:gd name="T60" fmla="*/ 857 w 990"/>
                  <a:gd name="T6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0" h="716">
                    <a:moveTo>
                      <a:pt x="857" y="0"/>
                    </a:moveTo>
                    <a:cubicBezTo>
                      <a:pt x="693" y="0"/>
                      <a:pt x="693" y="0"/>
                      <a:pt x="693" y="0"/>
                    </a:cubicBezTo>
                    <a:cubicBezTo>
                      <a:pt x="684" y="0"/>
                      <a:pt x="676" y="3"/>
                      <a:pt x="670" y="9"/>
                    </a:cubicBezTo>
                    <a:cubicBezTo>
                      <a:pt x="487" y="188"/>
                      <a:pt x="487" y="188"/>
                      <a:pt x="487" y="188"/>
                    </a:cubicBezTo>
                    <a:cubicBezTo>
                      <a:pt x="487" y="142"/>
                      <a:pt x="487" y="142"/>
                      <a:pt x="487" y="142"/>
                    </a:cubicBezTo>
                    <a:cubicBezTo>
                      <a:pt x="487" y="105"/>
                      <a:pt x="457" y="75"/>
                      <a:pt x="420" y="75"/>
                    </a:cubicBezTo>
                    <a:cubicBezTo>
                      <a:pt x="383" y="75"/>
                      <a:pt x="352" y="105"/>
                      <a:pt x="352" y="142"/>
                    </a:cubicBezTo>
                    <a:cubicBezTo>
                      <a:pt x="352" y="319"/>
                      <a:pt x="352" y="319"/>
                      <a:pt x="352" y="319"/>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7" y="202"/>
                    </a:moveTo>
                    <a:cubicBezTo>
                      <a:pt x="746" y="202"/>
                      <a:pt x="746" y="202"/>
                      <a:pt x="746" y="202"/>
                    </a:cubicBezTo>
                    <a:cubicBezTo>
                      <a:pt x="737" y="202"/>
                      <a:pt x="729" y="205"/>
                      <a:pt x="723" y="211"/>
                    </a:cubicBezTo>
                    <a:cubicBezTo>
                      <a:pt x="272" y="652"/>
                      <a:pt x="272" y="652"/>
                      <a:pt x="272" y="652"/>
                    </a:cubicBezTo>
                    <a:cubicBezTo>
                      <a:pt x="133" y="652"/>
                      <a:pt x="133" y="652"/>
                      <a:pt x="133" y="652"/>
                    </a:cubicBezTo>
                    <a:cubicBezTo>
                      <a:pt x="95" y="652"/>
                      <a:pt x="64" y="621"/>
                      <a:pt x="64" y="583"/>
                    </a:cubicBezTo>
                    <a:cubicBezTo>
                      <a:pt x="64" y="545"/>
                      <a:pt x="95"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6" y="95"/>
                      <a:pt x="926" y="133"/>
                    </a:cubicBezTo>
                    <a:cubicBezTo>
                      <a:pt x="926" y="171"/>
                      <a:pt x="895" y="202"/>
                      <a:pt x="857"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55" name="Oval 30"/>
              <p:cNvSpPr>
                <a:spLocks noChangeArrowheads="1"/>
              </p:cNvSpPr>
              <p:nvPr/>
            </p:nvSpPr>
            <p:spPr bwMode="auto">
              <a:xfrm>
                <a:off x="28057542" y="-2462980"/>
                <a:ext cx="507999" cy="50799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grpSp>
        <p:grpSp>
          <p:nvGrpSpPr>
            <p:cNvPr id="156" name="Group 155"/>
            <p:cNvGrpSpPr/>
            <p:nvPr/>
          </p:nvGrpSpPr>
          <p:grpSpPr>
            <a:xfrm flipH="1">
              <a:off x="2189611" y="3540254"/>
              <a:ext cx="574712" cy="247658"/>
              <a:chOff x="-36932666" y="-24367015"/>
              <a:chExt cx="41830619" cy="18087175"/>
            </a:xfrm>
            <a:grpFill/>
          </p:grpSpPr>
          <p:sp>
            <p:nvSpPr>
              <p:cNvPr id="157" name="Freeform 34"/>
              <p:cNvSpPr>
                <a:spLocks noEditPoints="1"/>
              </p:cNvSpPr>
              <p:nvPr/>
            </p:nvSpPr>
            <p:spPr bwMode="auto">
              <a:xfrm>
                <a:off x="-34103589" y="-11296319"/>
                <a:ext cx="5014855" cy="5016479"/>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58" name="Freeform 35"/>
              <p:cNvSpPr>
                <a:spLocks noEditPoints="1"/>
              </p:cNvSpPr>
              <p:nvPr/>
            </p:nvSpPr>
            <p:spPr bwMode="auto">
              <a:xfrm>
                <a:off x="-9324454" y="-11324421"/>
                <a:ext cx="5014855" cy="5016479"/>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59" name="Freeform 36"/>
              <p:cNvSpPr>
                <a:spLocks noEditPoints="1"/>
              </p:cNvSpPr>
              <p:nvPr/>
            </p:nvSpPr>
            <p:spPr bwMode="auto">
              <a:xfrm>
                <a:off x="-36932666" y="-24367015"/>
                <a:ext cx="41830619" cy="15690848"/>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grpSp>
        <p:sp>
          <p:nvSpPr>
            <p:cNvPr id="160" name="Freeform 139"/>
            <p:cNvSpPr>
              <a:spLocks noChangeAspect="1" noEditPoints="1"/>
            </p:cNvSpPr>
            <p:nvPr/>
          </p:nvSpPr>
          <p:spPr bwMode="black">
            <a:xfrm>
              <a:off x="3027340" y="4305112"/>
              <a:ext cx="345112" cy="415619"/>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61" name="Group 160"/>
            <p:cNvGrpSpPr/>
            <p:nvPr/>
          </p:nvGrpSpPr>
          <p:grpSpPr>
            <a:xfrm>
              <a:off x="3028400" y="2854609"/>
              <a:ext cx="403660" cy="536602"/>
              <a:chOff x="6162675" y="-5616575"/>
              <a:chExt cx="3976688" cy="5286375"/>
            </a:xfrm>
            <a:grpFill/>
          </p:grpSpPr>
          <p:sp>
            <p:nvSpPr>
              <p:cNvPr id="162" name="Freeform 5"/>
              <p:cNvSpPr>
                <a:spLocks noEditPoints="1"/>
              </p:cNvSpPr>
              <p:nvPr/>
            </p:nvSpPr>
            <p:spPr bwMode="auto">
              <a:xfrm>
                <a:off x="6645275" y="-4291013"/>
                <a:ext cx="3011488" cy="2630488"/>
              </a:xfrm>
              <a:custGeom>
                <a:avLst/>
                <a:gdLst>
                  <a:gd name="T0" fmla="*/ 622 w 801"/>
                  <a:gd name="T1" fmla="*/ 190 h 700"/>
                  <a:gd name="T2" fmla="*/ 761 w 801"/>
                  <a:gd name="T3" fmla="*/ 190 h 700"/>
                  <a:gd name="T4" fmla="*/ 801 w 801"/>
                  <a:gd name="T5" fmla="*/ 231 h 700"/>
                  <a:gd name="T6" fmla="*/ 801 w 801"/>
                  <a:gd name="T7" fmla="*/ 423 h 700"/>
                  <a:gd name="T8" fmla="*/ 761 w 801"/>
                  <a:gd name="T9" fmla="*/ 464 h 700"/>
                  <a:gd name="T10" fmla="*/ 761 w 801"/>
                  <a:gd name="T11" fmla="*/ 659 h 700"/>
                  <a:gd name="T12" fmla="*/ 721 w 801"/>
                  <a:gd name="T13" fmla="*/ 700 h 700"/>
                  <a:gd name="T14" fmla="*/ 660 w 801"/>
                  <a:gd name="T15" fmla="*/ 700 h 700"/>
                  <a:gd name="T16" fmla="*/ 622 w 801"/>
                  <a:gd name="T17" fmla="*/ 659 h 700"/>
                  <a:gd name="T18" fmla="*/ 622 w 801"/>
                  <a:gd name="T19" fmla="*/ 464 h 700"/>
                  <a:gd name="T20" fmla="*/ 582 w 801"/>
                  <a:gd name="T21" fmla="*/ 423 h 700"/>
                  <a:gd name="T22" fmla="*/ 582 w 801"/>
                  <a:gd name="T23" fmla="*/ 231 h 700"/>
                  <a:gd name="T24" fmla="*/ 622 w 801"/>
                  <a:gd name="T25" fmla="*/ 190 h 700"/>
                  <a:gd name="T26" fmla="*/ 40 w 801"/>
                  <a:gd name="T27" fmla="*/ 190 h 700"/>
                  <a:gd name="T28" fmla="*/ 178 w 801"/>
                  <a:gd name="T29" fmla="*/ 190 h 700"/>
                  <a:gd name="T30" fmla="*/ 218 w 801"/>
                  <a:gd name="T31" fmla="*/ 231 h 700"/>
                  <a:gd name="T32" fmla="*/ 218 w 801"/>
                  <a:gd name="T33" fmla="*/ 423 h 700"/>
                  <a:gd name="T34" fmla="*/ 178 w 801"/>
                  <a:gd name="T35" fmla="*/ 464 h 700"/>
                  <a:gd name="T36" fmla="*/ 178 w 801"/>
                  <a:gd name="T37" fmla="*/ 659 h 700"/>
                  <a:gd name="T38" fmla="*/ 140 w 801"/>
                  <a:gd name="T39" fmla="*/ 700 h 700"/>
                  <a:gd name="T40" fmla="*/ 80 w 801"/>
                  <a:gd name="T41" fmla="*/ 700 h 700"/>
                  <a:gd name="T42" fmla="*/ 40 w 801"/>
                  <a:gd name="T43" fmla="*/ 659 h 700"/>
                  <a:gd name="T44" fmla="*/ 40 w 801"/>
                  <a:gd name="T45" fmla="*/ 464 h 700"/>
                  <a:gd name="T46" fmla="*/ 0 w 801"/>
                  <a:gd name="T47" fmla="*/ 423 h 700"/>
                  <a:gd name="T48" fmla="*/ 0 w 801"/>
                  <a:gd name="T49" fmla="*/ 231 h 700"/>
                  <a:gd name="T50" fmla="*/ 40 w 801"/>
                  <a:gd name="T51" fmla="*/ 190 h 700"/>
                  <a:gd name="T52" fmla="*/ 320 w 801"/>
                  <a:gd name="T53" fmla="*/ 172 h 700"/>
                  <a:gd name="T54" fmla="*/ 481 w 801"/>
                  <a:gd name="T55" fmla="*/ 172 h 700"/>
                  <a:gd name="T56" fmla="*/ 529 w 801"/>
                  <a:gd name="T57" fmla="*/ 221 h 700"/>
                  <a:gd name="T58" fmla="*/ 529 w 801"/>
                  <a:gd name="T59" fmla="*/ 444 h 700"/>
                  <a:gd name="T60" fmla="*/ 481 w 801"/>
                  <a:gd name="T61" fmla="*/ 493 h 700"/>
                  <a:gd name="T62" fmla="*/ 481 w 801"/>
                  <a:gd name="T63" fmla="*/ 651 h 700"/>
                  <a:gd name="T64" fmla="*/ 435 w 801"/>
                  <a:gd name="T65" fmla="*/ 700 h 700"/>
                  <a:gd name="T66" fmla="*/ 366 w 801"/>
                  <a:gd name="T67" fmla="*/ 700 h 700"/>
                  <a:gd name="T68" fmla="*/ 320 w 801"/>
                  <a:gd name="T69" fmla="*/ 651 h 700"/>
                  <a:gd name="T70" fmla="*/ 320 w 801"/>
                  <a:gd name="T71" fmla="*/ 493 h 700"/>
                  <a:gd name="T72" fmla="*/ 272 w 801"/>
                  <a:gd name="T73" fmla="*/ 444 h 700"/>
                  <a:gd name="T74" fmla="*/ 272 w 801"/>
                  <a:gd name="T75" fmla="*/ 221 h 700"/>
                  <a:gd name="T76" fmla="*/ 320 w 801"/>
                  <a:gd name="T77" fmla="*/ 172 h 700"/>
                  <a:gd name="T78" fmla="*/ 691 w 801"/>
                  <a:gd name="T79" fmla="*/ 42 h 700"/>
                  <a:gd name="T80" fmla="*/ 757 w 801"/>
                  <a:gd name="T81" fmla="*/ 110 h 700"/>
                  <a:gd name="T82" fmla="*/ 691 w 801"/>
                  <a:gd name="T83" fmla="*/ 178 h 700"/>
                  <a:gd name="T84" fmla="*/ 626 w 801"/>
                  <a:gd name="T85" fmla="*/ 110 h 700"/>
                  <a:gd name="T86" fmla="*/ 691 w 801"/>
                  <a:gd name="T87" fmla="*/ 42 h 700"/>
                  <a:gd name="T88" fmla="*/ 109 w 801"/>
                  <a:gd name="T89" fmla="*/ 42 h 700"/>
                  <a:gd name="T90" fmla="*/ 174 w 801"/>
                  <a:gd name="T91" fmla="*/ 110 h 700"/>
                  <a:gd name="T92" fmla="*/ 109 w 801"/>
                  <a:gd name="T93" fmla="*/ 178 h 700"/>
                  <a:gd name="T94" fmla="*/ 44 w 801"/>
                  <a:gd name="T95" fmla="*/ 110 h 700"/>
                  <a:gd name="T96" fmla="*/ 109 w 801"/>
                  <a:gd name="T97" fmla="*/ 42 h 700"/>
                  <a:gd name="T98" fmla="*/ 400 w 801"/>
                  <a:gd name="T99" fmla="*/ 0 h 700"/>
                  <a:gd name="T100" fmla="*/ 476 w 801"/>
                  <a:gd name="T101" fmla="*/ 78 h 700"/>
                  <a:gd name="T102" fmla="*/ 400 w 801"/>
                  <a:gd name="T103" fmla="*/ 157 h 700"/>
                  <a:gd name="T104" fmla="*/ 324 w 801"/>
                  <a:gd name="T105" fmla="*/ 78 h 700"/>
                  <a:gd name="T106" fmla="*/ 400 w 801"/>
                  <a:gd name="T107"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1" h="700">
                    <a:moveTo>
                      <a:pt x="622" y="190"/>
                    </a:moveTo>
                    <a:cubicBezTo>
                      <a:pt x="622" y="190"/>
                      <a:pt x="623" y="190"/>
                      <a:pt x="761" y="190"/>
                    </a:cubicBezTo>
                    <a:cubicBezTo>
                      <a:pt x="783" y="190"/>
                      <a:pt x="801" y="208"/>
                      <a:pt x="801" y="231"/>
                    </a:cubicBezTo>
                    <a:cubicBezTo>
                      <a:pt x="801" y="231"/>
                      <a:pt x="801" y="232"/>
                      <a:pt x="801" y="423"/>
                    </a:cubicBezTo>
                    <a:cubicBezTo>
                      <a:pt x="801" y="446"/>
                      <a:pt x="783" y="464"/>
                      <a:pt x="761" y="464"/>
                    </a:cubicBezTo>
                    <a:cubicBezTo>
                      <a:pt x="761" y="464"/>
                      <a:pt x="761" y="523"/>
                      <a:pt x="761" y="659"/>
                    </a:cubicBezTo>
                    <a:cubicBezTo>
                      <a:pt x="761" y="682"/>
                      <a:pt x="743" y="700"/>
                      <a:pt x="721" y="700"/>
                    </a:cubicBezTo>
                    <a:cubicBezTo>
                      <a:pt x="721" y="700"/>
                      <a:pt x="720" y="700"/>
                      <a:pt x="660" y="700"/>
                    </a:cubicBezTo>
                    <a:cubicBezTo>
                      <a:pt x="640" y="700"/>
                      <a:pt x="622" y="682"/>
                      <a:pt x="622" y="659"/>
                    </a:cubicBezTo>
                    <a:cubicBezTo>
                      <a:pt x="622" y="659"/>
                      <a:pt x="622" y="601"/>
                      <a:pt x="622" y="464"/>
                    </a:cubicBezTo>
                    <a:cubicBezTo>
                      <a:pt x="600" y="464"/>
                      <a:pt x="582" y="446"/>
                      <a:pt x="582" y="423"/>
                    </a:cubicBezTo>
                    <a:cubicBezTo>
                      <a:pt x="582" y="423"/>
                      <a:pt x="582" y="422"/>
                      <a:pt x="582" y="231"/>
                    </a:cubicBezTo>
                    <a:cubicBezTo>
                      <a:pt x="582" y="208"/>
                      <a:pt x="600" y="190"/>
                      <a:pt x="622" y="190"/>
                    </a:cubicBezTo>
                    <a:close/>
                    <a:moveTo>
                      <a:pt x="40" y="190"/>
                    </a:moveTo>
                    <a:cubicBezTo>
                      <a:pt x="40" y="190"/>
                      <a:pt x="41" y="190"/>
                      <a:pt x="178" y="190"/>
                    </a:cubicBezTo>
                    <a:cubicBezTo>
                      <a:pt x="200" y="190"/>
                      <a:pt x="218" y="208"/>
                      <a:pt x="218" y="231"/>
                    </a:cubicBezTo>
                    <a:cubicBezTo>
                      <a:pt x="218" y="231"/>
                      <a:pt x="218" y="232"/>
                      <a:pt x="218" y="423"/>
                    </a:cubicBezTo>
                    <a:cubicBezTo>
                      <a:pt x="218" y="446"/>
                      <a:pt x="200" y="464"/>
                      <a:pt x="178" y="464"/>
                    </a:cubicBezTo>
                    <a:cubicBezTo>
                      <a:pt x="178" y="464"/>
                      <a:pt x="178" y="522"/>
                      <a:pt x="178" y="659"/>
                    </a:cubicBezTo>
                    <a:cubicBezTo>
                      <a:pt x="178" y="682"/>
                      <a:pt x="160" y="700"/>
                      <a:pt x="140" y="700"/>
                    </a:cubicBezTo>
                    <a:cubicBezTo>
                      <a:pt x="140" y="700"/>
                      <a:pt x="140" y="700"/>
                      <a:pt x="80" y="700"/>
                    </a:cubicBezTo>
                    <a:cubicBezTo>
                      <a:pt x="58" y="700"/>
                      <a:pt x="40" y="682"/>
                      <a:pt x="40" y="659"/>
                    </a:cubicBezTo>
                    <a:cubicBezTo>
                      <a:pt x="40" y="659"/>
                      <a:pt x="40" y="601"/>
                      <a:pt x="40" y="464"/>
                    </a:cubicBezTo>
                    <a:cubicBezTo>
                      <a:pt x="18" y="464"/>
                      <a:pt x="0" y="446"/>
                      <a:pt x="0" y="423"/>
                    </a:cubicBezTo>
                    <a:cubicBezTo>
                      <a:pt x="0" y="423"/>
                      <a:pt x="0" y="423"/>
                      <a:pt x="0" y="231"/>
                    </a:cubicBezTo>
                    <a:cubicBezTo>
                      <a:pt x="0" y="208"/>
                      <a:pt x="18" y="190"/>
                      <a:pt x="40" y="190"/>
                    </a:cubicBezTo>
                    <a:close/>
                    <a:moveTo>
                      <a:pt x="320" y="172"/>
                    </a:moveTo>
                    <a:cubicBezTo>
                      <a:pt x="320" y="172"/>
                      <a:pt x="321" y="172"/>
                      <a:pt x="481" y="172"/>
                    </a:cubicBezTo>
                    <a:cubicBezTo>
                      <a:pt x="507" y="172"/>
                      <a:pt x="529" y="194"/>
                      <a:pt x="529" y="221"/>
                    </a:cubicBezTo>
                    <a:cubicBezTo>
                      <a:pt x="529" y="221"/>
                      <a:pt x="529" y="222"/>
                      <a:pt x="529" y="444"/>
                    </a:cubicBezTo>
                    <a:cubicBezTo>
                      <a:pt x="529" y="471"/>
                      <a:pt x="507" y="493"/>
                      <a:pt x="481" y="493"/>
                    </a:cubicBezTo>
                    <a:cubicBezTo>
                      <a:pt x="481" y="493"/>
                      <a:pt x="481" y="494"/>
                      <a:pt x="481" y="651"/>
                    </a:cubicBezTo>
                    <a:cubicBezTo>
                      <a:pt x="481" y="677"/>
                      <a:pt x="461" y="700"/>
                      <a:pt x="435" y="700"/>
                    </a:cubicBezTo>
                    <a:cubicBezTo>
                      <a:pt x="435" y="700"/>
                      <a:pt x="434" y="700"/>
                      <a:pt x="366" y="700"/>
                    </a:cubicBezTo>
                    <a:cubicBezTo>
                      <a:pt x="340" y="700"/>
                      <a:pt x="320" y="677"/>
                      <a:pt x="320" y="651"/>
                    </a:cubicBezTo>
                    <a:cubicBezTo>
                      <a:pt x="320" y="651"/>
                      <a:pt x="320" y="650"/>
                      <a:pt x="320" y="493"/>
                    </a:cubicBezTo>
                    <a:cubicBezTo>
                      <a:pt x="294" y="493"/>
                      <a:pt x="272" y="471"/>
                      <a:pt x="272" y="444"/>
                    </a:cubicBezTo>
                    <a:cubicBezTo>
                      <a:pt x="272" y="444"/>
                      <a:pt x="272" y="443"/>
                      <a:pt x="272" y="221"/>
                    </a:cubicBezTo>
                    <a:cubicBezTo>
                      <a:pt x="272" y="194"/>
                      <a:pt x="294" y="172"/>
                      <a:pt x="320" y="172"/>
                    </a:cubicBezTo>
                    <a:close/>
                    <a:moveTo>
                      <a:pt x="691" y="42"/>
                    </a:moveTo>
                    <a:cubicBezTo>
                      <a:pt x="727" y="42"/>
                      <a:pt x="757" y="73"/>
                      <a:pt x="757" y="110"/>
                    </a:cubicBezTo>
                    <a:cubicBezTo>
                      <a:pt x="757" y="147"/>
                      <a:pt x="727" y="178"/>
                      <a:pt x="691" y="178"/>
                    </a:cubicBezTo>
                    <a:cubicBezTo>
                      <a:pt x="655" y="178"/>
                      <a:pt x="626" y="147"/>
                      <a:pt x="626" y="110"/>
                    </a:cubicBezTo>
                    <a:cubicBezTo>
                      <a:pt x="626" y="73"/>
                      <a:pt x="655" y="42"/>
                      <a:pt x="691" y="42"/>
                    </a:cubicBezTo>
                    <a:close/>
                    <a:moveTo>
                      <a:pt x="109" y="42"/>
                    </a:moveTo>
                    <a:cubicBezTo>
                      <a:pt x="145" y="42"/>
                      <a:pt x="174" y="73"/>
                      <a:pt x="174" y="110"/>
                    </a:cubicBezTo>
                    <a:cubicBezTo>
                      <a:pt x="174" y="147"/>
                      <a:pt x="145" y="178"/>
                      <a:pt x="109" y="178"/>
                    </a:cubicBezTo>
                    <a:cubicBezTo>
                      <a:pt x="73" y="178"/>
                      <a:pt x="44" y="147"/>
                      <a:pt x="44" y="110"/>
                    </a:cubicBezTo>
                    <a:cubicBezTo>
                      <a:pt x="44" y="73"/>
                      <a:pt x="73" y="42"/>
                      <a:pt x="109" y="42"/>
                    </a:cubicBezTo>
                    <a:close/>
                    <a:moveTo>
                      <a:pt x="400" y="0"/>
                    </a:moveTo>
                    <a:cubicBezTo>
                      <a:pt x="442" y="0"/>
                      <a:pt x="476" y="35"/>
                      <a:pt x="476" y="78"/>
                    </a:cubicBezTo>
                    <a:cubicBezTo>
                      <a:pt x="476" y="122"/>
                      <a:pt x="442" y="157"/>
                      <a:pt x="400" y="157"/>
                    </a:cubicBezTo>
                    <a:cubicBezTo>
                      <a:pt x="358" y="157"/>
                      <a:pt x="324" y="122"/>
                      <a:pt x="324" y="78"/>
                    </a:cubicBezTo>
                    <a:cubicBezTo>
                      <a:pt x="324" y="35"/>
                      <a:pt x="358" y="0"/>
                      <a:pt x="40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1765">
                  <a:solidFill>
                    <a:prstClr val="black"/>
                  </a:solidFill>
                </a:endParaRPr>
              </a:p>
            </p:txBody>
          </p:sp>
          <p:sp>
            <p:nvSpPr>
              <p:cNvPr id="163" name="Freeform 6"/>
              <p:cNvSpPr>
                <a:spLocks/>
              </p:cNvSpPr>
              <p:nvPr/>
            </p:nvSpPr>
            <p:spPr bwMode="auto">
              <a:xfrm>
                <a:off x="6162675" y="-4959350"/>
                <a:ext cx="1131888" cy="3967163"/>
              </a:xfrm>
              <a:custGeom>
                <a:avLst/>
                <a:gdLst>
                  <a:gd name="T0" fmla="*/ 301 w 301"/>
                  <a:gd name="T1" fmla="*/ 1056 h 1056"/>
                  <a:gd name="T2" fmla="*/ 99 w 301"/>
                  <a:gd name="T3" fmla="*/ 1056 h 1056"/>
                  <a:gd name="T4" fmla="*/ 0 w 301"/>
                  <a:gd name="T5" fmla="*/ 958 h 1056"/>
                  <a:gd name="T6" fmla="*/ 0 w 301"/>
                  <a:gd name="T7" fmla="*/ 98 h 1056"/>
                  <a:gd name="T8" fmla="*/ 99 w 301"/>
                  <a:gd name="T9" fmla="*/ 0 h 1056"/>
                  <a:gd name="T10" fmla="*/ 301 w 301"/>
                  <a:gd name="T11" fmla="*/ 0 h 1056"/>
                  <a:gd name="T12" fmla="*/ 301 w 301"/>
                  <a:gd name="T13" fmla="*/ 48 h 1056"/>
                  <a:gd name="T14" fmla="*/ 99 w 301"/>
                  <a:gd name="T15" fmla="*/ 48 h 1056"/>
                  <a:gd name="T16" fmla="*/ 48 w 301"/>
                  <a:gd name="T17" fmla="*/ 98 h 1056"/>
                  <a:gd name="T18" fmla="*/ 48 w 301"/>
                  <a:gd name="T19" fmla="*/ 958 h 1056"/>
                  <a:gd name="T20" fmla="*/ 99 w 301"/>
                  <a:gd name="T21" fmla="*/ 1008 h 1056"/>
                  <a:gd name="T22" fmla="*/ 301 w 301"/>
                  <a:gd name="T23" fmla="*/ 1008 h 1056"/>
                  <a:gd name="T24" fmla="*/ 301 w 301"/>
                  <a:gd name="T25"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1" h="1056">
                    <a:moveTo>
                      <a:pt x="301" y="1056"/>
                    </a:moveTo>
                    <a:cubicBezTo>
                      <a:pt x="99" y="1056"/>
                      <a:pt x="99" y="1056"/>
                      <a:pt x="99" y="1056"/>
                    </a:cubicBezTo>
                    <a:cubicBezTo>
                      <a:pt x="44" y="1056"/>
                      <a:pt x="0" y="1012"/>
                      <a:pt x="0" y="958"/>
                    </a:cubicBezTo>
                    <a:cubicBezTo>
                      <a:pt x="0" y="98"/>
                      <a:pt x="0" y="98"/>
                      <a:pt x="0" y="98"/>
                    </a:cubicBezTo>
                    <a:cubicBezTo>
                      <a:pt x="0" y="44"/>
                      <a:pt x="44" y="0"/>
                      <a:pt x="99" y="0"/>
                    </a:cubicBezTo>
                    <a:cubicBezTo>
                      <a:pt x="301" y="0"/>
                      <a:pt x="301" y="0"/>
                      <a:pt x="301" y="0"/>
                    </a:cubicBezTo>
                    <a:cubicBezTo>
                      <a:pt x="301" y="48"/>
                      <a:pt x="301" y="48"/>
                      <a:pt x="301" y="48"/>
                    </a:cubicBezTo>
                    <a:cubicBezTo>
                      <a:pt x="99" y="48"/>
                      <a:pt x="99" y="48"/>
                      <a:pt x="99" y="48"/>
                    </a:cubicBezTo>
                    <a:cubicBezTo>
                      <a:pt x="71" y="48"/>
                      <a:pt x="48" y="70"/>
                      <a:pt x="48" y="98"/>
                    </a:cubicBezTo>
                    <a:cubicBezTo>
                      <a:pt x="48" y="958"/>
                      <a:pt x="48" y="958"/>
                      <a:pt x="48" y="958"/>
                    </a:cubicBezTo>
                    <a:cubicBezTo>
                      <a:pt x="48" y="986"/>
                      <a:pt x="71" y="1008"/>
                      <a:pt x="99" y="1008"/>
                    </a:cubicBezTo>
                    <a:cubicBezTo>
                      <a:pt x="301" y="1008"/>
                      <a:pt x="301" y="1008"/>
                      <a:pt x="301" y="1008"/>
                    </a:cubicBezTo>
                    <a:lnTo>
                      <a:pt x="301" y="10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1765">
                  <a:solidFill>
                    <a:prstClr val="black"/>
                  </a:solidFill>
                </a:endParaRPr>
              </a:p>
            </p:txBody>
          </p:sp>
          <p:sp>
            <p:nvSpPr>
              <p:cNvPr id="164" name="Freeform 7"/>
              <p:cNvSpPr>
                <a:spLocks/>
              </p:cNvSpPr>
              <p:nvPr/>
            </p:nvSpPr>
            <p:spPr bwMode="auto">
              <a:xfrm>
                <a:off x="9005888" y="-4959350"/>
                <a:ext cx="1133475" cy="3967163"/>
              </a:xfrm>
              <a:custGeom>
                <a:avLst/>
                <a:gdLst>
                  <a:gd name="T0" fmla="*/ 202 w 301"/>
                  <a:gd name="T1" fmla="*/ 1056 h 1056"/>
                  <a:gd name="T2" fmla="*/ 0 w 301"/>
                  <a:gd name="T3" fmla="*/ 1056 h 1056"/>
                  <a:gd name="T4" fmla="*/ 0 w 301"/>
                  <a:gd name="T5" fmla="*/ 1008 h 1056"/>
                  <a:gd name="T6" fmla="*/ 202 w 301"/>
                  <a:gd name="T7" fmla="*/ 1008 h 1056"/>
                  <a:gd name="T8" fmla="*/ 253 w 301"/>
                  <a:gd name="T9" fmla="*/ 958 h 1056"/>
                  <a:gd name="T10" fmla="*/ 253 w 301"/>
                  <a:gd name="T11" fmla="*/ 98 h 1056"/>
                  <a:gd name="T12" fmla="*/ 202 w 301"/>
                  <a:gd name="T13" fmla="*/ 48 h 1056"/>
                  <a:gd name="T14" fmla="*/ 0 w 301"/>
                  <a:gd name="T15" fmla="*/ 48 h 1056"/>
                  <a:gd name="T16" fmla="*/ 0 w 301"/>
                  <a:gd name="T17" fmla="*/ 0 h 1056"/>
                  <a:gd name="T18" fmla="*/ 202 w 301"/>
                  <a:gd name="T19" fmla="*/ 0 h 1056"/>
                  <a:gd name="T20" fmla="*/ 301 w 301"/>
                  <a:gd name="T21" fmla="*/ 98 h 1056"/>
                  <a:gd name="T22" fmla="*/ 301 w 301"/>
                  <a:gd name="T23" fmla="*/ 958 h 1056"/>
                  <a:gd name="T24" fmla="*/ 202 w 301"/>
                  <a:gd name="T25"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1" h="1056">
                    <a:moveTo>
                      <a:pt x="202" y="1056"/>
                    </a:moveTo>
                    <a:cubicBezTo>
                      <a:pt x="0" y="1056"/>
                      <a:pt x="0" y="1056"/>
                      <a:pt x="0" y="1056"/>
                    </a:cubicBezTo>
                    <a:cubicBezTo>
                      <a:pt x="0" y="1008"/>
                      <a:pt x="0" y="1008"/>
                      <a:pt x="0" y="1008"/>
                    </a:cubicBezTo>
                    <a:cubicBezTo>
                      <a:pt x="202" y="1008"/>
                      <a:pt x="202" y="1008"/>
                      <a:pt x="202" y="1008"/>
                    </a:cubicBezTo>
                    <a:cubicBezTo>
                      <a:pt x="230" y="1008"/>
                      <a:pt x="253" y="986"/>
                      <a:pt x="253" y="958"/>
                    </a:cubicBezTo>
                    <a:cubicBezTo>
                      <a:pt x="253" y="98"/>
                      <a:pt x="253" y="98"/>
                      <a:pt x="253" y="98"/>
                    </a:cubicBezTo>
                    <a:cubicBezTo>
                      <a:pt x="253" y="70"/>
                      <a:pt x="230" y="48"/>
                      <a:pt x="202" y="48"/>
                    </a:cubicBezTo>
                    <a:cubicBezTo>
                      <a:pt x="0" y="48"/>
                      <a:pt x="0" y="48"/>
                      <a:pt x="0" y="48"/>
                    </a:cubicBezTo>
                    <a:cubicBezTo>
                      <a:pt x="0" y="0"/>
                      <a:pt x="0" y="0"/>
                      <a:pt x="0" y="0"/>
                    </a:cubicBezTo>
                    <a:cubicBezTo>
                      <a:pt x="202" y="0"/>
                      <a:pt x="202" y="0"/>
                      <a:pt x="202" y="0"/>
                    </a:cubicBezTo>
                    <a:cubicBezTo>
                      <a:pt x="257" y="0"/>
                      <a:pt x="301" y="44"/>
                      <a:pt x="301" y="98"/>
                    </a:cubicBezTo>
                    <a:cubicBezTo>
                      <a:pt x="301" y="958"/>
                      <a:pt x="301" y="958"/>
                      <a:pt x="301" y="958"/>
                    </a:cubicBezTo>
                    <a:cubicBezTo>
                      <a:pt x="301" y="1012"/>
                      <a:pt x="257" y="1056"/>
                      <a:pt x="202" y="10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1765">
                  <a:solidFill>
                    <a:prstClr val="black"/>
                  </a:solidFill>
                </a:endParaRPr>
              </a:p>
            </p:txBody>
          </p:sp>
          <p:sp>
            <p:nvSpPr>
              <p:cNvPr id="165" name="Freeform 8"/>
              <p:cNvSpPr>
                <a:spLocks/>
              </p:cNvSpPr>
              <p:nvPr/>
            </p:nvSpPr>
            <p:spPr bwMode="auto">
              <a:xfrm>
                <a:off x="7585075" y="-5616575"/>
                <a:ext cx="1131888" cy="698500"/>
              </a:xfrm>
              <a:custGeom>
                <a:avLst/>
                <a:gdLst>
                  <a:gd name="T0" fmla="*/ 355 w 713"/>
                  <a:gd name="T1" fmla="*/ 170 h 440"/>
                  <a:gd name="T2" fmla="*/ 625 w 713"/>
                  <a:gd name="T3" fmla="*/ 440 h 440"/>
                  <a:gd name="T4" fmla="*/ 713 w 713"/>
                  <a:gd name="T5" fmla="*/ 355 h 440"/>
                  <a:gd name="T6" fmla="*/ 355 w 713"/>
                  <a:gd name="T7" fmla="*/ 0 h 440"/>
                  <a:gd name="T8" fmla="*/ 0 w 713"/>
                  <a:gd name="T9" fmla="*/ 355 h 440"/>
                  <a:gd name="T10" fmla="*/ 88 w 713"/>
                  <a:gd name="T11" fmla="*/ 440 h 440"/>
                  <a:gd name="T12" fmla="*/ 355 w 713"/>
                  <a:gd name="T13" fmla="*/ 170 h 440"/>
                </a:gdLst>
                <a:ahLst/>
                <a:cxnLst>
                  <a:cxn ang="0">
                    <a:pos x="T0" y="T1"/>
                  </a:cxn>
                  <a:cxn ang="0">
                    <a:pos x="T2" y="T3"/>
                  </a:cxn>
                  <a:cxn ang="0">
                    <a:pos x="T4" y="T5"/>
                  </a:cxn>
                  <a:cxn ang="0">
                    <a:pos x="T6" y="T7"/>
                  </a:cxn>
                  <a:cxn ang="0">
                    <a:pos x="T8" y="T9"/>
                  </a:cxn>
                  <a:cxn ang="0">
                    <a:pos x="T10" y="T11"/>
                  </a:cxn>
                  <a:cxn ang="0">
                    <a:pos x="T12" y="T13"/>
                  </a:cxn>
                </a:cxnLst>
                <a:rect l="0" t="0" r="r" b="b"/>
                <a:pathLst>
                  <a:path w="713" h="440">
                    <a:moveTo>
                      <a:pt x="355" y="170"/>
                    </a:moveTo>
                    <a:lnTo>
                      <a:pt x="625" y="440"/>
                    </a:lnTo>
                    <a:lnTo>
                      <a:pt x="713" y="355"/>
                    </a:lnTo>
                    <a:lnTo>
                      <a:pt x="355" y="0"/>
                    </a:lnTo>
                    <a:lnTo>
                      <a:pt x="0" y="355"/>
                    </a:lnTo>
                    <a:lnTo>
                      <a:pt x="88" y="440"/>
                    </a:lnTo>
                    <a:lnTo>
                      <a:pt x="355"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1765">
                  <a:solidFill>
                    <a:prstClr val="black"/>
                  </a:solidFill>
                </a:endParaRPr>
              </a:p>
            </p:txBody>
          </p:sp>
          <p:sp>
            <p:nvSpPr>
              <p:cNvPr id="166" name="Freeform 9"/>
              <p:cNvSpPr>
                <a:spLocks/>
              </p:cNvSpPr>
              <p:nvPr/>
            </p:nvSpPr>
            <p:spPr bwMode="auto">
              <a:xfrm>
                <a:off x="7580313" y="-1036638"/>
                <a:ext cx="1139825" cy="706438"/>
              </a:xfrm>
              <a:custGeom>
                <a:avLst/>
                <a:gdLst>
                  <a:gd name="T0" fmla="*/ 358 w 718"/>
                  <a:gd name="T1" fmla="*/ 272 h 445"/>
                  <a:gd name="T2" fmla="*/ 86 w 718"/>
                  <a:gd name="T3" fmla="*/ 0 h 445"/>
                  <a:gd name="T4" fmla="*/ 0 w 718"/>
                  <a:gd name="T5" fmla="*/ 85 h 445"/>
                  <a:gd name="T6" fmla="*/ 358 w 718"/>
                  <a:gd name="T7" fmla="*/ 445 h 445"/>
                  <a:gd name="T8" fmla="*/ 718 w 718"/>
                  <a:gd name="T9" fmla="*/ 85 h 445"/>
                  <a:gd name="T10" fmla="*/ 633 w 718"/>
                  <a:gd name="T11" fmla="*/ 0 h 445"/>
                  <a:gd name="T12" fmla="*/ 358 w 718"/>
                  <a:gd name="T13" fmla="*/ 272 h 445"/>
                </a:gdLst>
                <a:ahLst/>
                <a:cxnLst>
                  <a:cxn ang="0">
                    <a:pos x="T0" y="T1"/>
                  </a:cxn>
                  <a:cxn ang="0">
                    <a:pos x="T2" y="T3"/>
                  </a:cxn>
                  <a:cxn ang="0">
                    <a:pos x="T4" y="T5"/>
                  </a:cxn>
                  <a:cxn ang="0">
                    <a:pos x="T6" y="T7"/>
                  </a:cxn>
                  <a:cxn ang="0">
                    <a:pos x="T8" y="T9"/>
                  </a:cxn>
                  <a:cxn ang="0">
                    <a:pos x="T10" y="T11"/>
                  </a:cxn>
                  <a:cxn ang="0">
                    <a:pos x="T12" y="T13"/>
                  </a:cxn>
                </a:cxnLst>
                <a:rect l="0" t="0" r="r" b="b"/>
                <a:pathLst>
                  <a:path w="718" h="445">
                    <a:moveTo>
                      <a:pt x="358" y="272"/>
                    </a:moveTo>
                    <a:lnTo>
                      <a:pt x="86" y="0"/>
                    </a:lnTo>
                    <a:lnTo>
                      <a:pt x="0" y="85"/>
                    </a:lnTo>
                    <a:lnTo>
                      <a:pt x="358" y="445"/>
                    </a:lnTo>
                    <a:lnTo>
                      <a:pt x="718" y="85"/>
                    </a:lnTo>
                    <a:lnTo>
                      <a:pt x="633" y="0"/>
                    </a:lnTo>
                    <a:lnTo>
                      <a:pt x="358" y="2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1765">
                  <a:solidFill>
                    <a:prstClr val="black"/>
                  </a:solidFill>
                </a:endParaRPr>
              </a:p>
            </p:txBody>
          </p:sp>
        </p:grpSp>
      </p:grpSp>
      <p:grpSp>
        <p:nvGrpSpPr>
          <p:cNvPr id="42" name="Group 41"/>
          <p:cNvGrpSpPr/>
          <p:nvPr/>
        </p:nvGrpSpPr>
        <p:grpSpPr>
          <a:xfrm>
            <a:off x="275148" y="2187458"/>
            <a:ext cx="1335214" cy="2800691"/>
            <a:chOff x="274322" y="2187281"/>
            <a:chExt cx="1335404" cy="2801089"/>
          </a:xfrm>
        </p:grpSpPr>
        <p:sp>
          <p:nvSpPr>
            <p:cNvPr id="86" name="Rectangle 85"/>
            <p:cNvSpPr/>
            <p:nvPr/>
          </p:nvSpPr>
          <p:spPr>
            <a:xfrm>
              <a:off x="274322" y="2187281"/>
              <a:ext cx="1335404" cy="6174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Windows </a:t>
              </a:r>
              <a:b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br>
              <a:r>
                <a:rPr lang="en-US" sz="1100" dirty="0">
                  <a:solidFill>
                    <a:prstClr val="white"/>
                  </a:solidFill>
                  <a:latin typeface="Segoe UI" panose="020B0502040204020203" pitchFamily="34" charset="0"/>
                  <a:ea typeface="Segoe UI" panose="020B0502040204020203" pitchFamily="34" charset="0"/>
                  <a:cs typeface="Segoe UI" panose="020B0502040204020203" pitchFamily="34" charset="0"/>
                </a:rPr>
                <a:t>devices</a:t>
              </a:r>
            </a:p>
          </p:txBody>
        </p:sp>
        <p:grpSp>
          <p:nvGrpSpPr>
            <p:cNvPr id="51" name="Group 50"/>
            <p:cNvGrpSpPr/>
            <p:nvPr/>
          </p:nvGrpSpPr>
          <p:grpSpPr>
            <a:xfrm>
              <a:off x="1249863" y="3256174"/>
              <a:ext cx="293793" cy="486596"/>
              <a:chOff x="2981515" y="4282797"/>
              <a:chExt cx="371475" cy="615261"/>
            </a:xfrm>
            <a:solidFill>
              <a:schemeClr val="bg1">
                <a:lumMod val="95000"/>
              </a:schemeClr>
            </a:solidFill>
          </p:grpSpPr>
          <p:sp>
            <p:nvSpPr>
              <p:cNvPr id="52"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53" name="Rectangle 14"/>
              <p:cNvSpPr>
                <a:spLocks noChangeArrowheads="1"/>
              </p:cNvSpPr>
              <p:nvPr/>
            </p:nvSpPr>
            <p:spPr bwMode="auto">
              <a:xfrm>
                <a:off x="3311364" y="4329341"/>
                <a:ext cx="41626" cy="11978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54"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grpSp>
        <p:grpSp>
          <p:nvGrpSpPr>
            <p:cNvPr id="55" name="Group 54"/>
            <p:cNvGrpSpPr/>
            <p:nvPr/>
          </p:nvGrpSpPr>
          <p:grpSpPr>
            <a:xfrm>
              <a:off x="489232" y="4318936"/>
              <a:ext cx="334195" cy="669434"/>
              <a:chOff x="-4067175" y="1268413"/>
              <a:chExt cx="2540000" cy="5087937"/>
            </a:xfrm>
            <a:solidFill>
              <a:schemeClr val="bg1">
                <a:lumMod val="95000"/>
              </a:schemeClr>
            </a:solidFill>
          </p:grpSpPr>
          <p:sp>
            <p:nvSpPr>
              <p:cNvPr id="56" name="Freeform 5"/>
              <p:cNvSpPr>
                <a:spLocks noEditPoints="1"/>
              </p:cNvSpPr>
              <p:nvPr/>
            </p:nvSpPr>
            <p:spPr bwMode="auto">
              <a:xfrm>
                <a:off x="-4067175" y="1268413"/>
                <a:ext cx="2540000" cy="4457700"/>
              </a:xfrm>
              <a:custGeom>
                <a:avLst/>
                <a:gdLst>
                  <a:gd name="T0" fmla="*/ 0 w 675"/>
                  <a:gd name="T1" fmla="*/ 1186 h 1186"/>
                  <a:gd name="T2" fmla="*/ 675 w 675"/>
                  <a:gd name="T3" fmla="*/ 0 h 1186"/>
                  <a:gd name="T4" fmla="*/ 618 w 675"/>
                  <a:gd name="T5" fmla="*/ 1104 h 1186"/>
                  <a:gd name="T6" fmla="*/ 71 w 675"/>
                  <a:gd name="T7" fmla="*/ 1118 h 1186"/>
                  <a:gd name="T8" fmla="*/ 58 w 675"/>
                  <a:gd name="T9" fmla="*/ 1048 h 1186"/>
                  <a:gd name="T10" fmla="*/ 604 w 675"/>
                  <a:gd name="T11" fmla="*/ 1034 h 1186"/>
                  <a:gd name="T12" fmla="*/ 618 w 675"/>
                  <a:gd name="T13" fmla="*/ 1104 h 1186"/>
                  <a:gd name="T14" fmla="*/ 498 w 675"/>
                  <a:gd name="T15" fmla="*/ 567 h 1186"/>
                  <a:gd name="T16" fmla="*/ 514 w 675"/>
                  <a:gd name="T17" fmla="*/ 583 h 1186"/>
                  <a:gd name="T18" fmla="*/ 497 w 675"/>
                  <a:gd name="T19" fmla="*/ 599 h 1186"/>
                  <a:gd name="T20" fmla="*/ 482 w 675"/>
                  <a:gd name="T21" fmla="*/ 583 h 1186"/>
                  <a:gd name="T22" fmla="*/ 482 w 675"/>
                  <a:gd name="T23" fmla="*/ 530 h 1186"/>
                  <a:gd name="T24" fmla="*/ 497 w 675"/>
                  <a:gd name="T25" fmla="*/ 514 h 1186"/>
                  <a:gd name="T26" fmla="*/ 514 w 675"/>
                  <a:gd name="T27" fmla="*/ 530 h 1186"/>
                  <a:gd name="T28" fmla="*/ 498 w 675"/>
                  <a:gd name="T29" fmla="*/ 546 h 1186"/>
                  <a:gd name="T30" fmla="*/ 482 w 675"/>
                  <a:gd name="T31" fmla="*/ 530 h 1186"/>
                  <a:gd name="T32" fmla="*/ 498 w 675"/>
                  <a:gd name="T33" fmla="*/ 621 h 1186"/>
                  <a:gd name="T34" fmla="*/ 514 w 675"/>
                  <a:gd name="T35" fmla="*/ 637 h 1186"/>
                  <a:gd name="T36" fmla="*/ 497 w 675"/>
                  <a:gd name="T37" fmla="*/ 653 h 1186"/>
                  <a:gd name="T38" fmla="*/ 482 w 675"/>
                  <a:gd name="T39" fmla="*/ 637 h 1186"/>
                  <a:gd name="T40" fmla="*/ 549 w 675"/>
                  <a:gd name="T41" fmla="*/ 567 h 1186"/>
                  <a:gd name="T42" fmla="*/ 566 w 675"/>
                  <a:gd name="T43" fmla="*/ 583 h 1186"/>
                  <a:gd name="T44" fmla="*/ 550 w 675"/>
                  <a:gd name="T45" fmla="*/ 599 h 1186"/>
                  <a:gd name="T46" fmla="*/ 534 w 675"/>
                  <a:gd name="T47" fmla="*/ 583 h 1186"/>
                  <a:gd name="T48" fmla="*/ 549 w 675"/>
                  <a:gd name="T49" fmla="*/ 567 h 1186"/>
                  <a:gd name="T50" fmla="*/ 534 w 675"/>
                  <a:gd name="T51" fmla="*/ 530 h 1186"/>
                  <a:gd name="T52" fmla="*/ 550 w 675"/>
                  <a:gd name="T53" fmla="*/ 514 h 1186"/>
                  <a:gd name="T54" fmla="*/ 566 w 675"/>
                  <a:gd name="T55" fmla="*/ 530 h 1186"/>
                  <a:gd name="T56" fmla="*/ 549 w 675"/>
                  <a:gd name="T57" fmla="*/ 546 h 1186"/>
                  <a:gd name="T58" fmla="*/ 549 w 675"/>
                  <a:gd name="T59" fmla="*/ 621 h 1186"/>
                  <a:gd name="T60" fmla="*/ 566 w 675"/>
                  <a:gd name="T61" fmla="*/ 637 h 1186"/>
                  <a:gd name="T62" fmla="*/ 550 w 675"/>
                  <a:gd name="T63" fmla="*/ 653 h 1186"/>
                  <a:gd name="T64" fmla="*/ 534 w 675"/>
                  <a:gd name="T65" fmla="*/ 637 h 1186"/>
                  <a:gd name="T66" fmla="*/ 549 w 675"/>
                  <a:gd name="T67" fmla="*/ 621 h 1186"/>
                  <a:gd name="T68" fmla="*/ 550 w 675"/>
                  <a:gd name="T69" fmla="*/ 673 h 1186"/>
                  <a:gd name="T70" fmla="*/ 566 w 675"/>
                  <a:gd name="T71" fmla="*/ 689 h 1186"/>
                  <a:gd name="T72" fmla="*/ 549 w 675"/>
                  <a:gd name="T73" fmla="*/ 705 h 1186"/>
                  <a:gd name="T74" fmla="*/ 534 w 675"/>
                  <a:gd name="T75" fmla="*/ 689 h 1186"/>
                  <a:gd name="T76" fmla="*/ 618 w 675"/>
                  <a:gd name="T77" fmla="*/ 637 h 1186"/>
                  <a:gd name="T78" fmla="*/ 601 w 675"/>
                  <a:gd name="T79" fmla="*/ 653 h 1186"/>
                  <a:gd name="T80" fmla="*/ 586 w 675"/>
                  <a:gd name="T81" fmla="*/ 637 h 1186"/>
                  <a:gd name="T82" fmla="*/ 602 w 675"/>
                  <a:gd name="T83" fmla="*/ 621 h 1186"/>
                  <a:gd name="T84" fmla="*/ 618 w 675"/>
                  <a:gd name="T85" fmla="*/ 583 h 1186"/>
                  <a:gd name="T86" fmla="*/ 601 w 675"/>
                  <a:gd name="T87" fmla="*/ 599 h 1186"/>
                  <a:gd name="T88" fmla="*/ 586 w 675"/>
                  <a:gd name="T89" fmla="*/ 583 h 1186"/>
                  <a:gd name="T90" fmla="*/ 602 w 675"/>
                  <a:gd name="T91" fmla="*/ 567 h 1186"/>
                  <a:gd name="T92" fmla="*/ 618 w 675"/>
                  <a:gd name="T93" fmla="*/ 530 h 1186"/>
                  <a:gd name="T94" fmla="*/ 601 w 675"/>
                  <a:gd name="T95" fmla="*/ 546 h 1186"/>
                  <a:gd name="T96" fmla="*/ 586 w 675"/>
                  <a:gd name="T97" fmla="*/ 530 h 1186"/>
                  <a:gd name="T98" fmla="*/ 602 w 675"/>
                  <a:gd name="T99" fmla="*/ 514 h 1186"/>
                  <a:gd name="T100" fmla="*/ 618 w 675"/>
                  <a:gd name="T101" fmla="*/ 414 h 1186"/>
                  <a:gd name="T102" fmla="*/ 384 w 675"/>
                  <a:gd name="T103" fmla="*/ 431 h 1186"/>
                  <a:gd name="T104" fmla="*/ 368 w 675"/>
                  <a:gd name="T105" fmla="*/ 974 h 1186"/>
                  <a:gd name="T106" fmla="*/ 74 w 675"/>
                  <a:gd name="T107" fmla="*/ 991 h 1186"/>
                  <a:gd name="T108" fmla="*/ 58 w 675"/>
                  <a:gd name="T109" fmla="*/ 74 h 1186"/>
                  <a:gd name="T110" fmla="*/ 601 w 675"/>
                  <a:gd name="T111" fmla="*/ 57 h 1186"/>
                  <a:gd name="T112" fmla="*/ 618 w 675"/>
                  <a:gd name="T113" fmla="*/ 41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5" h="1186">
                    <a:moveTo>
                      <a:pt x="0" y="0"/>
                    </a:moveTo>
                    <a:cubicBezTo>
                      <a:pt x="0" y="1186"/>
                      <a:pt x="0" y="1186"/>
                      <a:pt x="0" y="1186"/>
                    </a:cubicBezTo>
                    <a:cubicBezTo>
                      <a:pt x="675" y="1186"/>
                      <a:pt x="675" y="1186"/>
                      <a:pt x="675" y="1186"/>
                    </a:cubicBezTo>
                    <a:cubicBezTo>
                      <a:pt x="675" y="0"/>
                      <a:pt x="675" y="0"/>
                      <a:pt x="675" y="0"/>
                    </a:cubicBezTo>
                    <a:lnTo>
                      <a:pt x="0" y="0"/>
                    </a:lnTo>
                    <a:close/>
                    <a:moveTo>
                      <a:pt x="618" y="1104"/>
                    </a:moveTo>
                    <a:cubicBezTo>
                      <a:pt x="618" y="1112"/>
                      <a:pt x="612" y="1118"/>
                      <a:pt x="604" y="1118"/>
                    </a:cubicBezTo>
                    <a:cubicBezTo>
                      <a:pt x="71" y="1118"/>
                      <a:pt x="71" y="1118"/>
                      <a:pt x="71" y="1118"/>
                    </a:cubicBezTo>
                    <a:cubicBezTo>
                      <a:pt x="64" y="1118"/>
                      <a:pt x="58" y="1112"/>
                      <a:pt x="58" y="1104"/>
                    </a:cubicBezTo>
                    <a:cubicBezTo>
                      <a:pt x="58" y="1048"/>
                      <a:pt x="58" y="1048"/>
                      <a:pt x="58" y="1048"/>
                    </a:cubicBezTo>
                    <a:cubicBezTo>
                      <a:pt x="58" y="1040"/>
                      <a:pt x="64" y="1034"/>
                      <a:pt x="71" y="1034"/>
                    </a:cubicBezTo>
                    <a:cubicBezTo>
                      <a:pt x="604" y="1034"/>
                      <a:pt x="604" y="1034"/>
                      <a:pt x="604" y="1034"/>
                    </a:cubicBezTo>
                    <a:cubicBezTo>
                      <a:pt x="612" y="1034"/>
                      <a:pt x="618" y="1040"/>
                      <a:pt x="618" y="1048"/>
                    </a:cubicBezTo>
                    <a:lnTo>
                      <a:pt x="618" y="1104"/>
                    </a:lnTo>
                    <a:close/>
                    <a:moveTo>
                      <a:pt x="497" y="567"/>
                    </a:moveTo>
                    <a:cubicBezTo>
                      <a:pt x="498" y="567"/>
                      <a:pt x="498" y="567"/>
                      <a:pt x="498" y="567"/>
                    </a:cubicBezTo>
                    <a:cubicBezTo>
                      <a:pt x="507" y="567"/>
                      <a:pt x="514" y="574"/>
                      <a:pt x="514" y="583"/>
                    </a:cubicBezTo>
                    <a:cubicBezTo>
                      <a:pt x="514" y="583"/>
                      <a:pt x="514" y="583"/>
                      <a:pt x="514" y="583"/>
                    </a:cubicBezTo>
                    <a:cubicBezTo>
                      <a:pt x="514" y="592"/>
                      <a:pt x="507" y="599"/>
                      <a:pt x="498" y="599"/>
                    </a:cubicBezTo>
                    <a:cubicBezTo>
                      <a:pt x="497" y="599"/>
                      <a:pt x="497" y="599"/>
                      <a:pt x="497" y="599"/>
                    </a:cubicBezTo>
                    <a:cubicBezTo>
                      <a:pt x="489" y="599"/>
                      <a:pt x="482" y="592"/>
                      <a:pt x="482" y="583"/>
                    </a:cubicBezTo>
                    <a:cubicBezTo>
                      <a:pt x="482" y="583"/>
                      <a:pt x="482" y="583"/>
                      <a:pt x="482" y="583"/>
                    </a:cubicBezTo>
                    <a:cubicBezTo>
                      <a:pt x="482" y="574"/>
                      <a:pt x="489" y="567"/>
                      <a:pt x="497" y="567"/>
                    </a:cubicBezTo>
                    <a:close/>
                    <a:moveTo>
                      <a:pt x="482" y="530"/>
                    </a:moveTo>
                    <a:cubicBezTo>
                      <a:pt x="482" y="530"/>
                      <a:pt x="482" y="530"/>
                      <a:pt x="482" y="530"/>
                    </a:cubicBezTo>
                    <a:cubicBezTo>
                      <a:pt x="482" y="521"/>
                      <a:pt x="489" y="514"/>
                      <a:pt x="497" y="514"/>
                    </a:cubicBezTo>
                    <a:cubicBezTo>
                      <a:pt x="498" y="514"/>
                      <a:pt x="498" y="514"/>
                      <a:pt x="498" y="514"/>
                    </a:cubicBezTo>
                    <a:cubicBezTo>
                      <a:pt x="507" y="514"/>
                      <a:pt x="514" y="521"/>
                      <a:pt x="514" y="530"/>
                    </a:cubicBezTo>
                    <a:cubicBezTo>
                      <a:pt x="514" y="530"/>
                      <a:pt x="514" y="530"/>
                      <a:pt x="514" y="530"/>
                    </a:cubicBezTo>
                    <a:cubicBezTo>
                      <a:pt x="514" y="539"/>
                      <a:pt x="507" y="546"/>
                      <a:pt x="498" y="546"/>
                    </a:cubicBezTo>
                    <a:cubicBezTo>
                      <a:pt x="497" y="546"/>
                      <a:pt x="497" y="546"/>
                      <a:pt x="497" y="546"/>
                    </a:cubicBezTo>
                    <a:cubicBezTo>
                      <a:pt x="489" y="546"/>
                      <a:pt x="482" y="539"/>
                      <a:pt x="482" y="530"/>
                    </a:cubicBezTo>
                    <a:close/>
                    <a:moveTo>
                      <a:pt x="497" y="621"/>
                    </a:moveTo>
                    <a:cubicBezTo>
                      <a:pt x="498" y="621"/>
                      <a:pt x="498" y="621"/>
                      <a:pt x="498" y="621"/>
                    </a:cubicBezTo>
                    <a:cubicBezTo>
                      <a:pt x="507" y="621"/>
                      <a:pt x="514" y="628"/>
                      <a:pt x="514" y="637"/>
                    </a:cubicBezTo>
                    <a:cubicBezTo>
                      <a:pt x="514" y="637"/>
                      <a:pt x="514" y="637"/>
                      <a:pt x="514" y="637"/>
                    </a:cubicBezTo>
                    <a:cubicBezTo>
                      <a:pt x="514" y="646"/>
                      <a:pt x="507" y="653"/>
                      <a:pt x="498" y="653"/>
                    </a:cubicBezTo>
                    <a:cubicBezTo>
                      <a:pt x="497" y="653"/>
                      <a:pt x="497" y="653"/>
                      <a:pt x="497" y="653"/>
                    </a:cubicBezTo>
                    <a:cubicBezTo>
                      <a:pt x="489" y="653"/>
                      <a:pt x="482" y="646"/>
                      <a:pt x="482" y="637"/>
                    </a:cubicBezTo>
                    <a:cubicBezTo>
                      <a:pt x="482" y="637"/>
                      <a:pt x="482" y="637"/>
                      <a:pt x="482" y="637"/>
                    </a:cubicBezTo>
                    <a:cubicBezTo>
                      <a:pt x="482" y="628"/>
                      <a:pt x="489" y="621"/>
                      <a:pt x="497" y="621"/>
                    </a:cubicBezTo>
                    <a:close/>
                    <a:moveTo>
                      <a:pt x="549" y="567"/>
                    </a:moveTo>
                    <a:cubicBezTo>
                      <a:pt x="550" y="567"/>
                      <a:pt x="550" y="567"/>
                      <a:pt x="550" y="567"/>
                    </a:cubicBezTo>
                    <a:cubicBezTo>
                      <a:pt x="559" y="567"/>
                      <a:pt x="566" y="574"/>
                      <a:pt x="566" y="583"/>
                    </a:cubicBezTo>
                    <a:cubicBezTo>
                      <a:pt x="566" y="583"/>
                      <a:pt x="566" y="583"/>
                      <a:pt x="566" y="583"/>
                    </a:cubicBezTo>
                    <a:cubicBezTo>
                      <a:pt x="566" y="592"/>
                      <a:pt x="559" y="599"/>
                      <a:pt x="550" y="599"/>
                    </a:cubicBezTo>
                    <a:cubicBezTo>
                      <a:pt x="549" y="599"/>
                      <a:pt x="549" y="599"/>
                      <a:pt x="549" y="599"/>
                    </a:cubicBezTo>
                    <a:cubicBezTo>
                      <a:pt x="541" y="599"/>
                      <a:pt x="534" y="592"/>
                      <a:pt x="534" y="583"/>
                    </a:cubicBezTo>
                    <a:cubicBezTo>
                      <a:pt x="534" y="583"/>
                      <a:pt x="534" y="583"/>
                      <a:pt x="534" y="583"/>
                    </a:cubicBezTo>
                    <a:cubicBezTo>
                      <a:pt x="534" y="574"/>
                      <a:pt x="541" y="567"/>
                      <a:pt x="549" y="567"/>
                    </a:cubicBezTo>
                    <a:close/>
                    <a:moveTo>
                      <a:pt x="534" y="530"/>
                    </a:moveTo>
                    <a:cubicBezTo>
                      <a:pt x="534" y="530"/>
                      <a:pt x="534" y="530"/>
                      <a:pt x="534" y="530"/>
                    </a:cubicBezTo>
                    <a:cubicBezTo>
                      <a:pt x="534" y="521"/>
                      <a:pt x="541" y="514"/>
                      <a:pt x="549" y="514"/>
                    </a:cubicBezTo>
                    <a:cubicBezTo>
                      <a:pt x="550" y="514"/>
                      <a:pt x="550" y="514"/>
                      <a:pt x="550" y="514"/>
                    </a:cubicBezTo>
                    <a:cubicBezTo>
                      <a:pt x="559" y="514"/>
                      <a:pt x="566" y="521"/>
                      <a:pt x="566" y="530"/>
                    </a:cubicBezTo>
                    <a:cubicBezTo>
                      <a:pt x="566" y="530"/>
                      <a:pt x="566" y="530"/>
                      <a:pt x="566" y="530"/>
                    </a:cubicBezTo>
                    <a:cubicBezTo>
                      <a:pt x="566" y="539"/>
                      <a:pt x="559" y="546"/>
                      <a:pt x="550" y="546"/>
                    </a:cubicBezTo>
                    <a:cubicBezTo>
                      <a:pt x="549" y="546"/>
                      <a:pt x="549" y="546"/>
                      <a:pt x="549" y="546"/>
                    </a:cubicBezTo>
                    <a:cubicBezTo>
                      <a:pt x="541" y="546"/>
                      <a:pt x="534" y="539"/>
                      <a:pt x="534" y="530"/>
                    </a:cubicBezTo>
                    <a:close/>
                    <a:moveTo>
                      <a:pt x="549" y="621"/>
                    </a:moveTo>
                    <a:cubicBezTo>
                      <a:pt x="550" y="621"/>
                      <a:pt x="550" y="621"/>
                      <a:pt x="550" y="621"/>
                    </a:cubicBezTo>
                    <a:cubicBezTo>
                      <a:pt x="559" y="621"/>
                      <a:pt x="566" y="628"/>
                      <a:pt x="566" y="637"/>
                    </a:cubicBezTo>
                    <a:cubicBezTo>
                      <a:pt x="566" y="637"/>
                      <a:pt x="566" y="637"/>
                      <a:pt x="566" y="637"/>
                    </a:cubicBezTo>
                    <a:cubicBezTo>
                      <a:pt x="566" y="646"/>
                      <a:pt x="559" y="653"/>
                      <a:pt x="550" y="653"/>
                    </a:cubicBezTo>
                    <a:cubicBezTo>
                      <a:pt x="549" y="653"/>
                      <a:pt x="549" y="653"/>
                      <a:pt x="549" y="653"/>
                    </a:cubicBezTo>
                    <a:cubicBezTo>
                      <a:pt x="541" y="653"/>
                      <a:pt x="534" y="646"/>
                      <a:pt x="534" y="637"/>
                    </a:cubicBezTo>
                    <a:cubicBezTo>
                      <a:pt x="534" y="637"/>
                      <a:pt x="534" y="637"/>
                      <a:pt x="534" y="637"/>
                    </a:cubicBezTo>
                    <a:cubicBezTo>
                      <a:pt x="534" y="628"/>
                      <a:pt x="541" y="621"/>
                      <a:pt x="549" y="621"/>
                    </a:cubicBezTo>
                    <a:close/>
                    <a:moveTo>
                      <a:pt x="549" y="673"/>
                    </a:moveTo>
                    <a:cubicBezTo>
                      <a:pt x="550" y="673"/>
                      <a:pt x="550" y="673"/>
                      <a:pt x="550" y="673"/>
                    </a:cubicBezTo>
                    <a:cubicBezTo>
                      <a:pt x="559" y="673"/>
                      <a:pt x="566" y="680"/>
                      <a:pt x="566" y="689"/>
                    </a:cubicBezTo>
                    <a:cubicBezTo>
                      <a:pt x="566" y="689"/>
                      <a:pt x="566" y="689"/>
                      <a:pt x="566" y="689"/>
                    </a:cubicBezTo>
                    <a:cubicBezTo>
                      <a:pt x="566" y="698"/>
                      <a:pt x="559" y="705"/>
                      <a:pt x="550" y="705"/>
                    </a:cubicBezTo>
                    <a:cubicBezTo>
                      <a:pt x="549" y="705"/>
                      <a:pt x="549" y="705"/>
                      <a:pt x="549" y="705"/>
                    </a:cubicBezTo>
                    <a:cubicBezTo>
                      <a:pt x="541" y="705"/>
                      <a:pt x="534" y="698"/>
                      <a:pt x="534" y="689"/>
                    </a:cubicBezTo>
                    <a:cubicBezTo>
                      <a:pt x="534" y="689"/>
                      <a:pt x="534" y="689"/>
                      <a:pt x="534" y="689"/>
                    </a:cubicBezTo>
                    <a:cubicBezTo>
                      <a:pt x="534" y="680"/>
                      <a:pt x="541" y="673"/>
                      <a:pt x="549" y="673"/>
                    </a:cubicBezTo>
                    <a:close/>
                    <a:moveTo>
                      <a:pt x="618" y="637"/>
                    </a:moveTo>
                    <a:cubicBezTo>
                      <a:pt x="618" y="646"/>
                      <a:pt x="611" y="653"/>
                      <a:pt x="602" y="653"/>
                    </a:cubicBezTo>
                    <a:cubicBezTo>
                      <a:pt x="601" y="653"/>
                      <a:pt x="601" y="653"/>
                      <a:pt x="601" y="653"/>
                    </a:cubicBezTo>
                    <a:cubicBezTo>
                      <a:pt x="593" y="653"/>
                      <a:pt x="586" y="646"/>
                      <a:pt x="586" y="637"/>
                    </a:cubicBezTo>
                    <a:cubicBezTo>
                      <a:pt x="586" y="637"/>
                      <a:pt x="586" y="637"/>
                      <a:pt x="586" y="637"/>
                    </a:cubicBezTo>
                    <a:cubicBezTo>
                      <a:pt x="586" y="628"/>
                      <a:pt x="593" y="621"/>
                      <a:pt x="601" y="621"/>
                    </a:cubicBezTo>
                    <a:cubicBezTo>
                      <a:pt x="602" y="621"/>
                      <a:pt x="602" y="621"/>
                      <a:pt x="602" y="621"/>
                    </a:cubicBezTo>
                    <a:cubicBezTo>
                      <a:pt x="611" y="621"/>
                      <a:pt x="618" y="628"/>
                      <a:pt x="618" y="637"/>
                    </a:cubicBezTo>
                    <a:close/>
                    <a:moveTo>
                      <a:pt x="618" y="583"/>
                    </a:moveTo>
                    <a:cubicBezTo>
                      <a:pt x="618" y="592"/>
                      <a:pt x="611" y="599"/>
                      <a:pt x="602" y="599"/>
                    </a:cubicBezTo>
                    <a:cubicBezTo>
                      <a:pt x="601" y="599"/>
                      <a:pt x="601" y="599"/>
                      <a:pt x="601" y="599"/>
                    </a:cubicBezTo>
                    <a:cubicBezTo>
                      <a:pt x="593" y="599"/>
                      <a:pt x="586" y="592"/>
                      <a:pt x="586" y="583"/>
                    </a:cubicBezTo>
                    <a:cubicBezTo>
                      <a:pt x="586" y="583"/>
                      <a:pt x="586" y="583"/>
                      <a:pt x="586" y="583"/>
                    </a:cubicBezTo>
                    <a:cubicBezTo>
                      <a:pt x="586" y="574"/>
                      <a:pt x="593" y="567"/>
                      <a:pt x="601" y="567"/>
                    </a:cubicBezTo>
                    <a:cubicBezTo>
                      <a:pt x="602" y="567"/>
                      <a:pt x="602" y="567"/>
                      <a:pt x="602" y="567"/>
                    </a:cubicBezTo>
                    <a:cubicBezTo>
                      <a:pt x="611" y="567"/>
                      <a:pt x="618" y="574"/>
                      <a:pt x="618" y="583"/>
                    </a:cubicBezTo>
                    <a:close/>
                    <a:moveTo>
                      <a:pt x="618" y="530"/>
                    </a:moveTo>
                    <a:cubicBezTo>
                      <a:pt x="618" y="539"/>
                      <a:pt x="611" y="546"/>
                      <a:pt x="602" y="546"/>
                    </a:cubicBezTo>
                    <a:cubicBezTo>
                      <a:pt x="601" y="546"/>
                      <a:pt x="601" y="546"/>
                      <a:pt x="601" y="546"/>
                    </a:cubicBezTo>
                    <a:cubicBezTo>
                      <a:pt x="593" y="546"/>
                      <a:pt x="586" y="539"/>
                      <a:pt x="586" y="530"/>
                    </a:cubicBezTo>
                    <a:cubicBezTo>
                      <a:pt x="586" y="530"/>
                      <a:pt x="586" y="530"/>
                      <a:pt x="586" y="530"/>
                    </a:cubicBezTo>
                    <a:cubicBezTo>
                      <a:pt x="586" y="521"/>
                      <a:pt x="593" y="514"/>
                      <a:pt x="601" y="514"/>
                    </a:cubicBezTo>
                    <a:cubicBezTo>
                      <a:pt x="602" y="514"/>
                      <a:pt x="602" y="514"/>
                      <a:pt x="602" y="514"/>
                    </a:cubicBezTo>
                    <a:cubicBezTo>
                      <a:pt x="611" y="514"/>
                      <a:pt x="618" y="521"/>
                      <a:pt x="618" y="530"/>
                    </a:cubicBezTo>
                    <a:close/>
                    <a:moveTo>
                      <a:pt x="618" y="414"/>
                    </a:moveTo>
                    <a:cubicBezTo>
                      <a:pt x="618" y="423"/>
                      <a:pt x="610" y="431"/>
                      <a:pt x="601" y="431"/>
                    </a:cubicBezTo>
                    <a:cubicBezTo>
                      <a:pt x="384" y="431"/>
                      <a:pt x="384" y="431"/>
                      <a:pt x="384" y="431"/>
                    </a:cubicBezTo>
                    <a:cubicBezTo>
                      <a:pt x="375" y="431"/>
                      <a:pt x="368" y="438"/>
                      <a:pt x="368" y="447"/>
                    </a:cubicBezTo>
                    <a:cubicBezTo>
                      <a:pt x="368" y="974"/>
                      <a:pt x="368" y="974"/>
                      <a:pt x="368" y="974"/>
                    </a:cubicBezTo>
                    <a:cubicBezTo>
                      <a:pt x="368" y="983"/>
                      <a:pt x="360" y="991"/>
                      <a:pt x="351" y="991"/>
                    </a:cubicBezTo>
                    <a:cubicBezTo>
                      <a:pt x="74" y="991"/>
                      <a:pt x="74" y="991"/>
                      <a:pt x="74" y="991"/>
                    </a:cubicBezTo>
                    <a:cubicBezTo>
                      <a:pt x="65" y="991"/>
                      <a:pt x="58" y="983"/>
                      <a:pt x="58" y="974"/>
                    </a:cubicBezTo>
                    <a:cubicBezTo>
                      <a:pt x="58" y="74"/>
                      <a:pt x="58" y="74"/>
                      <a:pt x="58" y="74"/>
                    </a:cubicBezTo>
                    <a:cubicBezTo>
                      <a:pt x="58" y="65"/>
                      <a:pt x="65" y="57"/>
                      <a:pt x="74" y="57"/>
                    </a:cubicBezTo>
                    <a:cubicBezTo>
                      <a:pt x="601" y="57"/>
                      <a:pt x="601" y="57"/>
                      <a:pt x="601" y="57"/>
                    </a:cubicBezTo>
                    <a:cubicBezTo>
                      <a:pt x="610" y="57"/>
                      <a:pt x="618" y="65"/>
                      <a:pt x="618" y="74"/>
                    </a:cubicBezTo>
                    <a:lnTo>
                      <a:pt x="618" y="4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57" name="Rectangle 6"/>
              <p:cNvSpPr>
                <a:spLocks noChangeArrowheads="1"/>
              </p:cNvSpPr>
              <p:nvPr/>
            </p:nvSpPr>
            <p:spPr bwMode="auto">
              <a:xfrm>
                <a:off x="-4067175" y="5792788"/>
                <a:ext cx="2540000" cy="56356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58" name="Freeform 7"/>
              <p:cNvSpPr>
                <a:spLocks/>
              </p:cNvSpPr>
              <p:nvPr/>
            </p:nvSpPr>
            <p:spPr bwMode="auto">
              <a:xfrm>
                <a:off x="-3709988" y="1711325"/>
                <a:ext cx="1814513" cy="534987"/>
              </a:xfrm>
              <a:custGeom>
                <a:avLst/>
                <a:gdLst>
                  <a:gd name="T0" fmla="*/ 1084 w 1143"/>
                  <a:gd name="T1" fmla="*/ 0 h 337"/>
                  <a:gd name="T2" fmla="*/ 932 w 1143"/>
                  <a:gd name="T3" fmla="*/ 0 h 337"/>
                  <a:gd name="T4" fmla="*/ 932 w 1143"/>
                  <a:gd name="T5" fmla="*/ 287 h 337"/>
                  <a:gd name="T6" fmla="*/ 865 w 1143"/>
                  <a:gd name="T7" fmla="*/ 287 h 337"/>
                  <a:gd name="T8" fmla="*/ 865 w 1143"/>
                  <a:gd name="T9" fmla="*/ 0 h 337"/>
                  <a:gd name="T10" fmla="*/ 714 w 1143"/>
                  <a:gd name="T11" fmla="*/ 0 h 337"/>
                  <a:gd name="T12" fmla="*/ 714 w 1143"/>
                  <a:gd name="T13" fmla="*/ 287 h 337"/>
                  <a:gd name="T14" fmla="*/ 647 w 1143"/>
                  <a:gd name="T15" fmla="*/ 287 h 337"/>
                  <a:gd name="T16" fmla="*/ 647 w 1143"/>
                  <a:gd name="T17" fmla="*/ 0 h 337"/>
                  <a:gd name="T18" fmla="*/ 496 w 1143"/>
                  <a:gd name="T19" fmla="*/ 0 h 337"/>
                  <a:gd name="T20" fmla="*/ 496 w 1143"/>
                  <a:gd name="T21" fmla="*/ 287 h 337"/>
                  <a:gd name="T22" fmla="*/ 427 w 1143"/>
                  <a:gd name="T23" fmla="*/ 287 h 337"/>
                  <a:gd name="T24" fmla="*/ 427 w 1143"/>
                  <a:gd name="T25" fmla="*/ 0 h 337"/>
                  <a:gd name="T26" fmla="*/ 275 w 1143"/>
                  <a:gd name="T27" fmla="*/ 0 h 337"/>
                  <a:gd name="T28" fmla="*/ 275 w 1143"/>
                  <a:gd name="T29" fmla="*/ 287 h 337"/>
                  <a:gd name="T30" fmla="*/ 209 w 1143"/>
                  <a:gd name="T31" fmla="*/ 287 h 337"/>
                  <a:gd name="T32" fmla="*/ 209 w 1143"/>
                  <a:gd name="T33" fmla="*/ 0 h 337"/>
                  <a:gd name="T34" fmla="*/ 57 w 1143"/>
                  <a:gd name="T35" fmla="*/ 0 h 337"/>
                  <a:gd name="T36" fmla="*/ 57 w 1143"/>
                  <a:gd name="T37" fmla="*/ 287 h 337"/>
                  <a:gd name="T38" fmla="*/ 0 w 1143"/>
                  <a:gd name="T39" fmla="*/ 287 h 337"/>
                  <a:gd name="T40" fmla="*/ 0 w 1143"/>
                  <a:gd name="T41" fmla="*/ 337 h 337"/>
                  <a:gd name="T42" fmla="*/ 1143 w 1143"/>
                  <a:gd name="T43" fmla="*/ 337 h 337"/>
                  <a:gd name="T44" fmla="*/ 1143 w 1143"/>
                  <a:gd name="T45" fmla="*/ 287 h 337"/>
                  <a:gd name="T46" fmla="*/ 1084 w 1143"/>
                  <a:gd name="T47" fmla="*/ 287 h 337"/>
                  <a:gd name="T48" fmla="*/ 1084 w 1143"/>
                  <a:gd name="T4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3" h="337">
                    <a:moveTo>
                      <a:pt x="1084" y="0"/>
                    </a:moveTo>
                    <a:lnTo>
                      <a:pt x="932" y="0"/>
                    </a:lnTo>
                    <a:lnTo>
                      <a:pt x="932" y="287"/>
                    </a:lnTo>
                    <a:lnTo>
                      <a:pt x="865" y="287"/>
                    </a:lnTo>
                    <a:lnTo>
                      <a:pt x="865" y="0"/>
                    </a:lnTo>
                    <a:lnTo>
                      <a:pt x="714" y="0"/>
                    </a:lnTo>
                    <a:lnTo>
                      <a:pt x="714" y="287"/>
                    </a:lnTo>
                    <a:lnTo>
                      <a:pt x="647" y="287"/>
                    </a:lnTo>
                    <a:lnTo>
                      <a:pt x="647" y="0"/>
                    </a:lnTo>
                    <a:lnTo>
                      <a:pt x="496" y="0"/>
                    </a:lnTo>
                    <a:lnTo>
                      <a:pt x="496" y="287"/>
                    </a:lnTo>
                    <a:lnTo>
                      <a:pt x="427" y="287"/>
                    </a:lnTo>
                    <a:lnTo>
                      <a:pt x="427" y="0"/>
                    </a:lnTo>
                    <a:lnTo>
                      <a:pt x="275" y="0"/>
                    </a:lnTo>
                    <a:lnTo>
                      <a:pt x="275" y="287"/>
                    </a:lnTo>
                    <a:lnTo>
                      <a:pt x="209" y="287"/>
                    </a:lnTo>
                    <a:lnTo>
                      <a:pt x="209" y="0"/>
                    </a:lnTo>
                    <a:lnTo>
                      <a:pt x="57" y="0"/>
                    </a:lnTo>
                    <a:lnTo>
                      <a:pt x="57" y="287"/>
                    </a:lnTo>
                    <a:lnTo>
                      <a:pt x="0" y="287"/>
                    </a:lnTo>
                    <a:lnTo>
                      <a:pt x="0" y="337"/>
                    </a:lnTo>
                    <a:lnTo>
                      <a:pt x="1143" y="337"/>
                    </a:lnTo>
                    <a:lnTo>
                      <a:pt x="1143" y="287"/>
                    </a:lnTo>
                    <a:lnTo>
                      <a:pt x="1084" y="287"/>
                    </a:lnTo>
                    <a:lnTo>
                      <a:pt x="10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59" name="Freeform 8"/>
              <p:cNvSpPr>
                <a:spLocks/>
              </p:cNvSpPr>
              <p:nvPr/>
            </p:nvSpPr>
            <p:spPr bwMode="auto">
              <a:xfrm>
                <a:off x="-3709988" y="2557463"/>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60" name="Freeform 9"/>
              <p:cNvSpPr>
                <a:spLocks/>
              </p:cNvSpPr>
              <p:nvPr/>
            </p:nvSpPr>
            <p:spPr bwMode="auto">
              <a:xfrm>
                <a:off x="-3709988" y="3403600"/>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61" name="Freeform 10"/>
              <p:cNvSpPr>
                <a:spLocks/>
              </p:cNvSpPr>
              <p:nvPr/>
            </p:nvSpPr>
            <p:spPr bwMode="auto">
              <a:xfrm>
                <a:off x="-3709988" y="4248150"/>
                <a:ext cx="787400" cy="533400"/>
              </a:xfrm>
              <a:custGeom>
                <a:avLst/>
                <a:gdLst>
                  <a:gd name="T0" fmla="*/ 427 w 496"/>
                  <a:gd name="T1" fmla="*/ 0 h 336"/>
                  <a:gd name="T2" fmla="*/ 275 w 496"/>
                  <a:gd name="T3" fmla="*/ 0 h 336"/>
                  <a:gd name="T4" fmla="*/ 275 w 496"/>
                  <a:gd name="T5" fmla="*/ 287 h 336"/>
                  <a:gd name="T6" fmla="*/ 209 w 496"/>
                  <a:gd name="T7" fmla="*/ 287 h 336"/>
                  <a:gd name="T8" fmla="*/ 209 w 496"/>
                  <a:gd name="T9" fmla="*/ 0 h 336"/>
                  <a:gd name="T10" fmla="*/ 57 w 496"/>
                  <a:gd name="T11" fmla="*/ 0 h 336"/>
                  <a:gd name="T12" fmla="*/ 57 w 496"/>
                  <a:gd name="T13" fmla="*/ 287 h 336"/>
                  <a:gd name="T14" fmla="*/ 0 w 496"/>
                  <a:gd name="T15" fmla="*/ 287 h 336"/>
                  <a:gd name="T16" fmla="*/ 0 w 496"/>
                  <a:gd name="T17" fmla="*/ 336 h 336"/>
                  <a:gd name="T18" fmla="*/ 496 w 496"/>
                  <a:gd name="T19" fmla="*/ 336 h 336"/>
                  <a:gd name="T20" fmla="*/ 496 w 496"/>
                  <a:gd name="T21" fmla="*/ 287 h 336"/>
                  <a:gd name="T22" fmla="*/ 427 w 496"/>
                  <a:gd name="T23" fmla="*/ 287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7"/>
                    </a:lnTo>
                    <a:lnTo>
                      <a:pt x="209" y="287"/>
                    </a:lnTo>
                    <a:lnTo>
                      <a:pt x="209" y="0"/>
                    </a:lnTo>
                    <a:lnTo>
                      <a:pt x="57" y="0"/>
                    </a:lnTo>
                    <a:lnTo>
                      <a:pt x="57" y="287"/>
                    </a:lnTo>
                    <a:lnTo>
                      <a:pt x="0" y="287"/>
                    </a:lnTo>
                    <a:lnTo>
                      <a:pt x="0" y="336"/>
                    </a:lnTo>
                    <a:lnTo>
                      <a:pt x="496" y="336"/>
                    </a:lnTo>
                    <a:lnTo>
                      <a:pt x="496" y="287"/>
                    </a:lnTo>
                    <a:lnTo>
                      <a:pt x="427" y="287"/>
                    </a:lnTo>
                    <a:lnTo>
                      <a:pt x="42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grpSp>
        <p:grpSp>
          <p:nvGrpSpPr>
            <p:cNvPr id="62" name="Group 61"/>
            <p:cNvGrpSpPr/>
            <p:nvPr/>
          </p:nvGrpSpPr>
          <p:grpSpPr>
            <a:xfrm>
              <a:off x="1129129" y="4462804"/>
              <a:ext cx="386841" cy="274128"/>
              <a:chOff x="2722563" y="4257676"/>
              <a:chExt cx="2887662" cy="2046288"/>
            </a:xfrm>
            <a:solidFill>
              <a:schemeClr val="bg1">
                <a:lumMod val="95000"/>
              </a:schemeClr>
            </a:solidFill>
          </p:grpSpPr>
          <p:sp>
            <p:nvSpPr>
              <p:cNvPr id="63" name="Rectangle 14"/>
              <p:cNvSpPr>
                <a:spLocks noChangeArrowheads="1"/>
              </p:cNvSpPr>
              <p:nvPr/>
            </p:nvSpPr>
            <p:spPr bwMode="auto">
              <a:xfrm>
                <a:off x="4600575" y="5508626"/>
                <a:ext cx="90487"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64" name="Rectangle 15"/>
              <p:cNvSpPr>
                <a:spLocks noChangeArrowheads="1"/>
              </p:cNvSpPr>
              <p:nvPr/>
            </p:nvSpPr>
            <p:spPr bwMode="auto">
              <a:xfrm>
                <a:off x="4894263" y="5508626"/>
                <a:ext cx="90487"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65" name="Rectangle 16"/>
              <p:cNvSpPr>
                <a:spLocks noChangeArrowheads="1"/>
              </p:cNvSpPr>
              <p:nvPr/>
            </p:nvSpPr>
            <p:spPr bwMode="auto">
              <a:xfrm>
                <a:off x="4221163" y="5508626"/>
                <a:ext cx="85725"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66" name="Rectangle 17"/>
              <p:cNvSpPr>
                <a:spLocks noChangeArrowheads="1"/>
              </p:cNvSpPr>
              <p:nvPr/>
            </p:nvSpPr>
            <p:spPr bwMode="auto">
              <a:xfrm>
                <a:off x="4333875" y="5508626"/>
                <a:ext cx="214312"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67" name="Rectangle 18"/>
              <p:cNvSpPr>
                <a:spLocks noChangeArrowheads="1"/>
              </p:cNvSpPr>
              <p:nvPr/>
            </p:nvSpPr>
            <p:spPr bwMode="auto">
              <a:xfrm>
                <a:off x="5281613" y="5508626"/>
                <a:ext cx="90487"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68" name="Freeform 19"/>
              <p:cNvSpPr>
                <a:spLocks/>
              </p:cNvSpPr>
              <p:nvPr/>
            </p:nvSpPr>
            <p:spPr bwMode="auto">
              <a:xfrm>
                <a:off x="2722563" y="4257676"/>
                <a:ext cx="2887662" cy="2046288"/>
              </a:xfrm>
              <a:custGeom>
                <a:avLst/>
                <a:gdLst>
                  <a:gd name="T0" fmla="*/ 865 w 1819"/>
                  <a:gd name="T1" fmla="*/ 620 h 1289"/>
                  <a:gd name="T2" fmla="*/ 1629 w 1819"/>
                  <a:gd name="T3" fmla="*/ 620 h 1289"/>
                  <a:gd name="T4" fmla="*/ 1819 w 1819"/>
                  <a:gd name="T5" fmla="*/ 223 h 1289"/>
                  <a:gd name="T6" fmla="*/ 1819 w 1819"/>
                  <a:gd name="T7" fmla="*/ 216 h 1289"/>
                  <a:gd name="T8" fmla="*/ 439 w 1819"/>
                  <a:gd name="T9" fmla="*/ 216 h 1289"/>
                  <a:gd name="T10" fmla="*/ 439 w 1819"/>
                  <a:gd name="T11" fmla="*/ 114 h 1289"/>
                  <a:gd name="T12" fmla="*/ 1816 w 1819"/>
                  <a:gd name="T13" fmla="*/ 114 h 1289"/>
                  <a:gd name="T14" fmla="*/ 1814 w 1819"/>
                  <a:gd name="T15" fmla="*/ 0 h 1289"/>
                  <a:gd name="T16" fmla="*/ 0 w 1819"/>
                  <a:gd name="T17" fmla="*/ 0 h 1289"/>
                  <a:gd name="T18" fmla="*/ 0 w 1819"/>
                  <a:gd name="T19" fmla="*/ 631 h 1289"/>
                  <a:gd name="T20" fmla="*/ 349 w 1819"/>
                  <a:gd name="T21" fmla="*/ 631 h 1289"/>
                  <a:gd name="T22" fmla="*/ 204 w 1819"/>
                  <a:gd name="T23" fmla="*/ 1289 h 1289"/>
                  <a:gd name="T24" fmla="*/ 498 w 1819"/>
                  <a:gd name="T25" fmla="*/ 1282 h 1289"/>
                  <a:gd name="T26" fmla="*/ 626 w 1819"/>
                  <a:gd name="T27" fmla="*/ 926 h 1289"/>
                  <a:gd name="T28" fmla="*/ 669 w 1819"/>
                  <a:gd name="T29" fmla="*/ 814 h 1289"/>
                  <a:gd name="T30" fmla="*/ 754 w 1819"/>
                  <a:gd name="T31" fmla="*/ 843 h 1289"/>
                  <a:gd name="T32" fmla="*/ 873 w 1819"/>
                  <a:gd name="T33" fmla="*/ 627 h 1289"/>
                  <a:gd name="T34" fmla="*/ 863 w 1819"/>
                  <a:gd name="T35" fmla="*/ 627 h 1289"/>
                  <a:gd name="T36" fmla="*/ 865 w 1819"/>
                  <a:gd name="T37" fmla="*/ 62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9" h="1289">
                    <a:moveTo>
                      <a:pt x="865" y="620"/>
                    </a:moveTo>
                    <a:lnTo>
                      <a:pt x="1629" y="620"/>
                    </a:lnTo>
                    <a:lnTo>
                      <a:pt x="1819" y="223"/>
                    </a:lnTo>
                    <a:lnTo>
                      <a:pt x="1819" y="216"/>
                    </a:lnTo>
                    <a:lnTo>
                      <a:pt x="439" y="216"/>
                    </a:lnTo>
                    <a:lnTo>
                      <a:pt x="439" y="114"/>
                    </a:lnTo>
                    <a:lnTo>
                      <a:pt x="1816" y="114"/>
                    </a:lnTo>
                    <a:lnTo>
                      <a:pt x="1814" y="0"/>
                    </a:lnTo>
                    <a:lnTo>
                      <a:pt x="0" y="0"/>
                    </a:lnTo>
                    <a:lnTo>
                      <a:pt x="0" y="631"/>
                    </a:lnTo>
                    <a:lnTo>
                      <a:pt x="349" y="631"/>
                    </a:lnTo>
                    <a:lnTo>
                      <a:pt x="204" y="1289"/>
                    </a:lnTo>
                    <a:lnTo>
                      <a:pt x="498" y="1282"/>
                    </a:lnTo>
                    <a:lnTo>
                      <a:pt x="626" y="926"/>
                    </a:lnTo>
                    <a:lnTo>
                      <a:pt x="669" y="814"/>
                    </a:lnTo>
                    <a:lnTo>
                      <a:pt x="754" y="843"/>
                    </a:lnTo>
                    <a:lnTo>
                      <a:pt x="873" y="627"/>
                    </a:lnTo>
                    <a:lnTo>
                      <a:pt x="863" y="627"/>
                    </a:lnTo>
                    <a:lnTo>
                      <a:pt x="865" y="6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69" name="Rectangle 20"/>
              <p:cNvSpPr>
                <a:spLocks noChangeArrowheads="1"/>
              </p:cNvSpPr>
              <p:nvPr/>
            </p:nvSpPr>
            <p:spPr bwMode="auto">
              <a:xfrm>
                <a:off x="5424488" y="5508626"/>
                <a:ext cx="185737"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grpSp>
        <p:grpSp>
          <p:nvGrpSpPr>
            <p:cNvPr id="135" name="Group 134"/>
            <p:cNvGrpSpPr/>
            <p:nvPr/>
          </p:nvGrpSpPr>
          <p:grpSpPr>
            <a:xfrm>
              <a:off x="489232" y="3808758"/>
              <a:ext cx="407369" cy="305527"/>
              <a:chOff x="-3803650" y="2025650"/>
              <a:chExt cx="1816100" cy="1362075"/>
            </a:xfrm>
            <a:solidFill>
              <a:schemeClr val="bg1">
                <a:lumMod val="95000"/>
              </a:schemeClr>
            </a:solidFill>
          </p:grpSpPr>
          <p:sp>
            <p:nvSpPr>
              <p:cNvPr id="70" name="Freeform 13"/>
              <p:cNvSpPr>
                <a:spLocks noEditPoints="1"/>
              </p:cNvSpPr>
              <p:nvPr/>
            </p:nvSpPr>
            <p:spPr bwMode="auto">
              <a:xfrm>
                <a:off x="-3803650" y="2025650"/>
                <a:ext cx="1816100" cy="1362075"/>
              </a:xfrm>
              <a:custGeom>
                <a:avLst/>
                <a:gdLst>
                  <a:gd name="T0" fmla="*/ 464 w 483"/>
                  <a:gd name="T1" fmla="*/ 0 h 362"/>
                  <a:gd name="T2" fmla="*/ 19 w 483"/>
                  <a:gd name="T3" fmla="*/ 0 h 362"/>
                  <a:gd name="T4" fmla="*/ 0 w 483"/>
                  <a:gd name="T5" fmla="*/ 19 h 362"/>
                  <a:gd name="T6" fmla="*/ 0 w 483"/>
                  <a:gd name="T7" fmla="*/ 343 h 362"/>
                  <a:gd name="T8" fmla="*/ 19 w 483"/>
                  <a:gd name="T9" fmla="*/ 362 h 362"/>
                  <a:gd name="T10" fmla="*/ 464 w 483"/>
                  <a:gd name="T11" fmla="*/ 362 h 362"/>
                  <a:gd name="T12" fmla="*/ 483 w 483"/>
                  <a:gd name="T13" fmla="*/ 343 h 362"/>
                  <a:gd name="T14" fmla="*/ 483 w 483"/>
                  <a:gd name="T15" fmla="*/ 19 h 362"/>
                  <a:gd name="T16" fmla="*/ 464 w 483"/>
                  <a:gd name="T17" fmla="*/ 0 h 362"/>
                  <a:gd name="T18" fmla="*/ 458 w 483"/>
                  <a:gd name="T19" fmla="*/ 328 h 362"/>
                  <a:gd name="T20" fmla="*/ 25 w 483"/>
                  <a:gd name="T21" fmla="*/ 328 h 362"/>
                  <a:gd name="T22" fmla="*/ 25 w 483"/>
                  <a:gd name="T23" fmla="*/ 25 h 362"/>
                  <a:gd name="T24" fmla="*/ 458 w 483"/>
                  <a:gd name="T25" fmla="*/ 25 h 362"/>
                  <a:gd name="T26" fmla="*/ 458 w 483"/>
                  <a:gd name="T27" fmla="*/ 32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3" h="362">
                    <a:moveTo>
                      <a:pt x="464" y="0"/>
                    </a:moveTo>
                    <a:cubicBezTo>
                      <a:pt x="19" y="0"/>
                      <a:pt x="19" y="0"/>
                      <a:pt x="19" y="0"/>
                    </a:cubicBezTo>
                    <a:cubicBezTo>
                      <a:pt x="9" y="0"/>
                      <a:pt x="0" y="9"/>
                      <a:pt x="0" y="19"/>
                    </a:cubicBezTo>
                    <a:cubicBezTo>
                      <a:pt x="0" y="19"/>
                      <a:pt x="0" y="98"/>
                      <a:pt x="0" y="343"/>
                    </a:cubicBezTo>
                    <a:cubicBezTo>
                      <a:pt x="0" y="354"/>
                      <a:pt x="9" y="362"/>
                      <a:pt x="19" y="362"/>
                    </a:cubicBezTo>
                    <a:cubicBezTo>
                      <a:pt x="19" y="362"/>
                      <a:pt x="19" y="362"/>
                      <a:pt x="464" y="362"/>
                    </a:cubicBezTo>
                    <a:cubicBezTo>
                      <a:pt x="475" y="362"/>
                      <a:pt x="483" y="354"/>
                      <a:pt x="483" y="343"/>
                    </a:cubicBezTo>
                    <a:cubicBezTo>
                      <a:pt x="483" y="343"/>
                      <a:pt x="483" y="264"/>
                      <a:pt x="483" y="19"/>
                    </a:cubicBezTo>
                    <a:cubicBezTo>
                      <a:pt x="483" y="9"/>
                      <a:pt x="475" y="0"/>
                      <a:pt x="464" y="0"/>
                    </a:cubicBezTo>
                    <a:close/>
                    <a:moveTo>
                      <a:pt x="458" y="328"/>
                    </a:moveTo>
                    <a:cubicBezTo>
                      <a:pt x="25" y="328"/>
                      <a:pt x="25" y="328"/>
                      <a:pt x="25" y="328"/>
                    </a:cubicBezTo>
                    <a:cubicBezTo>
                      <a:pt x="25" y="25"/>
                      <a:pt x="25" y="25"/>
                      <a:pt x="25" y="25"/>
                    </a:cubicBezTo>
                    <a:cubicBezTo>
                      <a:pt x="458" y="25"/>
                      <a:pt x="458" y="25"/>
                      <a:pt x="458" y="25"/>
                    </a:cubicBezTo>
                    <a:lnTo>
                      <a:pt x="458" y="3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71" name="Rectangle 14"/>
              <p:cNvSpPr>
                <a:spLocks noChangeArrowheads="1"/>
              </p:cNvSpPr>
              <p:nvPr/>
            </p:nvSpPr>
            <p:spPr bwMode="auto">
              <a:xfrm>
                <a:off x="-3408363" y="23526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72" name="Rectangle 15"/>
              <p:cNvSpPr>
                <a:spLocks noChangeArrowheads="1"/>
              </p:cNvSpPr>
              <p:nvPr/>
            </p:nvSpPr>
            <p:spPr bwMode="auto">
              <a:xfrm>
                <a:off x="-2874963" y="2352675"/>
                <a:ext cx="477838" cy="4810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73" name="Rectangle 16"/>
              <p:cNvSpPr>
                <a:spLocks noChangeArrowheads="1"/>
              </p:cNvSpPr>
              <p:nvPr/>
            </p:nvSpPr>
            <p:spPr bwMode="auto">
              <a:xfrm>
                <a:off x="-3141663" y="23526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74" name="Rectangle 17"/>
              <p:cNvSpPr>
                <a:spLocks noChangeArrowheads="1"/>
              </p:cNvSpPr>
              <p:nvPr/>
            </p:nvSpPr>
            <p:spPr bwMode="auto">
              <a:xfrm>
                <a:off x="-3408363" y="26193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75" name="Rectangle 18"/>
              <p:cNvSpPr>
                <a:spLocks noChangeArrowheads="1"/>
              </p:cNvSpPr>
              <p:nvPr/>
            </p:nvSpPr>
            <p:spPr bwMode="auto">
              <a:xfrm>
                <a:off x="-3408363" y="2887663"/>
                <a:ext cx="4810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76" name="Rectangle 19"/>
              <p:cNvSpPr>
                <a:spLocks noChangeArrowheads="1"/>
              </p:cNvSpPr>
              <p:nvPr/>
            </p:nvSpPr>
            <p:spPr bwMode="auto">
              <a:xfrm>
                <a:off x="-2874963" y="2887663"/>
                <a:ext cx="477838"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77" name="Rectangle 20"/>
              <p:cNvSpPr>
                <a:spLocks noChangeArrowheads="1"/>
              </p:cNvSpPr>
              <p:nvPr/>
            </p:nvSpPr>
            <p:spPr bwMode="auto">
              <a:xfrm>
                <a:off x="-3141663" y="26193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78" name="Rectangle 21"/>
              <p:cNvSpPr>
                <a:spLocks noChangeArrowheads="1"/>
              </p:cNvSpPr>
              <p:nvPr/>
            </p:nvSpPr>
            <p:spPr bwMode="auto">
              <a:xfrm>
                <a:off x="-2344738" y="23526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79" name="Rectangle 22"/>
              <p:cNvSpPr>
                <a:spLocks noChangeArrowheads="1"/>
              </p:cNvSpPr>
              <p:nvPr/>
            </p:nvSpPr>
            <p:spPr bwMode="auto">
              <a:xfrm>
                <a:off x="-2344738" y="26193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80" name="Rectangle 23"/>
              <p:cNvSpPr>
                <a:spLocks noChangeArrowheads="1"/>
              </p:cNvSpPr>
              <p:nvPr/>
            </p:nvSpPr>
            <p:spPr bwMode="auto">
              <a:xfrm>
                <a:off x="-2344738" y="2887663"/>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grpSp>
        <p:grpSp>
          <p:nvGrpSpPr>
            <p:cNvPr id="138" name="Group 137"/>
            <p:cNvGrpSpPr/>
            <p:nvPr/>
          </p:nvGrpSpPr>
          <p:grpSpPr>
            <a:xfrm>
              <a:off x="416244" y="3254768"/>
              <a:ext cx="662329" cy="356091"/>
              <a:chOff x="-4067175" y="3640138"/>
              <a:chExt cx="2952750" cy="1587500"/>
            </a:xfrm>
            <a:solidFill>
              <a:schemeClr val="bg1">
                <a:lumMod val="95000"/>
              </a:schemeClr>
            </a:solidFill>
          </p:grpSpPr>
          <p:sp>
            <p:nvSpPr>
              <p:cNvPr id="38" name="Freeform 11"/>
              <p:cNvSpPr>
                <a:spLocks noEditPoints="1"/>
              </p:cNvSpPr>
              <p:nvPr/>
            </p:nvSpPr>
            <p:spPr bwMode="auto">
              <a:xfrm>
                <a:off x="-4067175" y="3640138"/>
                <a:ext cx="2952750" cy="1587500"/>
              </a:xfrm>
              <a:custGeom>
                <a:avLst/>
                <a:gdLst>
                  <a:gd name="T0" fmla="*/ 667 w 785"/>
                  <a:gd name="T1" fmla="*/ 0 h 422"/>
                  <a:gd name="T2" fmla="*/ 120 w 785"/>
                  <a:gd name="T3" fmla="*/ 0 h 422"/>
                  <a:gd name="T4" fmla="*/ 100 w 785"/>
                  <a:gd name="T5" fmla="*/ 20 h 422"/>
                  <a:gd name="T6" fmla="*/ 100 w 785"/>
                  <a:gd name="T7" fmla="*/ 357 h 422"/>
                  <a:gd name="T8" fmla="*/ 120 w 785"/>
                  <a:gd name="T9" fmla="*/ 376 h 422"/>
                  <a:gd name="T10" fmla="*/ 667 w 785"/>
                  <a:gd name="T11" fmla="*/ 376 h 422"/>
                  <a:gd name="T12" fmla="*/ 687 w 785"/>
                  <a:gd name="T13" fmla="*/ 357 h 422"/>
                  <a:gd name="T14" fmla="*/ 687 w 785"/>
                  <a:gd name="T15" fmla="*/ 20 h 422"/>
                  <a:gd name="T16" fmla="*/ 667 w 785"/>
                  <a:gd name="T17" fmla="*/ 0 h 422"/>
                  <a:gd name="T18" fmla="*/ 661 w 785"/>
                  <a:gd name="T19" fmla="*/ 353 h 422"/>
                  <a:gd name="T20" fmla="*/ 126 w 785"/>
                  <a:gd name="T21" fmla="*/ 353 h 422"/>
                  <a:gd name="T22" fmla="*/ 126 w 785"/>
                  <a:gd name="T23" fmla="*/ 22 h 422"/>
                  <a:gd name="T24" fmla="*/ 661 w 785"/>
                  <a:gd name="T25" fmla="*/ 22 h 422"/>
                  <a:gd name="T26" fmla="*/ 661 w 785"/>
                  <a:gd name="T27" fmla="*/ 353 h 422"/>
                  <a:gd name="T28" fmla="*/ 447 w 785"/>
                  <a:gd name="T29" fmla="*/ 390 h 422"/>
                  <a:gd name="T30" fmla="*/ 447 w 785"/>
                  <a:gd name="T31" fmla="*/ 394 h 422"/>
                  <a:gd name="T32" fmla="*/ 439 w 785"/>
                  <a:gd name="T33" fmla="*/ 400 h 422"/>
                  <a:gd name="T34" fmla="*/ 347 w 785"/>
                  <a:gd name="T35" fmla="*/ 400 h 422"/>
                  <a:gd name="T36" fmla="*/ 339 w 785"/>
                  <a:gd name="T37" fmla="*/ 394 h 422"/>
                  <a:gd name="T38" fmla="*/ 339 w 785"/>
                  <a:gd name="T39" fmla="*/ 390 h 422"/>
                  <a:gd name="T40" fmla="*/ 0 w 785"/>
                  <a:gd name="T41" fmla="*/ 390 h 422"/>
                  <a:gd name="T42" fmla="*/ 0 w 785"/>
                  <a:gd name="T43" fmla="*/ 410 h 422"/>
                  <a:gd name="T44" fmla="*/ 26 w 785"/>
                  <a:gd name="T45" fmla="*/ 422 h 422"/>
                  <a:gd name="T46" fmla="*/ 26 w 785"/>
                  <a:gd name="T47" fmla="*/ 422 h 422"/>
                  <a:gd name="T48" fmla="*/ 759 w 785"/>
                  <a:gd name="T49" fmla="*/ 422 h 422"/>
                  <a:gd name="T50" fmla="*/ 759 w 785"/>
                  <a:gd name="T51" fmla="*/ 422 h 422"/>
                  <a:gd name="T52" fmla="*/ 785 w 785"/>
                  <a:gd name="T53" fmla="*/ 410 h 422"/>
                  <a:gd name="T54" fmla="*/ 785 w 785"/>
                  <a:gd name="T55" fmla="*/ 390 h 422"/>
                  <a:gd name="T56" fmla="*/ 447 w 785"/>
                  <a:gd name="T57" fmla="*/ 390 h 422"/>
                  <a:gd name="T58" fmla="*/ 447 w 785"/>
                  <a:gd name="T59" fmla="*/ 39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5" h="422">
                    <a:moveTo>
                      <a:pt x="667" y="0"/>
                    </a:moveTo>
                    <a:cubicBezTo>
                      <a:pt x="120" y="0"/>
                      <a:pt x="120" y="0"/>
                      <a:pt x="120" y="0"/>
                    </a:cubicBezTo>
                    <a:cubicBezTo>
                      <a:pt x="110" y="0"/>
                      <a:pt x="100" y="8"/>
                      <a:pt x="100" y="20"/>
                    </a:cubicBezTo>
                    <a:cubicBezTo>
                      <a:pt x="100" y="357"/>
                      <a:pt x="100" y="357"/>
                      <a:pt x="100" y="357"/>
                    </a:cubicBezTo>
                    <a:cubicBezTo>
                      <a:pt x="100" y="369"/>
                      <a:pt x="110" y="376"/>
                      <a:pt x="120" y="376"/>
                    </a:cubicBezTo>
                    <a:cubicBezTo>
                      <a:pt x="667" y="376"/>
                      <a:pt x="667" y="376"/>
                      <a:pt x="667" y="376"/>
                    </a:cubicBezTo>
                    <a:cubicBezTo>
                      <a:pt x="679" y="376"/>
                      <a:pt x="687" y="369"/>
                      <a:pt x="687" y="357"/>
                    </a:cubicBezTo>
                    <a:cubicBezTo>
                      <a:pt x="687" y="20"/>
                      <a:pt x="687" y="20"/>
                      <a:pt x="687" y="20"/>
                    </a:cubicBezTo>
                    <a:cubicBezTo>
                      <a:pt x="687" y="8"/>
                      <a:pt x="679" y="0"/>
                      <a:pt x="667" y="0"/>
                    </a:cubicBezTo>
                    <a:close/>
                    <a:moveTo>
                      <a:pt x="661" y="353"/>
                    </a:moveTo>
                    <a:cubicBezTo>
                      <a:pt x="126" y="353"/>
                      <a:pt x="126" y="353"/>
                      <a:pt x="126" y="353"/>
                    </a:cubicBezTo>
                    <a:cubicBezTo>
                      <a:pt x="126" y="22"/>
                      <a:pt x="126" y="22"/>
                      <a:pt x="126" y="22"/>
                    </a:cubicBezTo>
                    <a:cubicBezTo>
                      <a:pt x="661" y="22"/>
                      <a:pt x="661" y="22"/>
                      <a:pt x="661" y="22"/>
                    </a:cubicBezTo>
                    <a:cubicBezTo>
                      <a:pt x="661" y="353"/>
                      <a:pt x="661" y="353"/>
                      <a:pt x="661" y="353"/>
                    </a:cubicBezTo>
                    <a:close/>
                    <a:moveTo>
                      <a:pt x="447" y="390"/>
                    </a:moveTo>
                    <a:cubicBezTo>
                      <a:pt x="447" y="394"/>
                      <a:pt x="447" y="394"/>
                      <a:pt x="447" y="394"/>
                    </a:cubicBezTo>
                    <a:cubicBezTo>
                      <a:pt x="447" y="398"/>
                      <a:pt x="443" y="400"/>
                      <a:pt x="439" y="400"/>
                    </a:cubicBezTo>
                    <a:cubicBezTo>
                      <a:pt x="347" y="400"/>
                      <a:pt x="347" y="400"/>
                      <a:pt x="347" y="400"/>
                    </a:cubicBezTo>
                    <a:cubicBezTo>
                      <a:pt x="343" y="400"/>
                      <a:pt x="339" y="398"/>
                      <a:pt x="339" y="394"/>
                    </a:cubicBezTo>
                    <a:cubicBezTo>
                      <a:pt x="339" y="390"/>
                      <a:pt x="339" y="390"/>
                      <a:pt x="339" y="390"/>
                    </a:cubicBezTo>
                    <a:cubicBezTo>
                      <a:pt x="0" y="390"/>
                      <a:pt x="0" y="390"/>
                      <a:pt x="0" y="390"/>
                    </a:cubicBezTo>
                    <a:cubicBezTo>
                      <a:pt x="0" y="410"/>
                      <a:pt x="0" y="410"/>
                      <a:pt x="0" y="410"/>
                    </a:cubicBezTo>
                    <a:cubicBezTo>
                      <a:pt x="0" y="410"/>
                      <a:pt x="18" y="422"/>
                      <a:pt x="26" y="422"/>
                    </a:cubicBezTo>
                    <a:cubicBezTo>
                      <a:pt x="26" y="422"/>
                      <a:pt x="26" y="422"/>
                      <a:pt x="26" y="422"/>
                    </a:cubicBezTo>
                    <a:cubicBezTo>
                      <a:pt x="759" y="422"/>
                      <a:pt x="759" y="422"/>
                      <a:pt x="759" y="422"/>
                    </a:cubicBezTo>
                    <a:cubicBezTo>
                      <a:pt x="759" y="422"/>
                      <a:pt x="759" y="422"/>
                      <a:pt x="759" y="422"/>
                    </a:cubicBezTo>
                    <a:cubicBezTo>
                      <a:pt x="767" y="422"/>
                      <a:pt x="785" y="410"/>
                      <a:pt x="785" y="410"/>
                    </a:cubicBezTo>
                    <a:cubicBezTo>
                      <a:pt x="785" y="390"/>
                      <a:pt x="785" y="390"/>
                      <a:pt x="785" y="390"/>
                    </a:cubicBezTo>
                    <a:cubicBezTo>
                      <a:pt x="447" y="390"/>
                      <a:pt x="447" y="390"/>
                      <a:pt x="447" y="390"/>
                    </a:cubicBezTo>
                    <a:cubicBezTo>
                      <a:pt x="447" y="390"/>
                      <a:pt x="447" y="390"/>
                      <a:pt x="447" y="3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84" name="Rectangle 24"/>
              <p:cNvSpPr>
                <a:spLocks noChangeArrowheads="1"/>
              </p:cNvSpPr>
              <p:nvPr/>
            </p:nvSpPr>
            <p:spPr bwMode="auto">
              <a:xfrm>
                <a:off x="-3097213" y="3952875"/>
                <a:ext cx="2492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85" name="Rectangle 25"/>
              <p:cNvSpPr>
                <a:spLocks noChangeArrowheads="1"/>
              </p:cNvSpPr>
              <p:nvPr/>
            </p:nvSpPr>
            <p:spPr bwMode="auto">
              <a:xfrm>
                <a:off x="-2487613" y="3952875"/>
                <a:ext cx="552450" cy="5524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87" name="Rectangle 26"/>
              <p:cNvSpPr>
                <a:spLocks noChangeArrowheads="1"/>
              </p:cNvSpPr>
              <p:nvPr/>
            </p:nvSpPr>
            <p:spPr bwMode="auto">
              <a:xfrm>
                <a:off x="-2792413" y="3952875"/>
                <a:ext cx="2492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88" name="Rectangle 27"/>
              <p:cNvSpPr>
                <a:spLocks noChangeArrowheads="1"/>
              </p:cNvSpPr>
              <p:nvPr/>
            </p:nvSpPr>
            <p:spPr bwMode="auto">
              <a:xfrm>
                <a:off x="-3097213" y="4257675"/>
                <a:ext cx="2492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89" name="Rectangle 28"/>
              <p:cNvSpPr>
                <a:spLocks noChangeArrowheads="1"/>
              </p:cNvSpPr>
              <p:nvPr/>
            </p:nvSpPr>
            <p:spPr bwMode="auto">
              <a:xfrm>
                <a:off x="-3097213" y="4562475"/>
                <a:ext cx="5540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90" name="Rectangle 29"/>
              <p:cNvSpPr>
                <a:spLocks noChangeArrowheads="1"/>
              </p:cNvSpPr>
              <p:nvPr/>
            </p:nvSpPr>
            <p:spPr bwMode="auto">
              <a:xfrm>
                <a:off x="-2487613" y="4562475"/>
                <a:ext cx="552450"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91" name="Rectangle 30"/>
              <p:cNvSpPr>
                <a:spLocks noChangeArrowheads="1"/>
              </p:cNvSpPr>
              <p:nvPr/>
            </p:nvSpPr>
            <p:spPr bwMode="auto">
              <a:xfrm>
                <a:off x="-2792413" y="4257675"/>
                <a:ext cx="2492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92" name="Rectangle 31"/>
              <p:cNvSpPr>
                <a:spLocks noChangeArrowheads="1"/>
              </p:cNvSpPr>
              <p:nvPr/>
            </p:nvSpPr>
            <p:spPr bwMode="auto">
              <a:xfrm>
                <a:off x="-1878013" y="3952875"/>
                <a:ext cx="247650"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93" name="Rectangle 32"/>
              <p:cNvSpPr>
                <a:spLocks noChangeArrowheads="1"/>
              </p:cNvSpPr>
              <p:nvPr/>
            </p:nvSpPr>
            <p:spPr bwMode="auto">
              <a:xfrm>
                <a:off x="-1878013" y="4257675"/>
                <a:ext cx="247650"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94" name="Rectangle 33"/>
              <p:cNvSpPr>
                <a:spLocks noChangeArrowheads="1"/>
              </p:cNvSpPr>
              <p:nvPr/>
            </p:nvSpPr>
            <p:spPr bwMode="auto">
              <a:xfrm>
                <a:off x="-1878013" y="4562475"/>
                <a:ext cx="247650"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grpSp>
        <p:grpSp>
          <p:nvGrpSpPr>
            <p:cNvPr id="136" name="Group 135"/>
            <p:cNvGrpSpPr/>
            <p:nvPr/>
          </p:nvGrpSpPr>
          <p:grpSpPr>
            <a:xfrm>
              <a:off x="1215642" y="3935401"/>
              <a:ext cx="190865" cy="326180"/>
              <a:chOff x="-4857750" y="3473450"/>
              <a:chExt cx="850900" cy="1454150"/>
            </a:xfrm>
            <a:solidFill>
              <a:schemeClr val="bg1">
                <a:lumMod val="95000"/>
              </a:schemeClr>
            </a:solidFill>
          </p:grpSpPr>
          <p:sp>
            <p:nvSpPr>
              <p:cNvPr id="49" name="Freeform 12"/>
              <p:cNvSpPr>
                <a:spLocks noEditPoints="1"/>
              </p:cNvSpPr>
              <p:nvPr/>
            </p:nvSpPr>
            <p:spPr bwMode="auto">
              <a:xfrm>
                <a:off x="-4857750" y="3473450"/>
                <a:ext cx="850900" cy="1454150"/>
              </a:xfrm>
              <a:custGeom>
                <a:avLst/>
                <a:gdLst>
                  <a:gd name="T0" fmla="*/ 211 w 226"/>
                  <a:gd name="T1" fmla="*/ 0 h 386"/>
                  <a:gd name="T2" fmla="*/ 15 w 226"/>
                  <a:gd name="T3" fmla="*/ 0 h 386"/>
                  <a:gd name="T4" fmla="*/ 0 w 226"/>
                  <a:gd name="T5" fmla="*/ 15 h 386"/>
                  <a:gd name="T6" fmla="*/ 0 w 226"/>
                  <a:gd name="T7" fmla="*/ 371 h 386"/>
                  <a:gd name="T8" fmla="*/ 15 w 226"/>
                  <a:gd name="T9" fmla="*/ 386 h 386"/>
                  <a:gd name="T10" fmla="*/ 211 w 226"/>
                  <a:gd name="T11" fmla="*/ 386 h 386"/>
                  <a:gd name="T12" fmla="*/ 226 w 226"/>
                  <a:gd name="T13" fmla="*/ 371 h 386"/>
                  <a:gd name="T14" fmla="*/ 226 w 226"/>
                  <a:gd name="T15" fmla="*/ 15 h 386"/>
                  <a:gd name="T16" fmla="*/ 211 w 226"/>
                  <a:gd name="T17" fmla="*/ 0 h 386"/>
                  <a:gd name="T18" fmla="*/ 204 w 226"/>
                  <a:gd name="T19" fmla="*/ 326 h 386"/>
                  <a:gd name="T20" fmla="*/ 22 w 226"/>
                  <a:gd name="T21" fmla="*/ 326 h 386"/>
                  <a:gd name="T22" fmla="*/ 22 w 226"/>
                  <a:gd name="T23" fmla="*/ 22 h 386"/>
                  <a:gd name="T24" fmla="*/ 204 w 226"/>
                  <a:gd name="T25" fmla="*/ 22 h 386"/>
                  <a:gd name="T26" fmla="*/ 204 w 226"/>
                  <a:gd name="T27" fmla="*/ 32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6" h="386">
                    <a:moveTo>
                      <a:pt x="211" y="0"/>
                    </a:moveTo>
                    <a:cubicBezTo>
                      <a:pt x="15" y="0"/>
                      <a:pt x="15" y="0"/>
                      <a:pt x="15" y="0"/>
                    </a:cubicBezTo>
                    <a:cubicBezTo>
                      <a:pt x="7" y="0"/>
                      <a:pt x="0" y="7"/>
                      <a:pt x="0" y="15"/>
                    </a:cubicBezTo>
                    <a:cubicBezTo>
                      <a:pt x="0" y="371"/>
                      <a:pt x="0" y="371"/>
                      <a:pt x="0" y="371"/>
                    </a:cubicBezTo>
                    <a:cubicBezTo>
                      <a:pt x="0" y="379"/>
                      <a:pt x="7" y="386"/>
                      <a:pt x="15" y="386"/>
                    </a:cubicBezTo>
                    <a:cubicBezTo>
                      <a:pt x="211" y="386"/>
                      <a:pt x="211" y="386"/>
                      <a:pt x="211" y="386"/>
                    </a:cubicBezTo>
                    <a:cubicBezTo>
                      <a:pt x="219" y="386"/>
                      <a:pt x="226" y="379"/>
                      <a:pt x="226" y="371"/>
                    </a:cubicBezTo>
                    <a:cubicBezTo>
                      <a:pt x="226" y="15"/>
                      <a:pt x="226" y="15"/>
                      <a:pt x="226" y="15"/>
                    </a:cubicBezTo>
                    <a:cubicBezTo>
                      <a:pt x="226" y="7"/>
                      <a:pt x="219" y="0"/>
                      <a:pt x="211" y="0"/>
                    </a:cubicBezTo>
                    <a:close/>
                    <a:moveTo>
                      <a:pt x="204" y="326"/>
                    </a:moveTo>
                    <a:cubicBezTo>
                      <a:pt x="22" y="326"/>
                      <a:pt x="22" y="326"/>
                      <a:pt x="22" y="326"/>
                    </a:cubicBezTo>
                    <a:cubicBezTo>
                      <a:pt x="22" y="22"/>
                      <a:pt x="22" y="22"/>
                      <a:pt x="22" y="22"/>
                    </a:cubicBezTo>
                    <a:cubicBezTo>
                      <a:pt x="204" y="22"/>
                      <a:pt x="204" y="22"/>
                      <a:pt x="204" y="22"/>
                    </a:cubicBezTo>
                    <a:lnTo>
                      <a:pt x="204"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95" name="Rectangle 34"/>
              <p:cNvSpPr>
                <a:spLocks noChangeArrowheads="1"/>
              </p:cNvSpPr>
              <p:nvPr/>
            </p:nvSpPr>
            <p:spPr bwMode="auto">
              <a:xfrm>
                <a:off x="-4699000" y="3695700"/>
                <a:ext cx="342900" cy="3460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128" name="Rectangle 35"/>
              <p:cNvSpPr>
                <a:spLocks noChangeArrowheads="1"/>
              </p:cNvSpPr>
              <p:nvPr/>
            </p:nvSpPr>
            <p:spPr bwMode="auto">
              <a:xfrm>
                <a:off x="-4311650" y="3892550"/>
                <a:ext cx="150813" cy="149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129" name="Rectangle 36"/>
              <p:cNvSpPr>
                <a:spLocks noChangeArrowheads="1"/>
              </p:cNvSpPr>
              <p:nvPr/>
            </p:nvSpPr>
            <p:spPr bwMode="auto">
              <a:xfrm>
                <a:off x="-4311650" y="3695700"/>
                <a:ext cx="150813" cy="1508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130" name="Rectangle 37"/>
              <p:cNvSpPr>
                <a:spLocks noChangeArrowheads="1"/>
              </p:cNvSpPr>
              <p:nvPr/>
            </p:nvSpPr>
            <p:spPr bwMode="auto">
              <a:xfrm>
                <a:off x="-4311650" y="4283075"/>
                <a:ext cx="150813" cy="1476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131" name="Rectangle 38"/>
              <p:cNvSpPr>
                <a:spLocks noChangeArrowheads="1"/>
              </p:cNvSpPr>
              <p:nvPr/>
            </p:nvSpPr>
            <p:spPr bwMode="auto">
              <a:xfrm>
                <a:off x="-4702175" y="4087813"/>
                <a:ext cx="541338" cy="1508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132" name="Rectangle 39"/>
              <p:cNvSpPr>
                <a:spLocks noChangeArrowheads="1"/>
              </p:cNvSpPr>
              <p:nvPr/>
            </p:nvSpPr>
            <p:spPr bwMode="auto">
              <a:xfrm>
                <a:off x="-4311650" y="4478338"/>
                <a:ext cx="150813" cy="1476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133" name="Rectangle 40"/>
              <p:cNvSpPr>
                <a:spLocks noChangeArrowheads="1"/>
              </p:cNvSpPr>
              <p:nvPr/>
            </p:nvSpPr>
            <p:spPr bwMode="auto">
              <a:xfrm>
                <a:off x="-4506913" y="4283075"/>
                <a:ext cx="150813" cy="1476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sp>
            <p:nvSpPr>
              <p:cNvPr id="134" name="Rectangle 41"/>
              <p:cNvSpPr>
                <a:spLocks noChangeArrowheads="1"/>
              </p:cNvSpPr>
              <p:nvPr/>
            </p:nvSpPr>
            <p:spPr bwMode="auto">
              <a:xfrm>
                <a:off x="-4699000" y="4283075"/>
                <a:ext cx="146050" cy="1476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sz="1765">
                  <a:solidFill>
                    <a:prstClr val="black"/>
                  </a:solidFill>
                </a:endParaRPr>
              </a:p>
            </p:txBody>
          </p:sp>
        </p:grpSp>
        <p:pic>
          <p:nvPicPr>
            <p:cNvPr id="148" name="Picture 147"/>
            <p:cNvPicPr>
              <a:picLocks noChangeAspect="1"/>
            </p:cNvPicPr>
            <p:nvPr/>
          </p:nvPicPr>
          <p:blipFill>
            <a:blip r:embed="rId7"/>
            <a:stretch>
              <a:fillRect/>
            </a:stretch>
          </p:blipFill>
          <p:spPr>
            <a:xfrm>
              <a:off x="493208" y="2885235"/>
              <a:ext cx="966689" cy="207854"/>
            </a:xfrm>
            <a:prstGeom prst="rect">
              <a:avLst/>
            </a:prstGeom>
          </p:spPr>
        </p:pic>
      </p:grpSp>
    </p:spTree>
    <p:extLst>
      <p:ext uri="{BB962C8B-B14F-4D97-AF65-F5344CB8AC3E}">
        <p14:creationId xmlns:p14="http://schemas.microsoft.com/office/powerpoint/2010/main" val="9197306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500"/>
                                  </p:stCondLst>
                                  <p:childTnLst>
                                    <p:set>
                                      <p:cBhvr>
                                        <p:cTn id="6" dur="1" fill="hold">
                                          <p:stCondLst>
                                            <p:cond delay="0"/>
                                          </p:stCondLst>
                                        </p:cTn>
                                        <p:tgtEl>
                                          <p:spTgt spid="83"/>
                                        </p:tgtEl>
                                        <p:attrNameLst>
                                          <p:attrName>style.visibility</p:attrName>
                                        </p:attrNameLst>
                                      </p:cBhvr>
                                      <p:to>
                                        <p:strVal val="visible"/>
                                      </p:to>
                                    </p:set>
                                    <p:animEffect transition="in" filter="fade">
                                      <p:cBhvr>
                                        <p:cTn id="7" dur="750"/>
                                        <p:tgtEl>
                                          <p:spTgt spid="83"/>
                                        </p:tgtEl>
                                      </p:cBhvr>
                                    </p:animEffect>
                                  </p:childTnLst>
                                </p:cTn>
                              </p:par>
                              <p:par>
                                <p:cTn id="8" presetID="35" presetClass="path" presetSubtype="0" accel="50000" decel="50000" fill="hold" grpId="1" nodeType="withEffect">
                                  <p:stCondLst>
                                    <p:cond delay="0"/>
                                  </p:stCondLst>
                                  <p:childTnLst>
                                    <p:animMotion origin="layout" path="M 9.21624E-7 2.38765E-6 L -0.09612 2.38765E-6 " pathEditMode="relative" rAng="0" ptsTypes="AA">
                                      <p:cBhvr>
                                        <p:cTn id="9" dur="1250" spd="-100000" fill="hold"/>
                                        <p:tgtEl>
                                          <p:spTgt spid="83"/>
                                        </p:tgtEl>
                                        <p:attrNameLst>
                                          <p:attrName>ppt_x</p:attrName>
                                          <p:attrName>ppt_y</p:attrName>
                                        </p:attrNameLst>
                                      </p:cBhvr>
                                      <p:rCtr x="-4800" y="0"/>
                                    </p:animMotion>
                                  </p:childTnLst>
                                </p:cTn>
                              </p:par>
                              <p:par>
                                <p:cTn id="10" presetID="10" presetClass="entr" presetSubtype="0" fill="hold" nodeType="withEffect">
                                  <p:stCondLst>
                                    <p:cond delay="100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750"/>
                                        <p:tgtEl>
                                          <p:spTgt spid="9"/>
                                        </p:tgtEl>
                                      </p:cBhvr>
                                    </p:animEffect>
                                  </p:childTnLst>
                                </p:cTn>
                              </p:par>
                              <p:par>
                                <p:cTn id="13" presetID="35" presetClass="path" presetSubtype="0" accel="50000" decel="50000" fill="hold" nodeType="withEffect">
                                  <p:stCondLst>
                                    <p:cond delay="500"/>
                                  </p:stCondLst>
                                  <p:childTnLst>
                                    <p:animMotion origin="layout" path="M 9.21624E-7 2.38765E-6 L -0.09612 2.38765E-6 " pathEditMode="relative" rAng="0" ptsTypes="AA">
                                      <p:cBhvr>
                                        <p:cTn id="14" dur="1250" spd="-100000" fill="hold"/>
                                        <p:tgtEl>
                                          <p:spTgt spid="9"/>
                                        </p:tgtEl>
                                        <p:attrNameLst>
                                          <p:attrName>ppt_x</p:attrName>
                                          <p:attrName>ppt_y</p:attrName>
                                        </p:attrNameLst>
                                      </p:cBhvr>
                                      <p:rCtr x="-4800" y="0"/>
                                    </p:animMotion>
                                  </p:childTnLst>
                                </p:cTn>
                              </p:par>
                              <p:par>
                                <p:cTn id="15" presetID="10" presetClass="entr" presetSubtype="0" fill="hold" nodeType="withEffect">
                                  <p:stCondLst>
                                    <p:cond delay="125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750"/>
                                        <p:tgtEl>
                                          <p:spTgt spid="42"/>
                                        </p:tgtEl>
                                      </p:cBhvr>
                                    </p:animEffect>
                                  </p:childTnLst>
                                </p:cTn>
                              </p:par>
                              <p:par>
                                <p:cTn id="18" presetID="35" presetClass="path" presetSubtype="0" accel="50000" decel="50000" fill="hold" nodeType="withEffect">
                                  <p:stCondLst>
                                    <p:cond delay="750"/>
                                  </p:stCondLst>
                                  <p:childTnLst>
                                    <p:animMotion origin="layout" path="M 9.21624E-7 2.38765E-6 L -0.09612 2.38765E-6 " pathEditMode="relative" rAng="0" ptsTypes="AA">
                                      <p:cBhvr>
                                        <p:cTn id="19" dur="1250" spd="-100000" fill="hold"/>
                                        <p:tgtEl>
                                          <p:spTgt spid="42"/>
                                        </p:tgtEl>
                                        <p:attrNameLst>
                                          <p:attrName>ppt_x</p:attrName>
                                          <p:attrName>ppt_y</p:attrName>
                                        </p:attrNameLst>
                                      </p:cBhvr>
                                      <p:rCtr x="-4800" y="0"/>
                                    </p:animMotion>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500"/>
                                  </p:stCondLst>
                                  <p:childTnLst>
                                    <p:set>
                                      <p:cBhvr>
                                        <p:cTn id="23" dur="1" fill="hold">
                                          <p:stCondLst>
                                            <p:cond delay="0"/>
                                          </p:stCondLst>
                                        </p:cTn>
                                        <p:tgtEl>
                                          <p:spTgt spid="82"/>
                                        </p:tgtEl>
                                        <p:attrNameLst>
                                          <p:attrName>style.visibility</p:attrName>
                                        </p:attrNameLst>
                                      </p:cBhvr>
                                      <p:to>
                                        <p:strVal val="visible"/>
                                      </p:to>
                                    </p:set>
                                    <p:animEffect transition="in" filter="fade">
                                      <p:cBhvr>
                                        <p:cTn id="24" dur="750"/>
                                        <p:tgtEl>
                                          <p:spTgt spid="82"/>
                                        </p:tgtEl>
                                      </p:cBhvr>
                                    </p:animEffect>
                                  </p:childTnLst>
                                </p:cTn>
                              </p:par>
                              <p:par>
                                <p:cTn id="25" presetID="35" presetClass="path" presetSubtype="0" accel="50000" decel="50000" fill="hold" grpId="1" nodeType="withEffect">
                                  <p:stCondLst>
                                    <p:cond delay="0"/>
                                  </p:stCondLst>
                                  <p:childTnLst>
                                    <p:animMotion origin="layout" path="M 9.21624E-7 2.38765E-6 L -0.09612 2.38765E-6 " pathEditMode="relative" rAng="0" ptsTypes="AA">
                                      <p:cBhvr>
                                        <p:cTn id="26" dur="1250" spd="-100000" fill="hold"/>
                                        <p:tgtEl>
                                          <p:spTgt spid="82"/>
                                        </p:tgtEl>
                                        <p:attrNameLst>
                                          <p:attrName>ppt_x</p:attrName>
                                          <p:attrName>ppt_y</p:attrName>
                                        </p:attrNameLst>
                                      </p:cBhvr>
                                      <p:rCtr x="-4800" y="0"/>
                                    </p:animMotion>
                                  </p:childTnLst>
                                </p:cTn>
                              </p:par>
                              <p:par>
                                <p:cTn id="27" presetID="10" presetClass="entr" presetSubtype="0" fill="hold" grpId="0" nodeType="withEffect">
                                  <p:stCondLst>
                                    <p:cond delay="750"/>
                                  </p:stCondLst>
                                  <p:childTnLst>
                                    <p:set>
                                      <p:cBhvr>
                                        <p:cTn id="28" dur="1" fill="hold">
                                          <p:stCondLst>
                                            <p:cond delay="0"/>
                                          </p:stCondLst>
                                        </p:cTn>
                                        <p:tgtEl>
                                          <p:spTgt spid="178"/>
                                        </p:tgtEl>
                                        <p:attrNameLst>
                                          <p:attrName>style.visibility</p:attrName>
                                        </p:attrNameLst>
                                      </p:cBhvr>
                                      <p:to>
                                        <p:strVal val="visible"/>
                                      </p:to>
                                    </p:set>
                                    <p:animEffect transition="in" filter="fade">
                                      <p:cBhvr>
                                        <p:cTn id="29" dur="750"/>
                                        <p:tgtEl>
                                          <p:spTgt spid="178"/>
                                        </p:tgtEl>
                                      </p:cBhvr>
                                    </p:animEffect>
                                  </p:childTnLst>
                                </p:cTn>
                              </p:par>
                              <p:par>
                                <p:cTn id="30" presetID="35" presetClass="path" presetSubtype="0" accel="50000" decel="50000" fill="hold" grpId="1" nodeType="withEffect">
                                  <p:stCondLst>
                                    <p:cond delay="250"/>
                                  </p:stCondLst>
                                  <p:childTnLst>
                                    <p:animMotion origin="layout" path="M 9.21624E-7 2.38765E-6 L -0.09612 2.38765E-6 " pathEditMode="relative" rAng="0" ptsTypes="AA">
                                      <p:cBhvr>
                                        <p:cTn id="31" dur="1250" spd="-100000" fill="hold"/>
                                        <p:tgtEl>
                                          <p:spTgt spid="178"/>
                                        </p:tgtEl>
                                        <p:attrNameLst>
                                          <p:attrName>ppt_x</p:attrName>
                                          <p:attrName>ppt_y</p:attrName>
                                        </p:attrNameLst>
                                      </p:cBhvr>
                                      <p:rCtr x="-4800" y="0"/>
                                    </p:animMotion>
                                  </p:childTnLst>
                                </p:cTn>
                              </p:par>
                              <p:par>
                                <p:cTn id="32" presetID="10" presetClass="entr" presetSubtype="0" fill="hold" grpId="0" nodeType="withEffect">
                                  <p:stCondLst>
                                    <p:cond delay="1000"/>
                                  </p:stCondLst>
                                  <p:childTnLst>
                                    <p:set>
                                      <p:cBhvr>
                                        <p:cTn id="33" dur="1" fill="hold">
                                          <p:stCondLst>
                                            <p:cond delay="0"/>
                                          </p:stCondLst>
                                        </p:cTn>
                                        <p:tgtEl>
                                          <p:spTgt spid="179"/>
                                        </p:tgtEl>
                                        <p:attrNameLst>
                                          <p:attrName>style.visibility</p:attrName>
                                        </p:attrNameLst>
                                      </p:cBhvr>
                                      <p:to>
                                        <p:strVal val="visible"/>
                                      </p:to>
                                    </p:set>
                                    <p:animEffect transition="in" filter="fade">
                                      <p:cBhvr>
                                        <p:cTn id="34" dur="750"/>
                                        <p:tgtEl>
                                          <p:spTgt spid="179"/>
                                        </p:tgtEl>
                                      </p:cBhvr>
                                    </p:animEffect>
                                  </p:childTnLst>
                                </p:cTn>
                              </p:par>
                              <p:par>
                                <p:cTn id="35" presetID="35" presetClass="path" presetSubtype="0" accel="50000" decel="50000" fill="hold" grpId="1" nodeType="withEffect">
                                  <p:stCondLst>
                                    <p:cond delay="500"/>
                                  </p:stCondLst>
                                  <p:childTnLst>
                                    <p:animMotion origin="layout" path="M 9.21624E-7 2.38765E-6 L -0.09612 2.38765E-6 " pathEditMode="relative" rAng="0" ptsTypes="AA">
                                      <p:cBhvr>
                                        <p:cTn id="36" dur="1250" spd="-100000" fill="hold"/>
                                        <p:tgtEl>
                                          <p:spTgt spid="179"/>
                                        </p:tgtEl>
                                        <p:attrNameLst>
                                          <p:attrName>ppt_x</p:attrName>
                                          <p:attrName>ppt_y</p:attrName>
                                        </p:attrNameLst>
                                      </p:cBhvr>
                                      <p:rCtr x="-4800" y="0"/>
                                    </p:animMotion>
                                  </p:childTnLst>
                                </p:cTn>
                              </p:par>
                              <p:par>
                                <p:cTn id="37" presetID="10" presetClass="entr" presetSubtype="0" fill="hold" nodeType="withEffect">
                                  <p:stCondLst>
                                    <p:cond delay="1250"/>
                                  </p:stCondLst>
                                  <p:childTnLst>
                                    <p:set>
                                      <p:cBhvr>
                                        <p:cTn id="38" dur="1" fill="hold">
                                          <p:stCondLst>
                                            <p:cond delay="0"/>
                                          </p:stCondLst>
                                        </p:cTn>
                                        <p:tgtEl>
                                          <p:spTgt spid="180"/>
                                        </p:tgtEl>
                                        <p:attrNameLst>
                                          <p:attrName>style.visibility</p:attrName>
                                        </p:attrNameLst>
                                      </p:cBhvr>
                                      <p:to>
                                        <p:strVal val="visible"/>
                                      </p:to>
                                    </p:set>
                                    <p:animEffect transition="in" filter="fade">
                                      <p:cBhvr>
                                        <p:cTn id="39" dur="750"/>
                                        <p:tgtEl>
                                          <p:spTgt spid="180"/>
                                        </p:tgtEl>
                                      </p:cBhvr>
                                    </p:animEffect>
                                  </p:childTnLst>
                                </p:cTn>
                              </p:par>
                              <p:par>
                                <p:cTn id="40" presetID="35" presetClass="path" presetSubtype="0" accel="50000" decel="50000" fill="hold" nodeType="withEffect">
                                  <p:stCondLst>
                                    <p:cond delay="750"/>
                                  </p:stCondLst>
                                  <p:childTnLst>
                                    <p:animMotion origin="layout" path="M 9.21624E-7 2.38765E-6 L -0.09612 2.38765E-6 " pathEditMode="relative" rAng="0" ptsTypes="AA">
                                      <p:cBhvr>
                                        <p:cTn id="41" dur="1250" spd="-100000" fill="hold"/>
                                        <p:tgtEl>
                                          <p:spTgt spid="180"/>
                                        </p:tgtEl>
                                        <p:attrNameLst>
                                          <p:attrName>ppt_x</p:attrName>
                                          <p:attrName>ppt_y</p:attrName>
                                        </p:attrNameLst>
                                      </p:cBhvr>
                                      <p:rCtr x="-4800" y="0"/>
                                    </p:animMotion>
                                  </p:childTnLst>
                                </p:cTn>
                              </p:par>
                              <p:par>
                                <p:cTn id="42" presetID="10" presetClass="entr" presetSubtype="0" fill="hold" nodeType="withEffect">
                                  <p:stCondLst>
                                    <p:cond delay="1500"/>
                                  </p:stCondLst>
                                  <p:childTnLst>
                                    <p:set>
                                      <p:cBhvr>
                                        <p:cTn id="43" dur="1" fill="hold">
                                          <p:stCondLst>
                                            <p:cond delay="0"/>
                                          </p:stCondLst>
                                        </p:cTn>
                                        <p:tgtEl>
                                          <p:spTgt spid="181"/>
                                        </p:tgtEl>
                                        <p:attrNameLst>
                                          <p:attrName>style.visibility</p:attrName>
                                        </p:attrNameLst>
                                      </p:cBhvr>
                                      <p:to>
                                        <p:strVal val="visible"/>
                                      </p:to>
                                    </p:set>
                                    <p:animEffect transition="in" filter="fade">
                                      <p:cBhvr>
                                        <p:cTn id="44" dur="750"/>
                                        <p:tgtEl>
                                          <p:spTgt spid="181"/>
                                        </p:tgtEl>
                                      </p:cBhvr>
                                    </p:animEffect>
                                  </p:childTnLst>
                                </p:cTn>
                              </p:par>
                              <p:par>
                                <p:cTn id="45" presetID="35" presetClass="path" presetSubtype="0" accel="50000" decel="50000" fill="hold" nodeType="withEffect">
                                  <p:stCondLst>
                                    <p:cond delay="1000"/>
                                  </p:stCondLst>
                                  <p:childTnLst>
                                    <p:animMotion origin="layout" path="M 9.21624E-7 2.38765E-6 L -0.09612 2.38765E-6 " pathEditMode="relative" rAng="0" ptsTypes="AA">
                                      <p:cBhvr>
                                        <p:cTn id="46" dur="1250" spd="-100000" fill="hold"/>
                                        <p:tgtEl>
                                          <p:spTgt spid="181"/>
                                        </p:tgtEl>
                                        <p:attrNameLst>
                                          <p:attrName>ppt_x</p:attrName>
                                          <p:attrName>ppt_y</p:attrName>
                                        </p:attrNameLst>
                                      </p:cBhvr>
                                      <p:rCtr x="-4800" y="0"/>
                                    </p:animMotion>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500"/>
                                  </p:stCondLst>
                                  <p:childTnLst>
                                    <p:set>
                                      <p:cBhvr>
                                        <p:cTn id="50" dur="1" fill="hold">
                                          <p:stCondLst>
                                            <p:cond delay="0"/>
                                          </p:stCondLst>
                                        </p:cTn>
                                        <p:tgtEl>
                                          <p:spTgt spid="81"/>
                                        </p:tgtEl>
                                        <p:attrNameLst>
                                          <p:attrName>style.visibility</p:attrName>
                                        </p:attrNameLst>
                                      </p:cBhvr>
                                      <p:to>
                                        <p:strVal val="visible"/>
                                      </p:to>
                                    </p:set>
                                    <p:animEffect transition="in" filter="fade">
                                      <p:cBhvr>
                                        <p:cTn id="51" dur="750"/>
                                        <p:tgtEl>
                                          <p:spTgt spid="81"/>
                                        </p:tgtEl>
                                      </p:cBhvr>
                                    </p:animEffect>
                                  </p:childTnLst>
                                </p:cTn>
                              </p:par>
                              <p:par>
                                <p:cTn id="52" presetID="35" presetClass="path" presetSubtype="0" accel="50000" decel="50000" fill="hold" grpId="1" nodeType="withEffect">
                                  <p:stCondLst>
                                    <p:cond delay="0"/>
                                  </p:stCondLst>
                                  <p:childTnLst>
                                    <p:animMotion origin="layout" path="M 4.92979E-6 -3.92646E-6 L -0.09612 -3.92646E-6 " pathEditMode="relative" rAng="0" ptsTypes="AA">
                                      <p:cBhvr>
                                        <p:cTn id="53" dur="1250" spd="-100000" fill="hold"/>
                                        <p:tgtEl>
                                          <p:spTgt spid="81"/>
                                        </p:tgtEl>
                                        <p:attrNameLst>
                                          <p:attrName>ppt_x</p:attrName>
                                          <p:attrName>ppt_y</p:attrName>
                                        </p:attrNameLst>
                                      </p:cBhvr>
                                      <p:rCtr x="-4812" y="0"/>
                                    </p:animMotion>
                                  </p:childTnLst>
                                </p:cTn>
                              </p:par>
                              <p:par>
                                <p:cTn id="54" presetID="10" presetClass="entr" presetSubtype="0" fill="hold" nodeType="withEffect">
                                  <p:stCondLst>
                                    <p:cond delay="750"/>
                                  </p:stCondLst>
                                  <p:childTnLst>
                                    <p:set>
                                      <p:cBhvr>
                                        <p:cTn id="55" dur="1" fill="hold">
                                          <p:stCondLst>
                                            <p:cond delay="0"/>
                                          </p:stCondLst>
                                        </p:cTn>
                                        <p:tgtEl>
                                          <p:spTgt spid="10"/>
                                        </p:tgtEl>
                                        <p:attrNameLst>
                                          <p:attrName>style.visibility</p:attrName>
                                        </p:attrNameLst>
                                      </p:cBhvr>
                                      <p:to>
                                        <p:strVal val="visible"/>
                                      </p:to>
                                    </p:set>
                                    <p:animEffect transition="in" filter="fade">
                                      <p:cBhvr>
                                        <p:cTn id="56" dur="750"/>
                                        <p:tgtEl>
                                          <p:spTgt spid="10"/>
                                        </p:tgtEl>
                                      </p:cBhvr>
                                    </p:animEffect>
                                  </p:childTnLst>
                                </p:cTn>
                              </p:par>
                              <p:par>
                                <p:cTn id="57" presetID="35" presetClass="path" presetSubtype="0" accel="50000" decel="50000" fill="hold" nodeType="withEffect">
                                  <p:stCondLst>
                                    <p:cond delay="250"/>
                                  </p:stCondLst>
                                  <p:childTnLst>
                                    <p:animMotion origin="layout" path="M 9.21624E-7 2.38765E-6 L -0.09612 2.38765E-6 " pathEditMode="relative" rAng="0" ptsTypes="AA">
                                      <p:cBhvr>
                                        <p:cTn id="58" dur="1250" spd="-100000" fill="hold"/>
                                        <p:tgtEl>
                                          <p:spTgt spid="10"/>
                                        </p:tgtEl>
                                        <p:attrNameLst>
                                          <p:attrName>ppt_x</p:attrName>
                                          <p:attrName>ppt_y</p:attrName>
                                        </p:attrNameLst>
                                      </p:cBhvr>
                                      <p:rCtr x="-4800" y="0"/>
                                    </p:animMotion>
                                  </p:childTnLst>
                                </p:cTn>
                              </p:par>
                              <p:par>
                                <p:cTn id="59" presetID="10" presetClass="entr" presetSubtype="0" fill="hold" nodeType="withEffect">
                                  <p:stCondLst>
                                    <p:cond delay="1000"/>
                                  </p:stCondLst>
                                  <p:childTnLst>
                                    <p:set>
                                      <p:cBhvr>
                                        <p:cTn id="60" dur="1" fill="hold">
                                          <p:stCondLst>
                                            <p:cond delay="0"/>
                                          </p:stCondLst>
                                        </p:cTn>
                                        <p:tgtEl>
                                          <p:spTgt spid="140"/>
                                        </p:tgtEl>
                                        <p:attrNameLst>
                                          <p:attrName>style.visibility</p:attrName>
                                        </p:attrNameLst>
                                      </p:cBhvr>
                                      <p:to>
                                        <p:strVal val="visible"/>
                                      </p:to>
                                    </p:set>
                                    <p:animEffect transition="in" filter="fade">
                                      <p:cBhvr>
                                        <p:cTn id="61" dur="750"/>
                                        <p:tgtEl>
                                          <p:spTgt spid="140"/>
                                        </p:tgtEl>
                                      </p:cBhvr>
                                    </p:animEffect>
                                  </p:childTnLst>
                                </p:cTn>
                              </p:par>
                              <p:par>
                                <p:cTn id="62" presetID="35" presetClass="path" presetSubtype="0" accel="50000" decel="50000" fill="hold" nodeType="withEffect">
                                  <p:stCondLst>
                                    <p:cond delay="500"/>
                                  </p:stCondLst>
                                  <p:childTnLst>
                                    <p:animMotion origin="layout" path="M 9.21624E-7 2.38765E-6 L -0.09612 2.38765E-6 " pathEditMode="relative" rAng="0" ptsTypes="AA">
                                      <p:cBhvr>
                                        <p:cTn id="63" dur="1250" spd="-100000" fill="hold"/>
                                        <p:tgtEl>
                                          <p:spTgt spid="140"/>
                                        </p:tgtEl>
                                        <p:attrNameLst>
                                          <p:attrName>ppt_x</p:attrName>
                                          <p:attrName>ppt_y</p:attrName>
                                        </p:attrNameLst>
                                      </p:cBhvr>
                                      <p:rCtr x="-4800" y="0"/>
                                    </p:animMotion>
                                  </p:childTnLst>
                                </p:cTn>
                              </p:par>
                              <p:par>
                                <p:cTn id="64" presetID="10" presetClass="entr" presetSubtype="0" fill="hold" nodeType="withEffect">
                                  <p:stCondLst>
                                    <p:cond delay="1250"/>
                                  </p:stCondLst>
                                  <p:childTnLst>
                                    <p:set>
                                      <p:cBhvr>
                                        <p:cTn id="65" dur="1" fill="hold">
                                          <p:stCondLst>
                                            <p:cond delay="0"/>
                                          </p:stCondLst>
                                        </p:cTn>
                                        <p:tgtEl>
                                          <p:spTgt spid="141"/>
                                        </p:tgtEl>
                                        <p:attrNameLst>
                                          <p:attrName>style.visibility</p:attrName>
                                        </p:attrNameLst>
                                      </p:cBhvr>
                                      <p:to>
                                        <p:strVal val="visible"/>
                                      </p:to>
                                    </p:set>
                                    <p:animEffect transition="in" filter="fade">
                                      <p:cBhvr>
                                        <p:cTn id="66" dur="750"/>
                                        <p:tgtEl>
                                          <p:spTgt spid="141"/>
                                        </p:tgtEl>
                                      </p:cBhvr>
                                    </p:animEffect>
                                  </p:childTnLst>
                                </p:cTn>
                              </p:par>
                              <p:par>
                                <p:cTn id="67" presetID="35" presetClass="path" presetSubtype="0" accel="50000" decel="50000" fill="hold" nodeType="withEffect">
                                  <p:stCondLst>
                                    <p:cond delay="750"/>
                                  </p:stCondLst>
                                  <p:childTnLst>
                                    <p:animMotion origin="layout" path="M 9.21624E-7 2.38765E-6 L -0.09612 2.38765E-6 " pathEditMode="relative" rAng="0" ptsTypes="AA">
                                      <p:cBhvr>
                                        <p:cTn id="68" dur="1250" spd="-100000" fill="hold"/>
                                        <p:tgtEl>
                                          <p:spTgt spid="141"/>
                                        </p:tgtEl>
                                        <p:attrNameLst>
                                          <p:attrName>ppt_x</p:attrName>
                                          <p:attrName>ppt_y</p:attrName>
                                        </p:attrNameLst>
                                      </p:cBhvr>
                                      <p:rCtr x="-48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1" grpId="0" animBg="1"/>
      <p:bldP spid="81" grpId="1" animBg="1"/>
      <p:bldP spid="82" grpId="0" animBg="1"/>
      <p:bldP spid="82" grpId="1" animBg="1"/>
      <p:bldP spid="178" grpId="0" animBg="1"/>
      <p:bldP spid="178" grpId="1" animBg="1"/>
      <p:bldP spid="179" grpId="0" animBg="1"/>
      <p:bldP spid="179" grpId="1" animBg="1"/>
      <p:bldP spid="83" grpId="0" animBg="1"/>
      <p:bldP spid="83" grpId="1"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 name="Picture 136"/>
          <p:cNvPicPr>
            <a:picLocks noChangeAspect="1"/>
          </p:cNvPicPr>
          <p:nvPr/>
        </p:nvPicPr>
        <p:blipFill rotWithShape="1">
          <a:blip r:embed="rId3"/>
          <a:srcRect l="-10871" t="-350" r="15472" b="24475"/>
          <a:stretch/>
        </p:blipFill>
        <p:spPr>
          <a:xfrm>
            <a:off x="4966071" y="3773254"/>
            <a:ext cx="7225067" cy="3083776"/>
          </a:xfrm>
          <a:prstGeom prst="rect">
            <a:avLst/>
          </a:prstGeom>
        </p:spPr>
      </p:pic>
      <p:sp>
        <p:nvSpPr>
          <p:cNvPr id="81" name="Rectangle 80"/>
          <p:cNvSpPr/>
          <p:nvPr/>
        </p:nvSpPr>
        <p:spPr>
          <a:xfrm>
            <a:off x="7440447" y="1638851"/>
            <a:ext cx="3540376" cy="3585190"/>
          </a:xfrm>
          <a:prstGeom prst="rect">
            <a:avLst/>
          </a:prstGeom>
          <a:solidFill>
            <a:srgbClr val="5C2D91">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2353" dirty="0">
                <a:solidFill>
                  <a:prstClr val="white"/>
                </a:solidFill>
                <a:latin typeface="Segoe UI Light"/>
              </a:rPr>
              <a:t>Services help you make sense of the data:</a:t>
            </a:r>
          </a:p>
        </p:txBody>
      </p:sp>
      <p:grpSp>
        <p:nvGrpSpPr>
          <p:cNvPr id="10" name="Group 9"/>
          <p:cNvGrpSpPr/>
          <p:nvPr/>
        </p:nvGrpSpPr>
        <p:grpSpPr>
          <a:xfrm>
            <a:off x="7529965" y="2760156"/>
            <a:ext cx="3241134" cy="578068"/>
            <a:chOff x="7530168" y="2760061"/>
            <a:chExt cx="3241593" cy="578150"/>
          </a:xfrm>
        </p:grpSpPr>
        <p:sp>
          <p:nvSpPr>
            <p:cNvPr id="119" name="Rectangle 118"/>
            <p:cNvSpPr/>
            <p:nvPr/>
          </p:nvSpPr>
          <p:spPr>
            <a:xfrm>
              <a:off x="7530168" y="2760061"/>
              <a:ext cx="3241593" cy="406265"/>
            </a:xfrm>
            <a:prstGeom prst="rect">
              <a:avLst/>
            </a:prstGeom>
          </p:spPr>
          <p:txBody>
            <a:bodyPr wrap="none">
              <a:spAutoFit/>
            </a:bodyPr>
            <a:lstStyle/>
            <a:p>
              <a:pPr defTabSz="896010"/>
              <a:r>
                <a:rPr lang="en-US" sz="2000" kern="0" dirty="0">
                  <a:solidFill>
                    <a:srgbClr val="FFFFFF"/>
                  </a:solidFill>
                  <a:latin typeface="Segoe UI Light"/>
                  <a:ea typeface="Segoe UI" panose="020B0502040204020203" pitchFamily="34" charset="0"/>
                  <a:cs typeface="Segoe UI" panose="020B0502040204020203" pitchFamily="34" charset="0"/>
                </a:rPr>
                <a:t>Microsoft Azure IoT services</a:t>
              </a:r>
            </a:p>
          </p:txBody>
        </p:sp>
        <p:sp>
          <p:nvSpPr>
            <p:cNvPr id="3" name="Rectangle 2"/>
            <p:cNvSpPr/>
            <p:nvPr/>
          </p:nvSpPr>
          <p:spPr>
            <a:xfrm>
              <a:off x="7530168" y="3104621"/>
              <a:ext cx="2600392" cy="233590"/>
            </a:xfrm>
            <a:prstGeom prst="rect">
              <a:avLst/>
            </a:prstGeom>
          </p:spPr>
          <p:txBody>
            <a:bodyPr wrap="none">
              <a:spAutoFit/>
            </a:bodyPr>
            <a:lstStyle/>
            <a:p>
              <a:pPr defTabSz="896010"/>
              <a:r>
                <a:rPr lang="en-US" sz="900" kern="0" dirty="0">
                  <a:solidFill>
                    <a:srgbClr val="FFFFFF"/>
                  </a:solidFill>
                </a:rPr>
                <a:t>Azure Machine Learning | </a:t>
              </a:r>
              <a:r>
                <a:rPr lang="en-US" sz="900" kern="0" dirty="0" err="1">
                  <a:solidFill>
                    <a:srgbClr val="FFFFFF"/>
                  </a:solidFill>
                </a:rPr>
                <a:t>HDInsight</a:t>
              </a:r>
              <a:r>
                <a:rPr lang="en-US" sz="900" kern="0" dirty="0">
                  <a:solidFill>
                    <a:srgbClr val="FFFFFF"/>
                  </a:solidFill>
                </a:rPr>
                <a:t> | Power BI</a:t>
              </a:r>
            </a:p>
          </p:txBody>
        </p:sp>
      </p:grpSp>
      <p:pic>
        <p:nvPicPr>
          <p:cNvPr id="140" name="Picture 1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596378" y="3475666"/>
            <a:ext cx="2432254" cy="342660"/>
          </a:xfrm>
          <a:prstGeom prst="rect">
            <a:avLst/>
          </a:prstGeom>
        </p:spPr>
      </p:pic>
      <p:pic>
        <p:nvPicPr>
          <p:cNvPr id="141" name="Picture 1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10548" y="4123642"/>
            <a:ext cx="1448406" cy="303302"/>
          </a:xfrm>
          <a:prstGeom prst="rect">
            <a:avLst/>
          </a:prstGeom>
        </p:spPr>
      </p:pic>
      <p:sp>
        <p:nvSpPr>
          <p:cNvPr id="116" name="Rectangle 115"/>
          <p:cNvSpPr/>
          <p:nvPr/>
        </p:nvSpPr>
        <p:spPr>
          <a:xfrm>
            <a:off x="7440638" y="1638596"/>
            <a:ext cx="3540878" cy="3585699"/>
          </a:xfrm>
          <a:prstGeom prst="rect">
            <a:avLst/>
          </a:prstGeom>
          <a:solidFill>
            <a:schemeClr val="bg2">
              <a:lumMod val="90000"/>
            </a:schemeClr>
          </a:solidFill>
          <a:ln>
            <a:noFill/>
          </a:ln>
          <a:effectLst/>
        </p:spPr>
        <p:style>
          <a:lnRef idx="1">
            <a:schemeClr val="accent1"/>
          </a:lnRef>
          <a:fillRef idx="3">
            <a:schemeClr val="accent1"/>
          </a:fillRef>
          <a:effectRef idx="2">
            <a:schemeClr val="accent1"/>
          </a:effectRef>
          <a:fontRef idx="minor">
            <a:schemeClr val="lt1"/>
          </a:fontRef>
        </p:style>
        <p:txBody>
          <a:bodyPr lIns="179285" tIns="134464" rtlCol="0" anchor="t" anchorCtr="0"/>
          <a:lstStyle/>
          <a:p>
            <a:pPr defTabSz="914314">
              <a:lnSpc>
                <a:spcPct val="90000"/>
              </a:lnSpc>
            </a:pPr>
            <a:r>
              <a:rPr lang="en-US" sz="2353" dirty="0">
                <a:solidFill>
                  <a:srgbClr val="000000"/>
                </a:solidFill>
                <a:latin typeface="Segoe UI Light"/>
              </a:rPr>
              <a:t>Microsoft Azure </a:t>
            </a:r>
            <a:br>
              <a:rPr lang="en-US" sz="2353" dirty="0">
                <a:solidFill>
                  <a:srgbClr val="000000"/>
                </a:solidFill>
                <a:latin typeface="Segoe UI Light"/>
              </a:rPr>
            </a:br>
            <a:r>
              <a:rPr lang="en-US" sz="2353" dirty="0">
                <a:solidFill>
                  <a:srgbClr val="000000"/>
                </a:solidFill>
                <a:latin typeface="Segoe UI Light"/>
              </a:rPr>
              <a:t>IoT services:</a:t>
            </a:r>
          </a:p>
        </p:txBody>
      </p:sp>
      <p:grpSp>
        <p:nvGrpSpPr>
          <p:cNvPr id="118" name="Group 117"/>
          <p:cNvGrpSpPr/>
          <p:nvPr/>
        </p:nvGrpSpPr>
        <p:grpSpPr>
          <a:xfrm>
            <a:off x="9823396" y="2837831"/>
            <a:ext cx="1292528" cy="1672871"/>
            <a:chOff x="10020375" y="2894239"/>
            <a:chExt cx="1318446" cy="1706416"/>
          </a:xfrm>
        </p:grpSpPr>
        <p:sp>
          <p:nvSpPr>
            <p:cNvPr id="124" name="TextBox 123"/>
            <p:cNvSpPr txBox="1"/>
            <p:nvPr/>
          </p:nvSpPr>
          <p:spPr>
            <a:xfrm>
              <a:off x="10020375" y="4077435"/>
              <a:ext cx="1318446" cy="523220"/>
            </a:xfrm>
            <a:prstGeom prst="rect">
              <a:avLst/>
            </a:prstGeom>
            <a:noFill/>
          </p:spPr>
          <p:txBody>
            <a:bodyPr wrap="square" rtlCol="0">
              <a:spAutoFit/>
            </a:bodyPr>
            <a:lstStyle/>
            <a:p>
              <a:pPr defTabSz="914314">
                <a:spcAft>
                  <a:spcPts val="588"/>
                </a:spcAft>
              </a:pPr>
              <a:r>
                <a:rPr lang="en-US" sz="1372" dirty="0">
                  <a:solidFill>
                    <a:srgbClr val="000000"/>
                  </a:solidFill>
                  <a:latin typeface="Segoe UI Light"/>
                </a:rPr>
                <a:t>Transform </a:t>
              </a:r>
              <a:br>
                <a:rPr lang="en-US" sz="1372" dirty="0">
                  <a:solidFill>
                    <a:srgbClr val="000000"/>
                  </a:solidFill>
                  <a:latin typeface="Segoe UI Light"/>
                </a:rPr>
              </a:br>
              <a:r>
                <a:rPr lang="en-US" sz="1372" dirty="0">
                  <a:solidFill>
                    <a:srgbClr val="000000"/>
                  </a:solidFill>
                  <a:latin typeface="Segoe UI Light"/>
                </a:rPr>
                <a:t>your business</a:t>
              </a:r>
            </a:p>
          </p:txBody>
        </p:sp>
        <p:grpSp>
          <p:nvGrpSpPr>
            <p:cNvPr id="139" name="Group 138"/>
            <p:cNvGrpSpPr/>
            <p:nvPr/>
          </p:nvGrpSpPr>
          <p:grpSpPr>
            <a:xfrm>
              <a:off x="10020375" y="2894239"/>
              <a:ext cx="1085850" cy="1085850"/>
              <a:chOff x="10020375" y="2894239"/>
              <a:chExt cx="1085850" cy="1085850"/>
            </a:xfrm>
          </p:grpSpPr>
          <p:sp>
            <p:nvSpPr>
              <p:cNvPr id="142" name="Oval 141"/>
              <p:cNvSpPr/>
              <p:nvPr/>
            </p:nvSpPr>
            <p:spPr>
              <a:xfrm>
                <a:off x="10020375" y="2894239"/>
                <a:ext cx="1085850" cy="108585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4"/>
                <a:endParaRPr lang="en-US">
                  <a:solidFill>
                    <a:prstClr val="white"/>
                  </a:solidFill>
                </a:endParaRPr>
              </a:p>
            </p:txBody>
          </p:sp>
          <p:grpSp>
            <p:nvGrpSpPr>
              <p:cNvPr id="143" name="Group 142"/>
              <p:cNvGrpSpPr/>
              <p:nvPr/>
            </p:nvGrpSpPr>
            <p:grpSpPr>
              <a:xfrm>
                <a:off x="10359459" y="3222426"/>
                <a:ext cx="418861" cy="421246"/>
                <a:chOff x="10969809" y="2370994"/>
                <a:chExt cx="418861" cy="421246"/>
              </a:xfrm>
            </p:grpSpPr>
            <p:sp>
              <p:nvSpPr>
                <p:cNvPr id="144" name="Rectangle 143"/>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5" name="Rectangle 144"/>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6" name="Rectangle 145"/>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7" name="Rectangle 146"/>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49"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47"/>
                  <a:endParaRPr lang="en-US" sz="1730">
                    <a:solidFill>
                      <a:srgbClr val="000000"/>
                    </a:solidFill>
                  </a:endParaRPr>
                </a:p>
              </p:txBody>
            </p:sp>
          </p:grpSp>
        </p:grpSp>
      </p:grpSp>
      <p:grpSp>
        <p:nvGrpSpPr>
          <p:cNvPr id="167" name="Group 166"/>
          <p:cNvGrpSpPr/>
          <p:nvPr/>
        </p:nvGrpSpPr>
        <p:grpSpPr>
          <a:xfrm>
            <a:off x="8667343" y="2848504"/>
            <a:ext cx="1073396" cy="1688387"/>
            <a:chOff x="8841141" y="2905125"/>
            <a:chExt cx="1094920" cy="1722243"/>
          </a:xfrm>
        </p:grpSpPr>
        <p:sp>
          <p:nvSpPr>
            <p:cNvPr id="168" name="TextBox 167"/>
            <p:cNvSpPr txBox="1"/>
            <p:nvPr/>
          </p:nvSpPr>
          <p:spPr>
            <a:xfrm>
              <a:off x="8841141" y="4104148"/>
              <a:ext cx="1086499" cy="523220"/>
            </a:xfrm>
            <a:prstGeom prst="rect">
              <a:avLst/>
            </a:prstGeom>
            <a:noFill/>
          </p:spPr>
          <p:txBody>
            <a:bodyPr wrap="square" rtlCol="0">
              <a:spAutoFit/>
            </a:bodyPr>
            <a:lstStyle/>
            <a:p>
              <a:pPr defTabSz="914314">
                <a:spcAft>
                  <a:spcPts val="588"/>
                </a:spcAft>
              </a:pPr>
              <a:r>
                <a:rPr lang="en-US" sz="1372" dirty="0">
                  <a:solidFill>
                    <a:srgbClr val="000000"/>
                  </a:solidFill>
                  <a:latin typeface="Segoe UI Light"/>
                </a:rPr>
                <a:t>Enable innovation</a:t>
              </a:r>
            </a:p>
          </p:txBody>
        </p:sp>
        <p:grpSp>
          <p:nvGrpSpPr>
            <p:cNvPr id="169" name="Group 168"/>
            <p:cNvGrpSpPr/>
            <p:nvPr/>
          </p:nvGrpSpPr>
          <p:grpSpPr>
            <a:xfrm>
              <a:off x="8850211" y="2905125"/>
              <a:ext cx="1085850" cy="1085850"/>
              <a:chOff x="8850211" y="2905125"/>
              <a:chExt cx="1085850" cy="1085850"/>
            </a:xfrm>
          </p:grpSpPr>
          <p:sp>
            <p:nvSpPr>
              <p:cNvPr id="170" name="Oval 169"/>
              <p:cNvSpPr/>
              <p:nvPr/>
            </p:nvSpPr>
            <p:spPr>
              <a:xfrm>
                <a:off x="8850211" y="2905125"/>
                <a:ext cx="1085850" cy="1085850"/>
              </a:xfrm>
              <a:prstGeom prst="ellipse">
                <a:avLst/>
              </a:prstGeom>
              <a:solidFill>
                <a:srgbClr val="00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4"/>
                <a:endParaRPr lang="en-US">
                  <a:solidFill>
                    <a:prstClr val="white"/>
                  </a:solidFill>
                </a:endParaRPr>
              </a:p>
            </p:txBody>
          </p:sp>
          <p:sp>
            <p:nvSpPr>
              <p:cNvPr id="171" name="Freeform 61"/>
              <p:cNvSpPr>
                <a:spLocks noChangeAspect="1"/>
              </p:cNvSpPr>
              <p:nvPr/>
            </p:nvSpPr>
            <p:spPr bwMode="auto">
              <a:xfrm>
                <a:off x="9120999" y="3255913"/>
                <a:ext cx="540167" cy="354272"/>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82"/>
                <a:endParaRPr lang="en-US" sz="1730">
                  <a:solidFill>
                    <a:prstClr val="black"/>
                  </a:solidFill>
                </a:endParaRPr>
              </a:p>
            </p:txBody>
          </p:sp>
        </p:grpSp>
      </p:grpSp>
      <p:grpSp>
        <p:nvGrpSpPr>
          <p:cNvPr id="172" name="Group 171"/>
          <p:cNvGrpSpPr/>
          <p:nvPr/>
        </p:nvGrpSpPr>
        <p:grpSpPr>
          <a:xfrm>
            <a:off x="7536728" y="2848503"/>
            <a:ext cx="1064504" cy="1693439"/>
            <a:chOff x="7687854" y="2905125"/>
            <a:chExt cx="1085850" cy="1727396"/>
          </a:xfrm>
        </p:grpSpPr>
        <p:sp>
          <p:nvSpPr>
            <p:cNvPr id="173" name="TextBox 172"/>
            <p:cNvSpPr txBox="1"/>
            <p:nvPr/>
          </p:nvSpPr>
          <p:spPr>
            <a:xfrm>
              <a:off x="7741085" y="4109301"/>
              <a:ext cx="1032619" cy="523220"/>
            </a:xfrm>
            <a:prstGeom prst="rect">
              <a:avLst/>
            </a:prstGeom>
            <a:noFill/>
          </p:spPr>
          <p:txBody>
            <a:bodyPr wrap="square" rtlCol="0">
              <a:spAutoFit/>
            </a:bodyPr>
            <a:lstStyle/>
            <a:p>
              <a:pPr defTabSz="914314">
                <a:spcAft>
                  <a:spcPts val="588"/>
                </a:spcAft>
              </a:pPr>
              <a:r>
                <a:rPr lang="en-US" sz="1372" dirty="0">
                  <a:solidFill>
                    <a:srgbClr val="000000"/>
                  </a:solidFill>
                  <a:latin typeface="Segoe UI Light"/>
                </a:rPr>
                <a:t>Improve efficiency</a:t>
              </a:r>
            </a:p>
          </p:txBody>
        </p:sp>
        <p:grpSp>
          <p:nvGrpSpPr>
            <p:cNvPr id="174" name="Group 173"/>
            <p:cNvGrpSpPr/>
            <p:nvPr/>
          </p:nvGrpSpPr>
          <p:grpSpPr>
            <a:xfrm>
              <a:off x="7687854" y="2905125"/>
              <a:ext cx="1085850" cy="1085850"/>
              <a:chOff x="7687854" y="2905125"/>
              <a:chExt cx="1085850" cy="1085850"/>
            </a:xfrm>
          </p:grpSpPr>
          <p:sp>
            <p:nvSpPr>
              <p:cNvPr id="175" name="Oval 174"/>
              <p:cNvSpPr/>
              <p:nvPr/>
            </p:nvSpPr>
            <p:spPr>
              <a:xfrm>
                <a:off x="7687854" y="2905125"/>
                <a:ext cx="1085850" cy="108585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4"/>
                <a:endParaRPr lang="en-US">
                  <a:solidFill>
                    <a:prstClr val="white"/>
                  </a:solidFill>
                </a:endParaRPr>
              </a:p>
            </p:txBody>
          </p:sp>
          <p:grpSp>
            <p:nvGrpSpPr>
              <p:cNvPr id="176" name="Group 175"/>
              <p:cNvGrpSpPr/>
              <p:nvPr/>
            </p:nvGrpSpPr>
            <p:grpSpPr>
              <a:xfrm>
                <a:off x="7934374" y="3170658"/>
                <a:ext cx="634010" cy="524782"/>
                <a:chOff x="12890500" y="-3265488"/>
                <a:chExt cx="3722688" cy="3081338"/>
              </a:xfrm>
              <a:solidFill>
                <a:schemeClr val="bg1"/>
              </a:solidFill>
            </p:grpSpPr>
            <p:sp>
              <p:nvSpPr>
                <p:cNvPr id="177"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199"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grpSp>
      <p:sp>
        <p:nvSpPr>
          <p:cNvPr id="82" name="Rectangle 81"/>
          <p:cNvSpPr/>
          <p:nvPr/>
        </p:nvSpPr>
        <p:spPr>
          <a:xfrm>
            <a:off x="3855257" y="1638851"/>
            <a:ext cx="3540376" cy="3585190"/>
          </a:xfrm>
          <a:prstGeom prst="rect">
            <a:avLst/>
          </a:prstGeom>
          <a:solidFill>
            <a:srgbClr val="D83B01"/>
          </a:solid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2353" dirty="0">
                <a:solidFill>
                  <a:prstClr val="white"/>
                </a:solidFill>
                <a:latin typeface="Segoe UI Light"/>
              </a:rPr>
              <a:t>Things produce data…</a:t>
            </a:r>
          </a:p>
        </p:txBody>
      </p:sp>
      <p:sp>
        <p:nvSpPr>
          <p:cNvPr id="178" name="Donut 80"/>
          <p:cNvSpPr/>
          <p:nvPr/>
        </p:nvSpPr>
        <p:spPr bwMode="auto">
          <a:xfrm>
            <a:off x="5812327" y="2893569"/>
            <a:ext cx="524940" cy="418984"/>
          </a:xfrm>
          <a:custGeom>
            <a:avLst/>
            <a:gdLst/>
            <a:ahLst/>
            <a:cxnLst/>
            <a:rect l="l" t="t" r="r" b="b"/>
            <a:pathLst>
              <a:path w="4812161" h="3840901">
                <a:moveTo>
                  <a:pt x="3296159" y="2000287"/>
                </a:moveTo>
                <a:cubicBezTo>
                  <a:pt x="3116881" y="2000287"/>
                  <a:pt x="2971547" y="2145621"/>
                  <a:pt x="2971547" y="2324899"/>
                </a:cubicBezTo>
                <a:cubicBezTo>
                  <a:pt x="2971547" y="2504177"/>
                  <a:pt x="3116881" y="2649511"/>
                  <a:pt x="3296159" y="2649511"/>
                </a:cubicBezTo>
                <a:cubicBezTo>
                  <a:pt x="3475437" y="2649511"/>
                  <a:pt x="3620771" y="2504177"/>
                  <a:pt x="3620771" y="2324899"/>
                </a:cubicBezTo>
                <a:cubicBezTo>
                  <a:pt x="3620771" y="2145621"/>
                  <a:pt x="3475437" y="2000287"/>
                  <a:pt x="3296159" y="2000287"/>
                </a:cubicBezTo>
                <a:close/>
                <a:moveTo>
                  <a:pt x="3296159" y="1675675"/>
                </a:moveTo>
                <a:cubicBezTo>
                  <a:pt x="3654716" y="1675675"/>
                  <a:pt x="3945383" y="1966342"/>
                  <a:pt x="3945383" y="2324899"/>
                </a:cubicBezTo>
                <a:cubicBezTo>
                  <a:pt x="3945383" y="2683456"/>
                  <a:pt x="3654716" y="2974123"/>
                  <a:pt x="3296159" y="2974123"/>
                </a:cubicBezTo>
                <a:cubicBezTo>
                  <a:pt x="2937602" y="2974123"/>
                  <a:pt x="2646935" y="2683456"/>
                  <a:pt x="2646935" y="2324899"/>
                </a:cubicBezTo>
                <a:cubicBezTo>
                  <a:pt x="2646935" y="1966342"/>
                  <a:pt x="2937602" y="1675675"/>
                  <a:pt x="3296159" y="1675675"/>
                </a:cubicBezTo>
                <a:close/>
                <a:moveTo>
                  <a:pt x="3296159" y="1420210"/>
                </a:moveTo>
                <a:cubicBezTo>
                  <a:pt x="2796513" y="1420210"/>
                  <a:pt x="2391470" y="1825253"/>
                  <a:pt x="2391470" y="2324899"/>
                </a:cubicBezTo>
                <a:cubicBezTo>
                  <a:pt x="2391470" y="2824545"/>
                  <a:pt x="2796513" y="3229588"/>
                  <a:pt x="3296159" y="3229588"/>
                </a:cubicBezTo>
                <a:cubicBezTo>
                  <a:pt x="3795805" y="3229588"/>
                  <a:pt x="4200848" y="2824545"/>
                  <a:pt x="4200848" y="2324899"/>
                </a:cubicBezTo>
                <a:cubicBezTo>
                  <a:pt x="4200848" y="1825253"/>
                  <a:pt x="3795805" y="1420210"/>
                  <a:pt x="3296159" y="1420210"/>
                </a:cubicBezTo>
                <a:close/>
                <a:moveTo>
                  <a:pt x="3296159" y="808897"/>
                </a:moveTo>
                <a:cubicBezTo>
                  <a:pt x="3370288" y="808897"/>
                  <a:pt x="3443173" y="814218"/>
                  <a:pt x="3514208" y="826185"/>
                </a:cubicBezTo>
                <a:cubicBezTo>
                  <a:pt x="3590275" y="1345671"/>
                  <a:pt x="4110542" y="1236614"/>
                  <a:pt x="4171519" y="1171489"/>
                </a:cubicBezTo>
                <a:lnTo>
                  <a:pt x="4215967" y="1123398"/>
                </a:lnTo>
                <a:cubicBezTo>
                  <a:pt x="4326392" y="1205433"/>
                  <a:pt x="4423576" y="1303917"/>
                  <a:pt x="4506024" y="1414131"/>
                </a:cubicBezTo>
                <a:cubicBezTo>
                  <a:pt x="4193319" y="1914120"/>
                  <a:pt x="4701014" y="2151102"/>
                  <a:pt x="4799529" y="2138412"/>
                </a:cubicBezTo>
                <a:cubicBezTo>
                  <a:pt x="4808295" y="2199419"/>
                  <a:pt x="4812161" y="2261708"/>
                  <a:pt x="4812161" y="2324899"/>
                </a:cubicBezTo>
                <a:cubicBezTo>
                  <a:pt x="4812161" y="2388615"/>
                  <a:pt x="4808231" y="2451413"/>
                  <a:pt x="4799054" y="2512849"/>
                </a:cubicBezTo>
                <a:cubicBezTo>
                  <a:pt x="4788113" y="2515889"/>
                  <a:pt x="4778304" y="2519618"/>
                  <a:pt x="4769770" y="2523906"/>
                </a:cubicBezTo>
                <a:lnTo>
                  <a:pt x="4769199" y="2523774"/>
                </a:lnTo>
                <a:cubicBezTo>
                  <a:pt x="4276600" y="2692966"/>
                  <a:pt x="4408190" y="3103551"/>
                  <a:pt x="4504674" y="3235631"/>
                </a:cubicBezTo>
                <a:cubicBezTo>
                  <a:pt x="4424185" y="3345698"/>
                  <a:pt x="4327453" y="3442859"/>
                  <a:pt x="4219101" y="3525661"/>
                </a:cubicBezTo>
                <a:cubicBezTo>
                  <a:pt x="3740127" y="3239817"/>
                  <a:pt x="3508490" y="3714698"/>
                  <a:pt x="3512861" y="3823658"/>
                </a:cubicBezTo>
                <a:cubicBezTo>
                  <a:pt x="3442266" y="3835647"/>
                  <a:pt x="3369826" y="3840901"/>
                  <a:pt x="3296159" y="3840901"/>
                </a:cubicBezTo>
                <a:cubicBezTo>
                  <a:pt x="3223977" y="3840901"/>
                  <a:pt x="3152974" y="3835857"/>
                  <a:pt x="3083692" y="3824633"/>
                </a:cubicBezTo>
                <a:cubicBezTo>
                  <a:pt x="2945132" y="3289289"/>
                  <a:pt x="2478158" y="3436602"/>
                  <a:pt x="2372141" y="3523198"/>
                </a:cubicBezTo>
                <a:cubicBezTo>
                  <a:pt x="2262805" y="3441349"/>
                  <a:pt x="2166565" y="3343329"/>
                  <a:pt x="2084868" y="3233760"/>
                </a:cubicBezTo>
                <a:cubicBezTo>
                  <a:pt x="2372460" y="2758314"/>
                  <a:pt x="1912484" y="2524914"/>
                  <a:pt x="1794482" y="2522480"/>
                </a:cubicBezTo>
                <a:cubicBezTo>
                  <a:pt x="1784508" y="2457948"/>
                  <a:pt x="1780157" y="2391932"/>
                  <a:pt x="1780157" y="2324899"/>
                </a:cubicBezTo>
                <a:cubicBezTo>
                  <a:pt x="1780157" y="2258743"/>
                  <a:pt x="1784395" y="2193577"/>
                  <a:pt x="1793487" y="2129772"/>
                </a:cubicBezTo>
                <a:cubicBezTo>
                  <a:pt x="2324943" y="2022144"/>
                  <a:pt x="2174743" y="1501516"/>
                  <a:pt x="2104500" y="1445028"/>
                </a:cubicBezTo>
                <a:lnTo>
                  <a:pt x="2079323" y="1425048"/>
                </a:lnTo>
                <a:cubicBezTo>
                  <a:pt x="2158206" y="1315063"/>
                  <a:pt x="2253175" y="1217660"/>
                  <a:pt x="2359684" y="1134258"/>
                </a:cubicBezTo>
                <a:cubicBezTo>
                  <a:pt x="2861568" y="1444701"/>
                  <a:pt x="3096870" y="926345"/>
                  <a:pt x="3079479" y="835441"/>
                </a:cubicBezTo>
                <a:lnTo>
                  <a:pt x="3077691" y="826410"/>
                </a:lnTo>
                <a:cubicBezTo>
                  <a:pt x="3148845" y="814239"/>
                  <a:pt x="3221878" y="808897"/>
                  <a:pt x="3296159" y="808897"/>
                </a:cubicBezTo>
                <a:close/>
                <a:moveTo>
                  <a:pt x="1005840" y="789098"/>
                </a:moveTo>
                <a:cubicBezTo>
                  <a:pt x="886892" y="789098"/>
                  <a:pt x="790466" y="885357"/>
                  <a:pt x="790466" y="1004099"/>
                </a:cubicBezTo>
                <a:cubicBezTo>
                  <a:pt x="790466" y="1122841"/>
                  <a:pt x="886892" y="1219101"/>
                  <a:pt x="1005840" y="1219101"/>
                </a:cubicBezTo>
                <a:cubicBezTo>
                  <a:pt x="1124788" y="1219101"/>
                  <a:pt x="1221214" y="1122841"/>
                  <a:pt x="1221214" y="1004099"/>
                </a:cubicBezTo>
                <a:cubicBezTo>
                  <a:pt x="1221214" y="885357"/>
                  <a:pt x="1124788" y="789098"/>
                  <a:pt x="1005840" y="789098"/>
                </a:cubicBezTo>
                <a:close/>
                <a:moveTo>
                  <a:pt x="1005840" y="574096"/>
                </a:moveTo>
                <a:cubicBezTo>
                  <a:pt x="1243736" y="574096"/>
                  <a:pt x="1436589" y="766615"/>
                  <a:pt x="1436589" y="1004099"/>
                </a:cubicBezTo>
                <a:cubicBezTo>
                  <a:pt x="1436589" y="1241584"/>
                  <a:pt x="1243736" y="1434102"/>
                  <a:pt x="1005840" y="1434102"/>
                </a:cubicBezTo>
                <a:cubicBezTo>
                  <a:pt x="767944" y="1434102"/>
                  <a:pt x="575092" y="1241584"/>
                  <a:pt x="575092" y="1004099"/>
                </a:cubicBezTo>
                <a:cubicBezTo>
                  <a:pt x="575092" y="766615"/>
                  <a:pt x="767944" y="574096"/>
                  <a:pt x="1005840" y="574096"/>
                </a:cubicBezTo>
                <a:close/>
                <a:moveTo>
                  <a:pt x="1005840" y="404893"/>
                </a:moveTo>
                <a:cubicBezTo>
                  <a:pt x="674334" y="404893"/>
                  <a:pt x="405595" y="673167"/>
                  <a:pt x="405595" y="1004099"/>
                </a:cubicBezTo>
                <a:cubicBezTo>
                  <a:pt x="405595" y="1335031"/>
                  <a:pt x="674334" y="1603305"/>
                  <a:pt x="1005840" y="1603305"/>
                </a:cubicBezTo>
                <a:cubicBezTo>
                  <a:pt x="1337346" y="1603305"/>
                  <a:pt x="1606085" y="1335031"/>
                  <a:pt x="1606085" y="1004099"/>
                </a:cubicBezTo>
                <a:cubicBezTo>
                  <a:pt x="1606085" y="673167"/>
                  <a:pt x="1337346" y="404893"/>
                  <a:pt x="1005840" y="404893"/>
                </a:cubicBezTo>
                <a:close/>
                <a:moveTo>
                  <a:pt x="1005840" y="0"/>
                </a:moveTo>
                <a:cubicBezTo>
                  <a:pt x="1055023" y="0"/>
                  <a:pt x="1103381" y="3524"/>
                  <a:pt x="1150512" y="11450"/>
                </a:cubicBezTo>
                <a:cubicBezTo>
                  <a:pt x="1200981" y="355524"/>
                  <a:pt x="1546169" y="283291"/>
                  <a:pt x="1586626" y="240157"/>
                </a:cubicBezTo>
                <a:lnTo>
                  <a:pt x="1616116" y="208305"/>
                </a:lnTo>
                <a:cubicBezTo>
                  <a:pt x="1689381" y="262639"/>
                  <a:pt x="1753861" y="327868"/>
                  <a:pt x="1808564" y="400867"/>
                </a:cubicBezTo>
                <a:cubicBezTo>
                  <a:pt x="1601090" y="732026"/>
                  <a:pt x="1937936" y="888988"/>
                  <a:pt x="2003299" y="880583"/>
                </a:cubicBezTo>
                <a:cubicBezTo>
                  <a:pt x="2009115" y="920990"/>
                  <a:pt x="2011680" y="962246"/>
                  <a:pt x="2011680" y="1004099"/>
                </a:cubicBezTo>
                <a:cubicBezTo>
                  <a:pt x="2011680" y="1046300"/>
                  <a:pt x="2009073" y="1087894"/>
                  <a:pt x="2002984" y="1128585"/>
                </a:cubicBezTo>
                <a:cubicBezTo>
                  <a:pt x="1995725" y="1130598"/>
                  <a:pt x="1989217" y="1133068"/>
                  <a:pt x="1983554" y="1135908"/>
                </a:cubicBezTo>
                <a:lnTo>
                  <a:pt x="1983176" y="1135821"/>
                </a:lnTo>
                <a:cubicBezTo>
                  <a:pt x="1656345" y="1247882"/>
                  <a:pt x="1743653" y="1519827"/>
                  <a:pt x="1807668" y="1607308"/>
                </a:cubicBezTo>
                <a:cubicBezTo>
                  <a:pt x="1754265" y="1680209"/>
                  <a:pt x="1690085" y="1744562"/>
                  <a:pt x="1618196" y="1799404"/>
                </a:cubicBezTo>
                <a:cubicBezTo>
                  <a:pt x="1300405" y="1610080"/>
                  <a:pt x="1146718" y="1924610"/>
                  <a:pt x="1149618" y="1996778"/>
                </a:cubicBezTo>
                <a:cubicBezTo>
                  <a:pt x="1102780" y="2004718"/>
                  <a:pt x="1054717" y="2008198"/>
                  <a:pt x="1005840" y="2008198"/>
                </a:cubicBezTo>
                <a:cubicBezTo>
                  <a:pt x="957949" y="2008198"/>
                  <a:pt x="910840" y="2004857"/>
                  <a:pt x="864872" y="1997423"/>
                </a:cubicBezTo>
                <a:cubicBezTo>
                  <a:pt x="772940" y="1642847"/>
                  <a:pt x="463111" y="1740417"/>
                  <a:pt x="392771" y="1797773"/>
                </a:cubicBezTo>
                <a:cubicBezTo>
                  <a:pt x="320228" y="1743561"/>
                  <a:pt x="256375" y="1678640"/>
                  <a:pt x="202170" y="1606068"/>
                </a:cubicBezTo>
                <a:cubicBezTo>
                  <a:pt x="392982" y="1291164"/>
                  <a:pt x="87797" y="1136576"/>
                  <a:pt x="9505" y="1134964"/>
                </a:cubicBezTo>
                <a:cubicBezTo>
                  <a:pt x="2887" y="1092222"/>
                  <a:pt x="0" y="1048497"/>
                  <a:pt x="0" y="1004099"/>
                </a:cubicBezTo>
                <a:cubicBezTo>
                  <a:pt x="0" y="960282"/>
                  <a:pt x="2812" y="917120"/>
                  <a:pt x="8844" y="874860"/>
                </a:cubicBezTo>
                <a:cubicBezTo>
                  <a:pt x="361456" y="803574"/>
                  <a:pt x="261801" y="458745"/>
                  <a:pt x="215196" y="421331"/>
                </a:cubicBezTo>
                <a:lnTo>
                  <a:pt x="198491" y="408098"/>
                </a:lnTo>
                <a:cubicBezTo>
                  <a:pt x="250829" y="335251"/>
                  <a:pt x="313839" y="270738"/>
                  <a:pt x="384506" y="215498"/>
                </a:cubicBezTo>
                <a:cubicBezTo>
                  <a:pt x="717497" y="421114"/>
                  <a:pt x="873616" y="77790"/>
                  <a:pt x="862077" y="17581"/>
                </a:cubicBezTo>
                <a:lnTo>
                  <a:pt x="860891" y="11600"/>
                </a:lnTo>
                <a:cubicBezTo>
                  <a:pt x="908100" y="3538"/>
                  <a:pt x="956556" y="0"/>
                  <a:pt x="1005840" y="0"/>
                </a:cubicBezTo>
                <a:close/>
              </a:path>
            </a:pathLst>
          </a:custGeom>
          <a:solidFill>
            <a:srgbClr val="FFFFFF"/>
          </a:solidFill>
          <a:ln w="9525" cap="flat" cmpd="sng" algn="ctr">
            <a:noFill/>
            <a:prstDash val="solid"/>
          </a:ln>
          <a:effectLst/>
        </p:spPr>
        <p:txBody>
          <a:bodyPr rot="0" spcFirstLastPara="0" vertOverflow="overflow" horzOverflow="overflow" vert="horz" wrap="square" lIns="87867" tIns="43934" rIns="43934" bIns="87867" numCol="1" spcCol="0" rtlCol="0" fromWordArt="0" anchor="b" anchorCtr="0" forceAA="0" compatLnSpc="1">
            <a:prstTxWarp prst="textNoShape">
              <a:avLst/>
            </a:prstTxWarp>
            <a:noAutofit/>
          </a:bodyPr>
          <a:lstStyle/>
          <a:p>
            <a:pPr algn="ctr" defTabSz="878269" fontAlgn="base">
              <a:spcBef>
                <a:spcPct val="0"/>
              </a:spcBef>
              <a:spcAft>
                <a:spcPct val="0"/>
              </a:spcAft>
              <a:defRPr/>
            </a:pPr>
            <a:endParaRPr lang="en-US" sz="1153" kern="0" spc="-48" dirty="0" err="1">
              <a:gradFill>
                <a:gsLst>
                  <a:gs pos="0">
                    <a:srgbClr val="FFFFFF"/>
                  </a:gs>
                  <a:gs pos="100000">
                    <a:srgbClr val="FFFFFF"/>
                  </a:gs>
                </a:gsLst>
                <a:lin ang="5400000" scaled="0"/>
              </a:gradFill>
              <a:ea typeface="Segoe UI" pitchFamily="34" charset="0"/>
              <a:cs typeface="Segoe UI" pitchFamily="34" charset="0"/>
            </a:endParaRPr>
          </a:p>
        </p:txBody>
      </p:sp>
      <p:sp>
        <p:nvSpPr>
          <p:cNvPr id="179" name="Flowchart: Magnetic Disk 86"/>
          <p:cNvSpPr>
            <a:spLocks noChangeAspect="1"/>
          </p:cNvSpPr>
          <p:nvPr/>
        </p:nvSpPr>
        <p:spPr bwMode="auto">
          <a:xfrm>
            <a:off x="4952341" y="2877731"/>
            <a:ext cx="377858" cy="454070"/>
          </a:xfrm>
          <a:custGeom>
            <a:avLst/>
            <a:gdLst/>
            <a:ahLst/>
            <a:cxnLst/>
            <a:rect l="l" t="t" r="r" b="b"/>
            <a:pathLst>
              <a:path w="412287" h="495445">
                <a:moveTo>
                  <a:pt x="207336" y="24730"/>
                </a:moveTo>
                <a:cubicBezTo>
                  <a:pt x="112802" y="24730"/>
                  <a:pt x="36167" y="46914"/>
                  <a:pt x="36167" y="74280"/>
                </a:cubicBezTo>
                <a:cubicBezTo>
                  <a:pt x="36167" y="101646"/>
                  <a:pt x="112802" y="123830"/>
                  <a:pt x="207336" y="123830"/>
                </a:cubicBezTo>
                <a:cubicBezTo>
                  <a:pt x="301870" y="123830"/>
                  <a:pt x="378505" y="101646"/>
                  <a:pt x="378505" y="74280"/>
                </a:cubicBezTo>
                <a:cubicBezTo>
                  <a:pt x="378505" y="46914"/>
                  <a:pt x="301870" y="24730"/>
                  <a:pt x="207336" y="24730"/>
                </a:cubicBezTo>
                <a:close/>
                <a:moveTo>
                  <a:pt x="206144" y="0"/>
                </a:moveTo>
                <a:lnTo>
                  <a:pt x="286377" y="6488"/>
                </a:lnTo>
                <a:lnTo>
                  <a:pt x="351903" y="24184"/>
                </a:lnTo>
                <a:lnTo>
                  <a:pt x="396085" y="50436"/>
                </a:lnTo>
                <a:lnTo>
                  <a:pt x="408098" y="65941"/>
                </a:lnTo>
                <a:lnTo>
                  <a:pt x="412287" y="82591"/>
                </a:lnTo>
                <a:lnTo>
                  <a:pt x="412287" y="412854"/>
                </a:lnTo>
                <a:lnTo>
                  <a:pt x="408098" y="429504"/>
                </a:lnTo>
                <a:lnTo>
                  <a:pt x="396085" y="445010"/>
                </a:lnTo>
                <a:lnTo>
                  <a:pt x="351903" y="471261"/>
                </a:lnTo>
                <a:lnTo>
                  <a:pt x="286377" y="488957"/>
                </a:lnTo>
                <a:cubicBezTo>
                  <a:pt x="261715" y="493135"/>
                  <a:pt x="234602" y="495445"/>
                  <a:pt x="206144" y="495445"/>
                </a:cubicBezTo>
                <a:cubicBezTo>
                  <a:pt x="149227" y="495445"/>
                  <a:pt x="97691" y="486205"/>
                  <a:pt x="60385" y="471261"/>
                </a:cubicBezTo>
                <a:cubicBezTo>
                  <a:pt x="41731" y="463789"/>
                  <a:pt x="26635" y="454891"/>
                  <a:pt x="16202" y="445010"/>
                </a:cubicBezTo>
                <a:cubicBezTo>
                  <a:pt x="10986" y="440069"/>
                  <a:pt x="6935" y="434882"/>
                  <a:pt x="4189" y="429504"/>
                </a:cubicBezTo>
                <a:cubicBezTo>
                  <a:pt x="1442" y="424127"/>
                  <a:pt x="0" y="418558"/>
                  <a:pt x="0" y="412854"/>
                </a:cubicBezTo>
                <a:lnTo>
                  <a:pt x="0" y="82591"/>
                </a:lnTo>
                <a:cubicBezTo>
                  <a:pt x="0" y="71183"/>
                  <a:pt x="5770" y="60318"/>
                  <a:pt x="16202" y="50436"/>
                </a:cubicBezTo>
                <a:cubicBezTo>
                  <a:pt x="26635" y="40554"/>
                  <a:pt x="41731" y="31656"/>
                  <a:pt x="60385" y="24184"/>
                </a:cubicBezTo>
                <a:cubicBezTo>
                  <a:pt x="79038" y="16712"/>
                  <a:pt x="101249" y="10666"/>
                  <a:pt x="125911" y="6488"/>
                </a:cubicBezTo>
                <a:cubicBezTo>
                  <a:pt x="150572" y="2310"/>
                  <a:pt x="177686" y="0"/>
                  <a:pt x="206144" y="0"/>
                </a:cubicBezTo>
                <a:close/>
              </a:path>
            </a:pathLst>
          </a:cu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pPr>
            <a:endParaRPr lang="en-US" sz="2307" dirty="0">
              <a:gradFill>
                <a:gsLst>
                  <a:gs pos="0">
                    <a:srgbClr val="FFFFFF"/>
                  </a:gs>
                  <a:gs pos="100000">
                    <a:srgbClr val="FFFFFF"/>
                  </a:gs>
                </a:gsLst>
                <a:lin ang="5400000" scaled="0"/>
              </a:gradFill>
              <a:ea typeface="Segoe UI" pitchFamily="34" charset="0"/>
              <a:cs typeface="Segoe UI" pitchFamily="34" charset="0"/>
            </a:endParaRPr>
          </a:p>
        </p:txBody>
      </p:sp>
      <p:grpSp>
        <p:nvGrpSpPr>
          <p:cNvPr id="180" name="Group 179"/>
          <p:cNvGrpSpPr/>
          <p:nvPr/>
        </p:nvGrpSpPr>
        <p:grpSpPr>
          <a:xfrm>
            <a:off x="5848002" y="3827475"/>
            <a:ext cx="475037" cy="443555"/>
            <a:chOff x="-5364163" y="-2738437"/>
            <a:chExt cx="4327525" cy="4054475"/>
          </a:xfrm>
          <a:solidFill>
            <a:schemeClr val="bg1"/>
          </a:solidFill>
        </p:grpSpPr>
        <p:sp>
          <p:nvSpPr>
            <p:cNvPr id="184" name="Freeform 5"/>
            <p:cNvSpPr>
              <a:spLocks/>
            </p:cNvSpPr>
            <p:nvPr/>
          </p:nvSpPr>
          <p:spPr bwMode="auto">
            <a:xfrm>
              <a:off x="-3487738" y="236538"/>
              <a:ext cx="447675" cy="1063625"/>
            </a:xfrm>
            <a:custGeom>
              <a:avLst/>
              <a:gdLst>
                <a:gd name="T0" fmla="*/ 44 w 119"/>
                <a:gd name="T1" fmla="*/ 24 h 283"/>
                <a:gd name="T2" fmla="*/ 0 w 119"/>
                <a:gd name="T3" fmla="*/ 41 h 283"/>
                <a:gd name="T4" fmla="*/ 0 w 119"/>
                <a:gd name="T5" fmla="*/ 93 h 283"/>
                <a:gd name="T6" fmla="*/ 16 w 119"/>
                <a:gd name="T7" fmla="*/ 89 h 283"/>
                <a:gd name="T8" fmla="*/ 32 w 119"/>
                <a:gd name="T9" fmla="*/ 84 h 283"/>
                <a:gd name="T10" fmla="*/ 47 w 119"/>
                <a:gd name="T11" fmla="*/ 77 h 283"/>
                <a:gd name="T12" fmla="*/ 59 w 119"/>
                <a:gd name="T13" fmla="*/ 69 h 283"/>
                <a:gd name="T14" fmla="*/ 59 w 119"/>
                <a:gd name="T15" fmla="*/ 283 h 283"/>
                <a:gd name="T16" fmla="*/ 119 w 119"/>
                <a:gd name="T17" fmla="*/ 283 h 283"/>
                <a:gd name="T18" fmla="*/ 119 w 119"/>
                <a:gd name="T19" fmla="*/ 0 h 283"/>
                <a:gd name="T20" fmla="*/ 83 w 119"/>
                <a:gd name="T21" fmla="*/ 0 h 283"/>
                <a:gd name="T22" fmla="*/ 44 w 119"/>
                <a:gd name="T23" fmla="*/ 24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44" y="24"/>
                  </a:moveTo>
                  <a:cubicBezTo>
                    <a:pt x="31" y="31"/>
                    <a:pt x="16" y="37"/>
                    <a:pt x="0" y="41"/>
                  </a:cubicBezTo>
                  <a:cubicBezTo>
                    <a:pt x="0" y="93"/>
                    <a:pt x="0" y="93"/>
                    <a:pt x="0" y="93"/>
                  </a:cubicBezTo>
                  <a:cubicBezTo>
                    <a:pt x="5" y="92"/>
                    <a:pt x="11" y="91"/>
                    <a:pt x="16" y="89"/>
                  </a:cubicBezTo>
                  <a:cubicBezTo>
                    <a:pt x="22" y="88"/>
                    <a:pt x="27" y="86"/>
                    <a:pt x="32" y="84"/>
                  </a:cubicBezTo>
                  <a:cubicBezTo>
                    <a:pt x="37" y="82"/>
                    <a:pt x="42" y="79"/>
                    <a:pt x="47" y="77"/>
                  </a:cubicBezTo>
                  <a:cubicBezTo>
                    <a:pt x="51" y="74"/>
                    <a:pt x="55" y="71"/>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8"/>
                    <a:pt x="59" y="16"/>
                    <a:pt x="44" y="2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5" name="Freeform 6"/>
            <p:cNvSpPr>
              <a:spLocks noEditPoints="1"/>
            </p:cNvSpPr>
            <p:nvPr/>
          </p:nvSpPr>
          <p:spPr bwMode="auto">
            <a:xfrm>
              <a:off x="-5364163" y="-1246187"/>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8"/>
                    <a:pt x="62" y="146"/>
                  </a:cubicBezTo>
                  <a:cubicBezTo>
                    <a:pt x="62" y="80"/>
                    <a:pt x="75" y="47"/>
                    <a:pt x="101" y="47"/>
                  </a:cubicBezTo>
                  <a:cubicBezTo>
                    <a:pt x="126" y="47"/>
                    <a:pt x="138" y="79"/>
                    <a:pt x="138" y="143"/>
                  </a:cubicBezTo>
                  <a:cubicBezTo>
                    <a:pt x="138" y="207"/>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6" name="Freeform 7"/>
            <p:cNvSpPr>
              <a:spLocks/>
            </p:cNvSpPr>
            <p:nvPr/>
          </p:nvSpPr>
          <p:spPr bwMode="auto">
            <a:xfrm>
              <a:off x="-4344988"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7" name="Freeform 8"/>
            <p:cNvSpPr>
              <a:spLocks noEditPoints="1"/>
            </p:cNvSpPr>
            <p:nvPr/>
          </p:nvSpPr>
          <p:spPr bwMode="auto">
            <a:xfrm>
              <a:off x="-4446588"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1 w 201"/>
                <a:gd name="T15" fmla="*/ 239 h 286"/>
                <a:gd name="T16" fmla="*/ 62 w 201"/>
                <a:gd name="T17" fmla="*/ 146 h 286"/>
                <a:gd name="T18" fmla="*/ 101 w 201"/>
                <a:gd name="T19" fmla="*/ 46 h 286"/>
                <a:gd name="T20" fmla="*/ 138 w 201"/>
                <a:gd name="T21" fmla="*/ 143 h 286"/>
                <a:gd name="T22" fmla="*/ 101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39"/>
                  </a:moveTo>
                  <a:cubicBezTo>
                    <a:pt x="75" y="239"/>
                    <a:pt x="62" y="208"/>
                    <a:pt x="62" y="146"/>
                  </a:cubicBezTo>
                  <a:cubicBezTo>
                    <a:pt x="62" y="80"/>
                    <a:pt x="75" y="46"/>
                    <a:pt x="101" y="46"/>
                  </a:cubicBezTo>
                  <a:cubicBezTo>
                    <a:pt x="126" y="46"/>
                    <a:pt x="138" y="79"/>
                    <a:pt x="138" y="143"/>
                  </a:cubicBezTo>
                  <a:cubicBezTo>
                    <a:pt x="138" y="207"/>
                    <a:pt x="126" y="239"/>
                    <a:pt x="101"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8" name="Freeform 9"/>
            <p:cNvSpPr>
              <a:spLocks/>
            </p:cNvSpPr>
            <p:nvPr/>
          </p:nvSpPr>
          <p:spPr bwMode="auto">
            <a:xfrm>
              <a:off x="-1687513"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2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2" y="0"/>
                    <a:pt x="82" y="0"/>
                    <a:pt x="82" y="0"/>
                  </a:cubicBezTo>
                  <a:cubicBezTo>
                    <a:pt x="71" y="9"/>
                    <a:pt x="58" y="17"/>
                    <a:pt x="44" y="24"/>
                  </a:cubicBezTo>
                  <a:cubicBezTo>
                    <a:pt x="30"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89" name="Freeform 10"/>
            <p:cNvSpPr>
              <a:spLocks noEditPoints="1"/>
            </p:cNvSpPr>
            <p:nvPr/>
          </p:nvSpPr>
          <p:spPr bwMode="auto">
            <a:xfrm>
              <a:off x="-5364163" y="239713"/>
              <a:ext cx="752475" cy="1076325"/>
            </a:xfrm>
            <a:custGeom>
              <a:avLst/>
              <a:gdLst>
                <a:gd name="T0" fmla="*/ 104 w 200"/>
                <a:gd name="T1" fmla="*/ 0 h 286"/>
                <a:gd name="T2" fmla="*/ 26 w 200"/>
                <a:gd name="T3" fmla="*/ 38 h 286"/>
                <a:gd name="T4" fmla="*/ 0 w 200"/>
                <a:gd name="T5" fmla="*/ 148 h 286"/>
                <a:gd name="T6" fmla="*/ 98 w 200"/>
                <a:gd name="T7" fmla="*/ 286 h 286"/>
                <a:gd name="T8" fmla="*/ 174 w 200"/>
                <a:gd name="T9" fmla="*/ 249 h 286"/>
                <a:gd name="T10" fmla="*/ 200 w 200"/>
                <a:gd name="T11" fmla="*/ 141 h 286"/>
                <a:gd name="T12" fmla="*/ 104 w 200"/>
                <a:gd name="T13" fmla="*/ 0 h 286"/>
                <a:gd name="T14" fmla="*/ 100 w 200"/>
                <a:gd name="T15" fmla="*/ 240 h 286"/>
                <a:gd name="T16" fmla="*/ 62 w 200"/>
                <a:gd name="T17" fmla="*/ 146 h 286"/>
                <a:gd name="T18" fmla="*/ 101 w 200"/>
                <a:gd name="T19" fmla="*/ 47 h 286"/>
                <a:gd name="T20" fmla="*/ 138 w 200"/>
                <a:gd name="T21" fmla="*/ 143 h 286"/>
                <a:gd name="T22" fmla="*/ 100 w 200"/>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0" h="286">
                  <a:moveTo>
                    <a:pt x="104" y="0"/>
                  </a:moveTo>
                  <a:cubicBezTo>
                    <a:pt x="70" y="0"/>
                    <a:pt x="44" y="13"/>
                    <a:pt x="26" y="38"/>
                  </a:cubicBezTo>
                  <a:cubicBezTo>
                    <a:pt x="8" y="63"/>
                    <a:pt x="0" y="100"/>
                    <a:pt x="0" y="148"/>
                  </a:cubicBezTo>
                  <a:cubicBezTo>
                    <a:pt x="0" y="240"/>
                    <a:pt x="32" y="286"/>
                    <a:pt x="98" y="286"/>
                  </a:cubicBezTo>
                  <a:cubicBezTo>
                    <a:pt x="131" y="286"/>
                    <a:pt x="156" y="274"/>
                    <a:pt x="174" y="249"/>
                  </a:cubicBezTo>
                  <a:cubicBezTo>
                    <a:pt x="191" y="224"/>
                    <a:pt x="200" y="188"/>
                    <a:pt x="200" y="141"/>
                  </a:cubicBezTo>
                  <a:cubicBezTo>
                    <a:pt x="200" y="47"/>
                    <a:pt x="168" y="0"/>
                    <a:pt x="104" y="0"/>
                  </a:cubicBezTo>
                  <a:close/>
                  <a:moveTo>
                    <a:pt x="100" y="240"/>
                  </a:moveTo>
                  <a:cubicBezTo>
                    <a:pt x="74"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0" name="Freeform 11"/>
            <p:cNvSpPr>
              <a:spLocks/>
            </p:cNvSpPr>
            <p:nvPr/>
          </p:nvSpPr>
          <p:spPr bwMode="auto">
            <a:xfrm>
              <a:off x="-3487738" y="-2738437"/>
              <a:ext cx="447675" cy="1063625"/>
            </a:xfrm>
            <a:custGeom>
              <a:avLst/>
              <a:gdLst>
                <a:gd name="T0" fmla="*/ 32 w 119"/>
                <a:gd name="T1" fmla="*/ 85 h 283"/>
                <a:gd name="T2" fmla="*/ 47 w 119"/>
                <a:gd name="T3" fmla="*/ 77 h 283"/>
                <a:gd name="T4" fmla="*/ 59 w 119"/>
                <a:gd name="T5" fmla="*/ 69 h 283"/>
                <a:gd name="T6" fmla="*/ 59 w 119"/>
                <a:gd name="T7" fmla="*/ 283 h 283"/>
                <a:gd name="T8" fmla="*/ 119 w 119"/>
                <a:gd name="T9" fmla="*/ 283 h 283"/>
                <a:gd name="T10" fmla="*/ 119 w 119"/>
                <a:gd name="T11" fmla="*/ 0 h 283"/>
                <a:gd name="T12" fmla="*/ 83 w 119"/>
                <a:gd name="T13" fmla="*/ 0 h 283"/>
                <a:gd name="T14" fmla="*/ 44 w 119"/>
                <a:gd name="T15" fmla="*/ 24 h 283"/>
                <a:gd name="T16" fmla="*/ 0 w 119"/>
                <a:gd name="T17" fmla="*/ 42 h 283"/>
                <a:gd name="T18" fmla="*/ 0 w 119"/>
                <a:gd name="T19" fmla="*/ 93 h 283"/>
                <a:gd name="T20" fmla="*/ 16 w 119"/>
                <a:gd name="T21" fmla="*/ 90 h 283"/>
                <a:gd name="T22" fmla="*/ 32 w 119"/>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9" h="283">
                  <a:moveTo>
                    <a:pt x="32" y="85"/>
                  </a:moveTo>
                  <a:cubicBezTo>
                    <a:pt x="37" y="82"/>
                    <a:pt x="42" y="80"/>
                    <a:pt x="47" y="77"/>
                  </a:cubicBezTo>
                  <a:cubicBezTo>
                    <a:pt x="51" y="75"/>
                    <a:pt x="55" y="72"/>
                    <a:pt x="59" y="69"/>
                  </a:cubicBezTo>
                  <a:cubicBezTo>
                    <a:pt x="59" y="283"/>
                    <a:pt x="59" y="283"/>
                    <a:pt x="59" y="283"/>
                  </a:cubicBezTo>
                  <a:cubicBezTo>
                    <a:pt x="119" y="283"/>
                    <a:pt x="119" y="283"/>
                    <a:pt x="119" y="283"/>
                  </a:cubicBezTo>
                  <a:cubicBezTo>
                    <a:pt x="119" y="0"/>
                    <a:pt x="119" y="0"/>
                    <a:pt x="119" y="0"/>
                  </a:cubicBezTo>
                  <a:cubicBezTo>
                    <a:pt x="83" y="0"/>
                    <a:pt x="83" y="0"/>
                    <a:pt x="83" y="0"/>
                  </a:cubicBezTo>
                  <a:cubicBezTo>
                    <a:pt x="71" y="9"/>
                    <a:pt x="59" y="17"/>
                    <a:pt x="44" y="24"/>
                  </a:cubicBezTo>
                  <a:cubicBezTo>
                    <a:pt x="31" y="31"/>
                    <a:pt x="16" y="37"/>
                    <a:pt x="0" y="42"/>
                  </a:cubicBezTo>
                  <a:cubicBezTo>
                    <a:pt x="0" y="93"/>
                    <a:pt x="0" y="93"/>
                    <a:pt x="0" y="93"/>
                  </a:cubicBezTo>
                  <a:cubicBezTo>
                    <a:pt x="5" y="93"/>
                    <a:pt x="11" y="92"/>
                    <a:pt x="16" y="90"/>
                  </a:cubicBezTo>
                  <a:cubicBezTo>
                    <a:pt x="22" y="89"/>
                    <a:pt x="27" y="87"/>
                    <a:pt x="32"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1" name="Freeform 12"/>
            <p:cNvSpPr>
              <a:spLocks noEditPoints="1"/>
            </p:cNvSpPr>
            <p:nvPr/>
          </p:nvSpPr>
          <p:spPr bwMode="auto">
            <a:xfrm>
              <a:off x="-1792288" y="-1246187"/>
              <a:ext cx="755650" cy="1076325"/>
            </a:xfrm>
            <a:custGeom>
              <a:avLst/>
              <a:gdLst>
                <a:gd name="T0" fmla="*/ 99 w 201"/>
                <a:gd name="T1" fmla="*/ 286 h 286"/>
                <a:gd name="T2" fmla="*/ 174 w 201"/>
                <a:gd name="T3" fmla="*/ 249 h 286"/>
                <a:gd name="T4" fmla="*/ 201 w 201"/>
                <a:gd name="T5" fmla="*/ 141 h 286"/>
                <a:gd name="T6" fmla="*/ 104 w 201"/>
                <a:gd name="T7" fmla="*/ 0 h 286"/>
                <a:gd name="T8" fmla="*/ 27 w 201"/>
                <a:gd name="T9" fmla="*/ 38 h 286"/>
                <a:gd name="T10" fmla="*/ 0 w 201"/>
                <a:gd name="T11" fmla="*/ 148 h 286"/>
                <a:gd name="T12" fmla="*/ 99 w 201"/>
                <a:gd name="T13" fmla="*/ 286 h 286"/>
                <a:gd name="T14" fmla="*/ 102 w 201"/>
                <a:gd name="T15" fmla="*/ 47 h 286"/>
                <a:gd name="T16" fmla="*/ 139 w 201"/>
                <a:gd name="T17" fmla="*/ 143 h 286"/>
                <a:gd name="T18" fmla="*/ 101 w 201"/>
                <a:gd name="T19" fmla="*/ 240 h 286"/>
                <a:gd name="T20" fmla="*/ 62 w 201"/>
                <a:gd name="T21" fmla="*/ 146 h 286"/>
                <a:gd name="T22" fmla="*/ 102 w 201"/>
                <a:gd name="T23" fmla="*/ 47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99" y="286"/>
                  </a:moveTo>
                  <a:cubicBezTo>
                    <a:pt x="132" y="286"/>
                    <a:pt x="157" y="274"/>
                    <a:pt x="174" y="249"/>
                  </a:cubicBezTo>
                  <a:cubicBezTo>
                    <a:pt x="192" y="224"/>
                    <a:pt x="201" y="188"/>
                    <a:pt x="201" y="141"/>
                  </a:cubicBezTo>
                  <a:cubicBezTo>
                    <a:pt x="201" y="47"/>
                    <a:pt x="169" y="0"/>
                    <a:pt x="104" y="0"/>
                  </a:cubicBezTo>
                  <a:cubicBezTo>
                    <a:pt x="70" y="0"/>
                    <a:pt x="45" y="13"/>
                    <a:pt x="27" y="38"/>
                  </a:cubicBezTo>
                  <a:cubicBezTo>
                    <a:pt x="9" y="63"/>
                    <a:pt x="0" y="100"/>
                    <a:pt x="0" y="148"/>
                  </a:cubicBezTo>
                  <a:cubicBezTo>
                    <a:pt x="0" y="240"/>
                    <a:pt x="33" y="286"/>
                    <a:pt x="99" y="286"/>
                  </a:cubicBezTo>
                  <a:close/>
                  <a:moveTo>
                    <a:pt x="102" y="47"/>
                  </a:moveTo>
                  <a:cubicBezTo>
                    <a:pt x="126" y="47"/>
                    <a:pt x="139" y="79"/>
                    <a:pt x="139" y="143"/>
                  </a:cubicBezTo>
                  <a:cubicBezTo>
                    <a:pt x="139" y="207"/>
                    <a:pt x="126" y="240"/>
                    <a:pt x="101" y="240"/>
                  </a:cubicBezTo>
                  <a:cubicBezTo>
                    <a:pt x="75" y="240"/>
                    <a:pt x="62" y="208"/>
                    <a:pt x="62" y="146"/>
                  </a:cubicBezTo>
                  <a:cubicBezTo>
                    <a:pt x="62" y="80"/>
                    <a:pt x="75" y="47"/>
                    <a:pt x="102" y="4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2" name="Freeform 13"/>
            <p:cNvSpPr>
              <a:spLocks/>
            </p:cNvSpPr>
            <p:nvPr/>
          </p:nvSpPr>
          <p:spPr bwMode="auto">
            <a:xfrm>
              <a:off x="-5262563" y="-2738437"/>
              <a:ext cx="450850" cy="1063625"/>
            </a:xfrm>
            <a:custGeom>
              <a:avLst/>
              <a:gdLst>
                <a:gd name="T0" fmla="*/ 33 w 120"/>
                <a:gd name="T1" fmla="*/ 85 h 283"/>
                <a:gd name="T2" fmla="*/ 47 w 120"/>
                <a:gd name="T3" fmla="*/ 77 h 283"/>
                <a:gd name="T4" fmla="*/ 59 w 120"/>
                <a:gd name="T5" fmla="*/ 69 h 283"/>
                <a:gd name="T6" fmla="*/ 59 w 120"/>
                <a:gd name="T7" fmla="*/ 283 h 283"/>
                <a:gd name="T8" fmla="*/ 120 w 120"/>
                <a:gd name="T9" fmla="*/ 283 h 283"/>
                <a:gd name="T10" fmla="*/ 120 w 120"/>
                <a:gd name="T11" fmla="*/ 0 h 283"/>
                <a:gd name="T12" fmla="*/ 83 w 120"/>
                <a:gd name="T13" fmla="*/ 0 h 283"/>
                <a:gd name="T14" fmla="*/ 45 w 120"/>
                <a:gd name="T15" fmla="*/ 24 h 283"/>
                <a:gd name="T16" fmla="*/ 0 w 120"/>
                <a:gd name="T17" fmla="*/ 42 h 283"/>
                <a:gd name="T18" fmla="*/ 0 w 120"/>
                <a:gd name="T19" fmla="*/ 93 h 283"/>
                <a:gd name="T20" fmla="*/ 17 w 120"/>
                <a:gd name="T21" fmla="*/ 90 h 283"/>
                <a:gd name="T22" fmla="*/ 33 w 120"/>
                <a:gd name="T23" fmla="*/ 85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3">
                  <a:moveTo>
                    <a:pt x="33" y="85"/>
                  </a:moveTo>
                  <a:cubicBezTo>
                    <a:pt x="38" y="82"/>
                    <a:pt x="43" y="80"/>
                    <a:pt x="47" y="77"/>
                  </a:cubicBezTo>
                  <a:cubicBezTo>
                    <a:pt x="52" y="75"/>
                    <a:pt x="56" y="72"/>
                    <a:pt x="59" y="69"/>
                  </a:cubicBezTo>
                  <a:cubicBezTo>
                    <a:pt x="59" y="283"/>
                    <a:pt x="59" y="283"/>
                    <a:pt x="59" y="283"/>
                  </a:cubicBezTo>
                  <a:cubicBezTo>
                    <a:pt x="120" y="283"/>
                    <a:pt x="120" y="283"/>
                    <a:pt x="120" y="283"/>
                  </a:cubicBezTo>
                  <a:cubicBezTo>
                    <a:pt x="120" y="0"/>
                    <a:pt x="120" y="0"/>
                    <a:pt x="120" y="0"/>
                  </a:cubicBezTo>
                  <a:cubicBezTo>
                    <a:pt x="83" y="0"/>
                    <a:pt x="83" y="0"/>
                    <a:pt x="83" y="0"/>
                  </a:cubicBezTo>
                  <a:cubicBezTo>
                    <a:pt x="72" y="9"/>
                    <a:pt x="59" y="17"/>
                    <a:pt x="45" y="24"/>
                  </a:cubicBezTo>
                  <a:cubicBezTo>
                    <a:pt x="31" y="31"/>
                    <a:pt x="16" y="37"/>
                    <a:pt x="0" y="42"/>
                  </a:cubicBezTo>
                  <a:cubicBezTo>
                    <a:pt x="0" y="93"/>
                    <a:pt x="0" y="93"/>
                    <a:pt x="0" y="93"/>
                  </a:cubicBezTo>
                  <a:cubicBezTo>
                    <a:pt x="6" y="93"/>
                    <a:pt x="11" y="92"/>
                    <a:pt x="17" y="90"/>
                  </a:cubicBezTo>
                  <a:cubicBezTo>
                    <a:pt x="22" y="89"/>
                    <a:pt x="27" y="87"/>
                    <a:pt x="33" y="8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3" name="Freeform 14"/>
            <p:cNvSpPr>
              <a:spLocks noEditPoints="1"/>
            </p:cNvSpPr>
            <p:nvPr/>
          </p:nvSpPr>
          <p:spPr bwMode="auto">
            <a:xfrm>
              <a:off x="-44465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1 w 201"/>
                <a:gd name="T19" fmla="*/ 47 h 286"/>
                <a:gd name="T20" fmla="*/ 138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1" y="240"/>
                  </a:moveTo>
                  <a:cubicBezTo>
                    <a:pt x="75" y="240"/>
                    <a:pt x="62" y="209"/>
                    <a:pt x="62" y="146"/>
                  </a:cubicBezTo>
                  <a:cubicBezTo>
                    <a:pt x="62" y="80"/>
                    <a:pt x="75" y="47"/>
                    <a:pt x="101" y="47"/>
                  </a:cubicBezTo>
                  <a:cubicBezTo>
                    <a:pt x="126" y="47"/>
                    <a:pt x="138" y="79"/>
                    <a:pt x="138" y="143"/>
                  </a:cubicBezTo>
                  <a:cubicBezTo>
                    <a:pt x="138"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4" name="Freeform 15"/>
            <p:cNvSpPr>
              <a:spLocks/>
            </p:cNvSpPr>
            <p:nvPr/>
          </p:nvSpPr>
          <p:spPr bwMode="auto">
            <a:xfrm>
              <a:off x="-2608263" y="-1249362"/>
              <a:ext cx="450850" cy="1060450"/>
            </a:xfrm>
            <a:custGeom>
              <a:avLst/>
              <a:gdLst>
                <a:gd name="T0" fmla="*/ 120 w 120"/>
                <a:gd name="T1" fmla="*/ 282 h 282"/>
                <a:gd name="T2" fmla="*/ 120 w 120"/>
                <a:gd name="T3" fmla="*/ 0 h 282"/>
                <a:gd name="T4" fmla="*/ 83 w 120"/>
                <a:gd name="T5" fmla="*/ 0 h 282"/>
                <a:gd name="T6" fmla="*/ 45 w 120"/>
                <a:gd name="T7" fmla="*/ 23 h 282"/>
                <a:gd name="T8" fmla="*/ 0 w 120"/>
                <a:gd name="T9" fmla="*/ 41 h 282"/>
                <a:gd name="T10" fmla="*/ 0 w 120"/>
                <a:gd name="T11" fmla="*/ 92 h 282"/>
                <a:gd name="T12" fmla="*/ 17 w 120"/>
                <a:gd name="T13" fmla="*/ 89 h 282"/>
                <a:gd name="T14" fmla="*/ 33 w 120"/>
                <a:gd name="T15" fmla="*/ 84 h 282"/>
                <a:gd name="T16" fmla="*/ 47 w 120"/>
                <a:gd name="T17" fmla="*/ 77 h 282"/>
                <a:gd name="T18" fmla="*/ 59 w 120"/>
                <a:gd name="T19" fmla="*/ 68 h 282"/>
                <a:gd name="T20" fmla="*/ 59 w 120"/>
                <a:gd name="T21" fmla="*/ 282 h 282"/>
                <a:gd name="T22" fmla="*/ 120 w 120"/>
                <a:gd name="T23" fmla="*/ 28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282">
                  <a:moveTo>
                    <a:pt x="120" y="282"/>
                  </a:moveTo>
                  <a:cubicBezTo>
                    <a:pt x="120" y="0"/>
                    <a:pt x="120" y="0"/>
                    <a:pt x="120" y="0"/>
                  </a:cubicBezTo>
                  <a:cubicBezTo>
                    <a:pt x="83" y="0"/>
                    <a:pt x="83" y="0"/>
                    <a:pt x="83" y="0"/>
                  </a:cubicBezTo>
                  <a:cubicBezTo>
                    <a:pt x="72" y="8"/>
                    <a:pt x="59" y="16"/>
                    <a:pt x="45" y="23"/>
                  </a:cubicBezTo>
                  <a:cubicBezTo>
                    <a:pt x="31" y="31"/>
                    <a:pt x="16" y="36"/>
                    <a:pt x="0" y="41"/>
                  </a:cubicBezTo>
                  <a:cubicBezTo>
                    <a:pt x="0" y="92"/>
                    <a:pt x="0" y="92"/>
                    <a:pt x="0" y="92"/>
                  </a:cubicBezTo>
                  <a:cubicBezTo>
                    <a:pt x="6" y="92"/>
                    <a:pt x="11" y="91"/>
                    <a:pt x="17" y="89"/>
                  </a:cubicBezTo>
                  <a:cubicBezTo>
                    <a:pt x="22" y="88"/>
                    <a:pt x="28" y="86"/>
                    <a:pt x="33" y="84"/>
                  </a:cubicBezTo>
                  <a:cubicBezTo>
                    <a:pt x="38" y="82"/>
                    <a:pt x="43" y="79"/>
                    <a:pt x="47" y="77"/>
                  </a:cubicBezTo>
                  <a:cubicBezTo>
                    <a:pt x="52" y="74"/>
                    <a:pt x="56" y="71"/>
                    <a:pt x="59" y="68"/>
                  </a:cubicBezTo>
                  <a:cubicBezTo>
                    <a:pt x="59" y="282"/>
                    <a:pt x="59" y="282"/>
                    <a:pt x="59" y="282"/>
                  </a:cubicBezTo>
                  <a:lnTo>
                    <a:pt x="120" y="28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5" name="Freeform 16"/>
            <p:cNvSpPr>
              <a:spLocks noEditPoints="1"/>
            </p:cNvSpPr>
            <p:nvPr/>
          </p:nvSpPr>
          <p:spPr bwMode="auto">
            <a:xfrm>
              <a:off x="-2709863"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0 w 201"/>
                <a:gd name="T15" fmla="*/ 240 h 286"/>
                <a:gd name="T16" fmla="*/ 62 w 201"/>
                <a:gd name="T17" fmla="*/ 146 h 286"/>
                <a:gd name="T18" fmla="*/ 101 w 201"/>
                <a:gd name="T19" fmla="*/ 47 h 286"/>
                <a:gd name="T20" fmla="*/ 138 w 201"/>
                <a:gd name="T21" fmla="*/ 143 h 286"/>
                <a:gd name="T22" fmla="*/ 100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100"/>
                    <a:pt x="0" y="148"/>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40"/>
                  </a:moveTo>
                  <a:cubicBezTo>
                    <a:pt x="75" y="240"/>
                    <a:pt x="62" y="209"/>
                    <a:pt x="62" y="146"/>
                  </a:cubicBezTo>
                  <a:cubicBezTo>
                    <a:pt x="62" y="80"/>
                    <a:pt x="75" y="47"/>
                    <a:pt x="101" y="47"/>
                  </a:cubicBezTo>
                  <a:cubicBezTo>
                    <a:pt x="126" y="47"/>
                    <a:pt x="138" y="79"/>
                    <a:pt x="138" y="143"/>
                  </a:cubicBezTo>
                  <a:cubicBezTo>
                    <a:pt x="138" y="208"/>
                    <a:pt x="126" y="240"/>
                    <a:pt x="100"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6" name="Freeform 17"/>
            <p:cNvSpPr>
              <a:spLocks noEditPoints="1"/>
            </p:cNvSpPr>
            <p:nvPr/>
          </p:nvSpPr>
          <p:spPr bwMode="auto">
            <a:xfrm>
              <a:off x="-2709863" y="-2732087"/>
              <a:ext cx="755650" cy="1076325"/>
            </a:xfrm>
            <a:custGeom>
              <a:avLst/>
              <a:gdLst>
                <a:gd name="T0" fmla="*/ 104 w 201"/>
                <a:gd name="T1" fmla="*/ 0 h 286"/>
                <a:gd name="T2" fmla="*/ 27 w 201"/>
                <a:gd name="T3" fmla="*/ 38 h 286"/>
                <a:gd name="T4" fmla="*/ 0 w 201"/>
                <a:gd name="T5" fmla="*/ 147 h 286"/>
                <a:gd name="T6" fmla="*/ 99 w 201"/>
                <a:gd name="T7" fmla="*/ 286 h 286"/>
                <a:gd name="T8" fmla="*/ 174 w 201"/>
                <a:gd name="T9" fmla="*/ 249 h 286"/>
                <a:gd name="T10" fmla="*/ 201 w 201"/>
                <a:gd name="T11" fmla="*/ 141 h 286"/>
                <a:gd name="T12" fmla="*/ 104 w 201"/>
                <a:gd name="T13" fmla="*/ 0 h 286"/>
                <a:gd name="T14" fmla="*/ 100 w 201"/>
                <a:gd name="T15" fmla="*/ 239 h 286"/>
                <a:gd name="T16" fmla="*/ 62 w 201"/>
                <a:gd name="T17" fmla="*/ 146 h 286"/>
                <a:gd name="T18" fmla="*/ 101 w 201"/>
                <a:gd name="T19" fmla="*/ 46 h 286"/>
                <a:gd name="T20" fmla="*/ 138 w 201"/>
                <a:gd name="T21" fmla="*/ 143 h 286"/>
                <a:gd name="T22" fmla="*/ 100 w 201"/>
                <a:gd name="T23" fmla="*/ 239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4" y="13"/>
                    <a:pt x="27" y="38"/>
                  </a:cubicBezTo>
                  <a:cubicBezTo>
                    <a:pt x="9" y="63"/>
                    <a:pt x="0" y="99"/>
                    <a:pt x="0" y="147"/>
                  </a:cubicBezTo>
                  <a:cubicBezTo>
                    <a:pt x="0" y="240"/>
                    <a:pt x="33" y="286"/>
                    <a:pt x="99" y="286"/>
                  </a:cubicBezTo>
                  <a:cubicBezTo>
                    <a:pt x="131" y="286"/>
                    <a:pt x="157" y="274"/>
                    <a:pt x="174" y="249"/>
                  </a:cubicBezTo>
                  <a:cubicBezTo>
                    <a:pt x="192" y="224"/>
                    <a:pt x="201" y="188"/>
                    <a:pt x="201" y="141"/>
                  </a:cubicBezTo>
                  <a:cubicBezTo>
                    <a:pt x="201" y="47"/>
                    <a:pt x="168" y="0"/>
                    <a:pt x="104" y="0"/>
                  </a:cubicBezTo>
                  <a:close/>
                  <a:moveTo>
                    <a:pt x="100" y="239"/>
                  </a:moveTo>
                  <a:cubicBezTo>
                    <a:pt x="75" y="239"/>
                    <a:pt x="62" y="208"/>
                    <a:pt x="62" y="146"/>
                  </a:cubicBezTo>
                  <a:cubicBezTo>
                    <a:pt x="62" y="80"/>
                    <a:pt x="75" y="46"/>
                    <a:pt x="101" y="46"/>
                  </a:cubicBezTo>
                  <a:cubicBezTo>
                    <a:pt x="126" y="46"/>
                    <a:pt x="138" y="79"/>
                    <a:pt x="138" y="143"/>
                  </a:cubicBezTo>
                  <a:cubicBezTo>
                    <a:pt x="138" y="207"/>
                    <a:pt x="126" y="239"/>
                    <a:pt x="100" y="23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7" name="Freeform 18"/>
            <p:cNvSpPr>
              <a:spLocks noEditPoints="1"/>
            </p:cNvSpPr>
            <p:nvPr/>
          </p:nvSpPr>
          <p:spPr bwMode="auto">
            <a:xfrm>
              <a:off x="-3592513" y="-1246187"/>
              <a:ext cx="755650" cy="1076325"/>
            </a:xfrm>
            <a:custGeom>
              <a:avLst/>
              <a:gdLst>
                <a:gd name="T0" fmla="*/ 104 w 201"/>
                <a:gd name="T1" fmla="*/ 0 h 286"/>
                <a:gd name="T2" fmla="*/ 27 w 201"/>
                <a:gd name="T3" fmla="*/ 38 h 286"/>
                <a:gd name="T4" fmla="*/ 0 w 201"/>
                <a:gd name="T5" fmla="*/ 148 h 286"/>
                <a:gd name="T6" fmla="*/ 99 w 201"/>
                <a:gd name="T7" fmla="*/ 286 h 286"/>
                <a:gd name="T8" fmla="*/ 175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1" y="0"/>
                    <a:pt x="45" y="13"/>
                    <a:pt x="27" y="38"/>
                  </a:cubicBezTo>
                  <a:cubicBezTo>
                    <a:pt x="9" y="63"/>
                    <a:pt x="0" y="100"/>
                    <a:pt x="0" y="148"/>
                  </a:cubicBezTo>
                  <a:cubicBezTo>
                    <a:pt x="0" y="240"/>
                    <a:pt x="33" y="286"/>
                    <a:pt x="99" y="286"/>
                  </a:cubicBezTo>
                  <a:cubicBezTo>
                    <a:pt x="132" y="286"/>
                    <a:pt x="157" y="274"/>
                    <a:pt x="175" y="249"/>
                  </a:cubicBezTo>
                  <a:cubicBezTo>
                    <a:pt x="192" y="224"/>
                    <a:pt x="201" y="188"/>
                    <a:pt x="201" y="141"/>
                  </a:cubicBezTo>
                  <a:cubicBezTo>
                    <a:pt x="201" y="47"/>
                    <a:pt x="169" y="0"/>
                    <a:pt x="104" y="0"/>
                  </a:cubicBezTo>
                  <a:close/>
                  <a:moveTo>
                    <a:pt x="101" y="240"/>
                  </a:moveTo>
                  <a:cubicBezTo>
                    <a:pt x="75" y="240"/>
                    <a:pt x="62" y="208"/>
                    <a:pt x="62" y="146"/>
                  </a:cubicBezTo>
                  <a:cubicBezTo>
                    <a:pt x="62" y="80"/>
                    <a:pt x="75" y="47"/>
                    <a:pt x="102" y="47"/>
                  </a:cubicBezTo>
                  <a:cubicBezTo>
                    <a:pt x="126" y="47"/>
                    <a:pt x="139" y="79"/>
                    <a:pt x="139" y="143"/>
                  </a:cubicBezTo>
                  <a:cubicBezTo>
                    <a:pt x="139" y="207"/>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98" name="Freeform 19"/>
            <p:cNvSpPr>
              <a:spLocks noEditPoints="1"/>
            </p:cNvSpPr>
            <p:nvPr/>
          </p:nvSpPr>
          <p:spPr bwMode="auto">
            <a:xfrm>
              <a:off x="-1792288" y="239713"/>
              <a:ext cx="755650" cy="1076325"/>
            </a:xfrm>
            <a:custGeom>
              <a:avLst/>
              <a:gdLst>
                <a:gd name="T0" fmla="*/ 104 w 201"/>
                <a:gd name="T1" fmla="*/ 0 h 286"/>
                <a:gd name="T2" fmla="*/ 27 w 201"/>
                <a:gd name="T3" fmla="*/ 38 h 286"/>
                <a:gd name="T4" fmla="*/ 0 w 201"/>
                <a:gd name="T5" fmla="*/ 148 h 286"/>
                <a:gd name="T6" fmla="*/ 99 w 201"/>
                <a:gd name="T7" fmla="*/ 286 h 286"/>
                <a:gd name="T8" fmla="*/ 174 w 201"/>
                <a:gd name="T9" fmla="*/ 249 h 286"/>
                <a:gd name="T10" fmla="*/ 201 w 201"/>
                <a:gd name="T11" fmla="*/ 141 h 286"/>
                <a:gd name="T12" fmla="*/ 104 w 201"/>
                <a:gd name="T13" fmla="*/ 0 h 286"/>
                <a:gd name="T14" fmla="*/ 101 w 201"/>
                <a:gd name="T15" fmla="*/ 240 h 286"/>
                <a:gd name="T16" fmla="*/ 62 w 201"/>
                <a:gd name="T17" fmla="*/ 146 h 286"/>
                <a:gd name="T18" fmla="*/ 102 w 201"/>
                <a:gd name="T19" fmla="*/ 47 h 286"/>
                <a:gd name="T20" fmla="*/ 139 w 201"/>
                <a:gd name="T21" fmla="*/ 143 h 286"/>
                <a:gd name="T22" fmla="*/ 101 w 201"/>
                <a:gd name="T23" fmla="*/ 240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1" h="286">
                  <a:moveTo>
                    <a:pt x="104" y="0"/>
                  </a:moveTo>
                  <a:cubicBezTo>
                    <a:pt x="70" y="0"/>
                    <a:pt x="45" y="13"/>
                    <a:pt x="27" y="38"/>
                  </a:cubicBezTo>
                  <a:cubicBezTo>
                    <a:pt x="9" y="63"/>
                    <a:pt x="0" y="100"/>
                    <a:pt x="0" y="148"/>
                  </a:cubicBezTo>
                  <a:cubicBezTo>
                    <a:pt x="0" y="240"/>
                    <a:pt x="33" y="286"/>
                    <a:pt x="99" y="286"/>
                  </a:cubicBezTo>
                  <a:cubicBezTo>
                    <a:pt x="132" y="286"/>
                    <a:pt x="157" y="274"/>
                    <a:pt x="174" y="249"/>
                  </a:cubicBezTo>
                  <a:cubicBezTo>
                    <a:pt x="192" y="224"/>
                    <a:pt x="201" y="188"/>
                    <a:pt x="201" y="141"/>
                  </a:cubicBezTo>
                  <a:cubicBezTo>
                    <a:pt x="201" y="47"/>
                    <a:pt x="169" y="0"/>
                    <a:pt x="104" y="0"/>
                  </a:cubicBezTo>
                  <a:close/>
                  <a:moveTo>
                    <a:pt x="101" y="240"/>
                  </a:moveTo>
                  <a:cubicBezTo>
                    <a:pt x="75" y="240"/>
                    <a:pt x="62" y="209"/>
                    <a:pt x="62" y="146"/>
                  </a:cubicBezTo>
                  <a:cubicBezTo>
                    <a:pt x="62" y="80"/>
                    <a:pt x="75" y="47"/>
                    <a:pt x="102" y="47"/>
                  </a:cubicBezTo>
                  <a:cubicBezTo>
                    <a:pt x="126" y="47"/>
                    <a:pt x="139" y="79"/>
                    <a:pt x="139" y="143"/>
                  </a:cubicBezTo>
                  <a:cubicBezTo>
                    <a:pt x="139" y="208"/>
                    <a:pt x="126" y="240"/>
                    <a:pt x="101" y="2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grpSp>
      <p:grpSp>
        <p:nvGrpSpPr>
          <p:cNvPr id="181" name="Group 180"/>
          <p:cNvGrpSpPr/>
          <p:nvPr/>
        </p:nvGrpSpPr>
        <p:grpSpPr>
          <a:xfrm>
            <a:off x="4986876" y="3805267"/>
            <a:ext cx="367950" cy="485919"/>
            <a:chOff x="7667625" y="-3309937"/>
            <a:chExt cx="2163763" cy="2857500"/>
          </a:xfrm>
          <a:solidFill>
            <a:schemeClr val="bg1"/>
          </a:solidFill>
        </p:grpSpPr>
        <p:sp>
          <p:nvSpPr>
            <p:cNvPr id="182" name="Freeform 19"/>
            <p:cNvSpPr>
              <a:spLocks noEditPoints="1"/>
            </p:cNvSpPr>
            <p:nvPr/>
          </p:nvSpPr>
          <p:spPr bwMode="auto">
            <a:xfrm>
              <a:off x="7667625" y="-3309937"/>
              <a:ext cx="2163763" cy="2857500"/>
            </a:xfrm>
            <a:custGeom>
              <a:avLst/>
              <a:gdLst>
                <a:gd name="T0" fmla="*/ 574 w 574"/>
                <a:gd name="T1" fmla="*/ 186 h 759"/>
                <a:gd name="T2" fmla="*/ 574 w 574"/>
                <a:gd name="T3" fmla="*/ 186 h 759"/>
                <a:gd name="T4" fmla="*/ 388 w 574"/>
                <a:gd name="T5" fmla="*/ 186 h 759"/>
                <a:gd name="T6" fmla="*/ 388 w 574"/>
                <a:gd name="T7" fmla="*/ 0 h 759"/>
                <a:gd name="T8" fmla="*/ 329 w 574"/>
                <a:gd name="T9" fmla="*/ 0 h 759"/>
                <a:gd name="T10" fmla="*/ 21 w 574"/>
                <a:gd name="T11" fmla="*/ 0 h 759"/>
                <a:gd name="T12" fmla="*/ 0 w 574"/>
                <a:gd name="T13" fmla="*/ 20 h 759"/>
                <a:gd name="T14" fmla="*/ 0 w 574"/>
                <a:gd name="T15" fmla="*/ 738 h 759"/>
                <a:gd name="T16" fmla="*/ 21 w 574"/>
                <a:gd name="T17" fmla="*/ 759 h 759"/>
                <a:gd name="T18" fmla="*/ 329 w 574"/>
                <a:gd name="T19" fmla="*/ 759 h 759"/>
                <a:gd name="T20" fmla="*/ 553 w 574"/>
                <a:gd name="T21" fmla="*/ 759 h 759"/>
                <a:gd name="T22" fmla="*/ 574 w 574"/>
                <a:gd name="T23" fmla="*/ 738 h 759"/>
                <a:gd name="T24" fmla="*/ 574 w 574"/>
                <a:gd name="T25" fmla="*/ 384 h 759"/>
                <a:gd name="T26" fmla="*/ 574 w 574"/>
                <a:gd name="T27" fmla="*/ 384 h 759"/>
                <a:gd name="T28" fmla="*/ 574 w 574"/>
                <a:gd name="T29" fmla="*/ 186 h 759"/>
                <a:gd name="T30" fmla="*/ 75 w 574"/>
                <a:gd name="T31" fmla="*/ 146 h 759"/>
                <a:gd name="T32" fmla="*/ 270 w 574"/>
                <a:gd name="T33" fmla="*/ 146 h 759"/>
                <a:gd name="T34" fmla="*/ 270 w 574"/>
                <a:gd name="T35" fmla="*/ 192 h 759"/>
                <a:gd name="T36" fmla="*/ 75 w 574"/>
                <a:gd name="T37" fmla="*/ 192 h 759"/>
                <a:gd name="T38" fmla="*/ 75 w 574"/>
                <a:gd name="T39" fmla="*/ 146 h 759"/>
                <a:gd name="T40" fmla="*/ 499 w 574"/>
                <a:gd name="T41" fmla="*/ 667 h 759"/>
                <a:gd name="T42" fmla="*/ 329 w 574"/>
                <a:gd name="T43" fmla="*/ 667 h 759"/>
                <a:gd name="T44" fmla="*/ 75 w 574"/>
                <a:gd name="T45" fmla="*/ 667 h 759"/>
                <a:gd name="T46" fmla="*/ 75 w 574"/>
                <a:gd name="T47" fmla="*/ 622 h 759"/>
                <a:gd name="T48" fmla="*/ 329 w 574"/>
                <a:gd name="T49" fmla="*/ 622 h 759"/>
                <a:gd name="T50" fmla="*/ 499 w 574"/>
                <a:gd name="T51" fmla="*/ 622 h 759"/>
                <a:gd name="T52" fmla="*/ 499 w 574"/>
                <a:gd name="T53" fmla="*/ 667 h 759"/>
                <a:gd name="T54" fmla="*/ 499 w 574"/>
                <a:gd name="T55" fmla="*/ 561 h 759"/>
                <a:gd name="T56" fmla="*/ 329 w 574"/>
                <a:gd name="T57" fmla="*/ 561 h 759"/>
                <a:gd name="T58" fmla="*/ 75 w 574"/>
                <a:gd name="T59" fmla="*/ 561 h 759"/>
                <a:gd name="T60" fmla="*/ 75 w 574"/>
                <a:gd name="T61" fmla="*/ 516 h 759"/>
                <a:gd name="T62" fmla="*/ 329 w 574"/>
                <a:gd name="T63" fmla="*/ 516 h 759"/>
                <a:gd name="T64" fmla="*/ 499 w 574"/>
                <a:gd name="T65" fmla="*/ 516 h 759"/>
                <a:gd name="T66" fmla="*/ 499 w 574"/>
                <a:gd name="T67" fmla="*/ 561 h 759"/>
                <a:gd name="T68" fmla="*/ 499 w 574"/>
                <a:gd name="T69" fmla="*/ 455 h 759"/>
                <a:gd name="T70" fmla="*/ 329 w 574"/>
                <a:gd name="T71" fmla="*/ 455 h 759"/>
                <a:gd name="T72" fmla="*/ 75 w 574"/>
                <a:gd name="T73" fmla="*/ 455 h 759"/>
                <a:gd name="T74" fmla="*/ 75 w 574"/>
                <a:gd name="T75" fmla="*/ 410 h 759"/>
                <a:gd name="T76" fmla="*/ 329 w 574"/>
                <a:gd name="T77" fmla="*/ 410 h 759"/>
                <a:gd name="T78" fmla="*/ 499 w 574"/>
                <a:gd name="T79" fmla="*/ 410 h 759"/>
                <a:gd name="T80" fmla="*/ 499 w 574"/>
                <a:gd name="T81" fmla="*/ 455 h 759"/>
                <a:gd name="T82" fmla="*/ 499 w 574"/>
                <a:gd name="T83" fmla="*/ 349 h 759"/>
                <a:gd name="T84" fmla="*/ 329 w 574"/>
                <a:gd name="T85" fmla="*/ 349 h 759"/>
                <a:gd name="T86" fmla="*/ 75 w 574"/>
                <a:gd name="T87" fmla="*/ 349 h 759"/>
                <a:gd name="T88" fmla="*/ 75 w 574"/>
                <a:gd name="T89" fmla="*/ 304 h 759"/>
                <a:gd name="T90" fmla="*/ 329 w 574"/>
                <a:gd name="T91" fmla="*/ 304 h 759"/>
                <a:gd name="T92" fmla="*/ 499 w 574"/>
                <a:gd name="T93" fmla="*/ 304 h 759"/>
                <a:gd name="T94" fmla="*/ 499 w 574"/>
                <a:gd name="T95" fmla="*/ 349 h 7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574" h="759">
                  <a:moveTo>
                    <a:pt x="574" y="186"/>
                  </a:moveTo>
                  <a:cubicBezTo>
                    <a:pt x="574" y="186"/>
                    <a:pt x="574" y="186"/>
                    <a:pt x="574" y="186"/>
                  </a:cubicBezTo>
                  <a:cubicBezTo>
                    <a:pt x="388" y="186"/>
                    <a:pt x="388" y="186"/>
                    <a:pt x="388" y="186"/>
                  </a:cubicBezTo>
                  <a:cubicBezTo>
                    <a:pt x="388" y="0"/>
                    <a:pt x="388" y="0"/>
                    <a:pt x="388" y="0"/>
                  </a:cubicBezTo>
                  <a:cubicBezTo>
                    <a:pt x="329" y="0"/>
                    <a:pt x="329" y="0"/>
                    <a:pt x="329" y="0"/>
                  </a:cubicBezTo>
                  <a:cubicBezTo>
                    <a:pt x="21" y="0"/>
                    <a:pt x="21" y="0"/>
                    <a:pt x="21" y="0"/>
                  </a:cubicBezTo>
                  <a:cubicBezTo>
                    <a:pt x="9" y="0"/>
                    <a:pt x="0" y="9"/>
                    <a:pt x="0" y="20"/>
                  </a:cubicBezTo>
                  <a:cubicBezTo>
                    <a:pt x="0" y="738"/>
                    <a:pt x="0" y="738"/>
                    <a:pt x="0" y="738"/>
                  </a:cubicBezTo>
                  <a:cubicBezTo>
                    <a:pt x="0" y="750"/>
                    <a:pt x="9" y="759"/>
                    <a:pt x="21" y="759"/>
                  </a:cubicBezTo>
                  <a:cubicBezTo>
                    <a:pt x="329" y="759"/>
                    <a:pt x="329" y="759"/>
                    <a:pt x="329" y="759"/>
                  </a:cubicBezTo>
                  <a:cubicBezTo>
                    <a:pt x="553" y="759"/>
                    <a:pt x="553" y="759"/>
                    <a:pt x="553" y="759"/>
                  </a:cubicBezTo>
                  <a:cubicBezTo>
                    <a:pt x="565" y="759"/>
                    <a:pt x="574" y="750"/>
                    <a:pt x="574" y="738"/>
                  </a:cubicBezTo>
                  <a:cubicBezTo>
                    <a:pt x="574" y="384"/>
                    <a:pt x="574" y="384"/>
                    <a:pt x="574" y="384"/>
                  </a:cubicBezTo>
                  <a:cubicBezTo>
                    <a:pt x="574" y="384"/>
                    <a:pt x="574" y="384"/>
                    <a:pt x="574" y="384"/>
                  </a:cubicBezTo>
                  <a:cubicBezTo>
                    <a:pt x="574" y="186"/>
                    <a:pt x="574" y="186"/>
                    <a:pt x="574" y="186"/>
                  </a:cubicBezTo>
                  <a:close/>
                  <a:moveTo>
                    <a:pt x="75" y="146"/>
                  </a:moveTo>
                  <a:cubicBezTo>
                    <a:pt x="270" y="146"/>
                    <a:pt x="270" y="146"/>
                    <a:pt x="270" y="146"/>
                  </a:cubicBezTo>
                  <a:cubicBezTo>
                    <a:pt x="270" y="192"/>
                    <a:pt x="270" y="192"/>
                    <a:pt x="270" y="192"/>
                  </a:cubicBezTo>
                  <a:cubicBezTo>
                    <a:pt x="75" y="192"/>
                    <a:pt x="75" y="192"/>
                    <a:pt x="75" y="192"/>
                  </a:cubicBezTo>
                  <a:lnTo>
                    <a:pt x="75" y="146"/>
                  </a:lnTo>
                  <a:close/>
                  <a:moveTo>
                    <a:pt x="499" y="667"/>
                  </a:moveTo>
                  <a:cubicBezTo>
                    <a:pt x="329" y="667"/>
                    <a:pt x="329" y="667"/>
                    <a:pt x="329" y="667"/>
                  </a:cubicBezTo>
                  <a:cubicBezTo>
                    <a:pt x="75" y="667"/>
                    <a:pt x="75" y="667"/>
                    <a:pt x="75" y="667"/>
                  </a:cubicBezTo>
                  <a:cubicBezTo>
                    <a:pt x="75" y="622"/>
                    <a:pt x="75" y="622"/>
                    <a:pt x="75" y="622"/>
                  </a:cubicBezTo>
                  <a:cubicBezTo>
                    <a:pt x="329" y="622"/>
                    <a:pt x="329" y="622"/>
                    <a:pt x="329" y="622"/>
                  </a:cubicBezTo>
                  <a:cubicBezTo>
                    <a:pt x="499" y="622"/>
                    <a:pt x="499" y="622"/>
                    <a:pt x="499" y="622"/>
                  </a:cubicBezTo>
                  <a:lnTo>
                    <a:pt x="499" y="667"/>
                  </a:lnTo>
                  <a:close/>
                  <a:moveTo>
                    <a:pt x="499" y="561"/>
                  </a:moveTo>
                  <a:cubicBezTo>
                    <a:pt x="329" y="561"/>
                    <a:pt x="329" y="561"/>
                    <a:pt x="329" y="561"/>
                  </a:cubicBezTo>
                  <a:cubicBezTo>
                    <a:pt x="75" y="561"/>
                    <a:pt x="75" y="561"/>
                    <a:pt x="75" y="561"/>
                  </a:cubicBezTo>
                  <a:cubicBezTo>
                    <a:pt x="75" y="516"/>
                    <a:pt x="75" y="516"/>
                    <a:pt x="75" y="516"/>
                  </a:cubicBezTo>
                  <a:cubicBezTo>
                    <a:pt x="329" y="516"/>
                    <a:pt x="329" y="516"/>
                    <a:pt x="329" y="516"/>
                  </a:cubicBezTo>
                  <a:cubicBezTo>
                    <a:pt x="499" y="516"/>
                    <a:pt x="499" y="516"/>
                    <a:pt x="499" y="516"/>
                  </a:cubicBezTo>
                  <a:lnTo>
                    <a:pt x="499" y="561"/>
                  </a:lnTo>
                  <a:close/>
                  <a:moveTo>
                    <a:pt x="499" y="455"/>
                  </a:moveTo>
                  <a:cubicBezTo>
                    <a:pt x="329" y="455"/>
                    <a:pt x="329" y="455"/>
                    <a:pt x="329" y="455"/>
                  </a:cubicBezTo>
                  <a:cubicBezTo>
                    <a:pt x="75" y="455"/>
                    <a:pt x="75" y="455"/>
                    <a:pt x="75" y="455"/>
                  </a:cubicBezTo>
                  <a:cubicBezTo>
                    <a:pt x="75" y="410"/>
                    <a:pt x="75" y="410"/>
                    <a:pt x="75" y="410"/>
                  </a:cubicBezTo>
                  <a:cubicBezTo>
                    <a:pt x="329" y="410"/>
                    <a:pt x="329" y="410"/>
                    <a:pt x="329" y="410"/>
                  </a:cubicBezTo>
                  <a:cubicBezTo>
                    <a:pt x="499" y="410"/>
                    <a:pt x="499" y="410"/>
                    <a:pt x="499" y="410"/>
                  </a:cubicBezTo>
                  <a:lnTo>
                    <a:pt x="499" y="455"/>
                  </a:lnTo>
                  <a:close/>
                  <a:moveTo>
                    <a:pt x="499" y="349"/>
                  </a:moveTo>
                  <a:cubicBezTo>
                    <a:pt x="329" y="349"/>
                    <a:pt x="329" y="349"/>
                    <a:pt x="329" y="349"/>
                  </a:cubicBezTo>
                  <a:cubicBezTo>
                    <a:pt x="75" y="349"/>
                    <a:pt x="75" y="349"/>
                    <a:pt x="75" y="349"/>
                  </a:cubicBezTo>
                  <a:cubicBezTo>
                    <a:pt x="75" y="304"/>
                    <a:pt x="75" y="304"/>
                    <a:pt x="75" y="304"/>
                  </a:cubicBezTo>
                  <a:cubicBezTo>
                    <a:pt x="329" y="304"/>
                    <a:pt x="329" y="304"/>
                    <a:pt x="329" y="304"/>
                  </a:cubicBezTo>
                  <a:cubicBezTo>
                    <a:pt x="499" y="304"/>
                    <a:pt x="499" y="304"/>
                    <a:pt x="499" y="304"/>
                  </a:cubicBezTo>
                  <a:lnTo>
                    <a:pt x="499" y="34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prstClr val="black"/>
                </a:solidFill>
              </a:endParaRPr>
            </a:p>
          </p:txBody>
        </p:sp>
        <p:sp>
          <p:nvSpPr>
            <p:cNvPr id="183" name="Freeform 20"/>
            <p:cNvSpPr>
              <a:spLocks/>
            </p:cNvSpPr>
            <p:nvPr/>
          </p:nvSpPr>
          <p:spPr bwMode="auto">
            <a:xfrm>
              <a:off x="9266238" y="-3175001"/>
              <a:ext cx="428625" cy="430213"/>
            </a:xfrm>
            <a:custGeom>
              <a:avLst/>
              <a:gdLst>
                <a:gd name="T0" fmla="*/ 0 w 270"/>
                <a:gd name="T1" fmla="*/ 0 h 271"/>
                <a:gd name="T2" fmla="*/ 0 w 270"/>
                <a:gd name="T3" fmla="*/ 271 h 271"/>
                <a:gd name="T4" fmla="*/ 270 w 270"/>
                <a:gd name="T5" fmla="*/ 271 h 271"/>
                <a:gd name="T6" fmla="*/ 0 w 270"/>
                <a:gd name="T7" fmla="*/ 0 h 271"/>
              </a:gdLst>
              <a:ahLst/>
              <a:cxnLst>
                <a:cxn ang="0">
                  <a:pos x="T0" y="T1"/>
                </a:cxn>
                <a:cxn ang="0">
                  <a:pos x="T2" y="T3"/>
                </a:cxn>
                <a:cxn ang="0">
                  <a:pos x="T4" y="T5"/>
                </a:cxn>
                <a:cxn ang="0">
                  <a:pos x="T6" y="T7"/>
                </a:cxn>
              </a:cxnLst>
              <a:rect l="0" t="0" r="r" b="b"/>
              <a:pathLst>
                <a:path w="270" h="271">
                  <a:moveTo>
                    <a:pt x="0" y="0"/>
                  </a:moveTo>
                  <a:lnTo>
                    <a:pt x="0" y="271"/>
                  </a:lnTo>
                  <a:lnTo>
                    <a:pt x="270" y="271"/>
                  </a:lnTo>
                  <a:lnTo>
                    <a:pt x="0"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prstClr val="black"/>
                </a:solidFill>
              </a:endParaRPr>
            </a:p>
          </p:txBody>
        </p:sp>
      </p:grpSp>
      <p:sp>
        <p:nvSpPr>
          <p:cNvPr id="83" name="Rectangle 82"/>
          <p:cNvSpPr/>
          <p:nvPr/>
        </p:nvSpPr>
        <p:spPr>
          <a:xfrm>
            <a:off x="275146" y="1638851"/>
            <a:ext cx="3540376" cy="3585190"/>
          </a:xfrm>
          <a:prstGeom prst="rect">
            <a:avLst/>
          </a:prstGeom>
          <a:solidFill>
            <a:srgbClr val="0078D7">
              <a:alpha val="90000"/>
            </a:srgbClr>
          </a:solid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2353" dirty="0">
                <a:solidFill>
                  <a:prstClr val="white"/>
                </a:solidFill>
                <a:latin typeface="Segoe UI Light"/>
              </a:rPr>
              <a:t>You have things…</a:t>
            </a:r>
          </a:p>
        </p:txBody>
      </p:sp>
      <p:grpSp>
        <p:nvGrpSpPr>
          <p:cNvPr id="9" name="Group 8"/>
          <p:cNvGrpSpPr/>
          <p:nvPr/>
        </p:nvGrpSpPr>
        <p:grpSpPr>
          <a:xfrm>
            <a:off x="2026188" y="2187459"/>
            <a:ext cx="1784254" cy="2811043"/>
            <a:chOff x="2025610" y="2187283"/>
            <a:chExt cx="1784507" cy="2811441"/>
          </a:xfrm>
          <a:solidFill>
            <a:schemeClr val="bg1">
              <a:lumMod val="95000"/>
            </a:schemeClr>
          </a:solidFill>
        </p:grpSpPr>
        <p:sp>
          <p:nvSpPr>
            <p:cNvPr id="107" name="Rectangle 106"/>
            <p:cNvSpPr/>
            <p:nvPr/>
          </p:nvSpPr>
          <p:spPr>
            <a:xfrm>
              <a:off x="2025610" y="2187283"/>
              <a:ext cx="1784507" cy="61667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1100" dirty="0">
                  <a:solidFill>
                    <a:prstClr val="white"/>
                  </a:solidFill>
                  <a:ea typeface="Segoe UI" panose="020B0502040204020203" pitchFamily="34" charset="0"/>
                  <a:cs typeface="Segoe UI" panose="020B0502040204020203" pitchFamily="34" charset="0"/>
                </a:rPr>
                <a:t>Other devices &amp; </a:t>
              </a:r>
              <a:br>
                <a:rPr lang="en-US" sz="1100" dirty="0">
                  <a:solidFill>
                    <a:prstClr val="white"/>
                  </a:solidFill>
                  <a:ea typeface="Segoe UI" panose="020B0502040204020203" pitchFamily="34" charset="0"/>
                  <a:cs typeface="Segoe UI" panose="020B0502040204020203" pitchFamily="34" charset="0"/>
                </a:rPr>
              </a:br>
              <a:r>
                <a:rPr lang="en-US" sz="1100" dirty="0">
                  <a:solidFill>
                    <a:prstClr val="white"/>
                  </a:solidFill>
                  <a:ea typeface="Segoe UI" panose="020B0502040204020203" pitchFamily="34" charset="0"/>
                  <a:cs typeface="Segoe UI" panose="020B0502040204020203" pitchFamily="34" charset="0"/>
                </a:rPr>
                <a:t>line-of-business assets</a:t>
              </a:r>
            </a:p>
          </p:txBody>
        </p:sp>
        <p:grpSp>
          <p:nvGrpSpPr>
            <p:cNvPr id="151" name="Group 150"/>
            <p:cNvGrpSpPr/>
            <p:nvPr/>
          </p:nvGrpSpPr>
          <p:grpSpPr>
            <a:xfrm>
              <a:off x="2227924" y="4432229"/>
              <a:ext cx="498087" cy="566495"/>
              <a:chOff x="471215" y="3809831"/>
              <a:chExt cx="550717" cy="626353"/>
            </a:xfrm>
            <a:grpFill/>
          </p:grpSpPr>
          <p:pic>
            <p:nvPicPr>
              <p:cNvPr id="150" name="Picture 149"/>
              <p:cNvPicPr>
                <a:picLocks noChangeAspect="1"/>
              </p:cNvPicPr>
              <p:nvPr/>
            </p:nvPicPr>
            <p:blipFill>
              <a:blip r:embed="rId6"/>
              <a:stretch>
                <a:fillRect/>
              </a:stretch>
            </p:blipFill>
            <p:spPr>
              <a:xfrm>
                <a:off x="471215" y="3932110"/>
                <a:ext cx="273784" cy="319415"/>
              </a:xfrm>
              <a:prstGeom prst="rect">
                <a:avLst/>
              </a:prstGeom>
              <a:noFill/>
            </p:spPr>
          </p:pic>
          <p:sp>
            <p:nvSpPr>
              <p:cNvPr id="120" name="Freeform 119"/>
              <p:cNvSpPr>
                <a:spLocks noChangeAspect="1" noEditPoints="1"/>
              </p:cNvSpPr>
              <p:nvPr/>
            </p:nvSpPr>
            <p:spPr bwMode="auto">
              <a:xfrm>
                <a:off x="781564" y="4148967"/>
                <a:ext cx="240368" cy="287217"/>
              </a:xfrm>
              <a:custGeom>
                <a:avLst/>
                <a:gdLst>
                  <a:gd name="T0" fmla="*/ 532 w 1063"/>
                  <a:gd name="T1" fmla="*/ 78 h 1245"/>
                  <a:gd name="T2" fmla="*/ 673 w 1063"/>
                  <a:gd name="T3" fmla="*/ 104 h 1245"/>
                  <a:gd name="T4" fmla="*/ 736 w 1063"/>
                  <a:gd name="T5" fmla="*/ 6 h 1245"/>
                  <a:gd name="T6" fmla="*/ 752 w 1063"/>
                  <a:gd name="T7" fmla="*/ 3 h 1245"/>
                  <a:gd name="T8" fmla="*/ 755 w 1063"/>
                  <a:gd name="T9" fmla="*/ 19 h 1245"/>
                  <a:gd name="T10" fmla="*/ 694 w 1063"/>
                  <a:gd name="T11" fmla="*/ 113 h 1245"/>
                  <a:gd name="T12" fmla="*/ 866 w 1063"/>
                  <a:gd name="T13" fmla="*/ 350 h 1245"/>
                  <a:gd name="T14" fmla="*/ 197 w 1063"/>
                  <a:gd name="T15" fmla="*/ 350 h 1245"/>
                  <a:gd name="T16" fmla="*/ 369 w 1063"/>
                  <a:gd name="T17" fmla="*/ 113 h 1245"/>
                  <a:gd name="T18" fmla="*/ 308 w 1063"/>
                  <a:gd name="T19" fmla="*/ 19 h 1245"/>
                  <a:gd name="T20" fmla="*/ 311 w 1063"/>
                  <a:gd name="T21" fmla="*/ 3 h 1245"/>
                  <a:gd name="T22" fmla="*/ 327 w 1063"/>
                  <a:gd name="T23" fmla="*/ 6 h 1245"/>
                  <a:gd name="T24" fmla="*/ 390 w 1063"/>
                  <a:gd name="T25" fmla="*/ 104 h 1245"/>
                  <a:gd name="T26" fmla="*/ 532 w 1063"/>
                  <a:gd name="T27" fmla="*/ 78 h 1245"/>
                  <a:gd name="T28" fmla="*/ 471 w 1063"/>
                  <a:gd name="T29" fmla="*/ 1003 h 1245"/>
                  <a:gd name="T30" fmla="*/ 471 w 1063"/>
                  <a:gd name="T31" fmla="*/ 1170 h 1245"/>
                  <a:gd name="T32" fmla="*/ 396 w 1063"/>
                  <a:gd name="T33" fmla="*/ 1245 h 1245"/>
                  <a:gd name="T34" fmla="*/ 396 w 1063"/>
                  <a:gd name="T35" fmla="*/ 1245 h 1245"/>
                  <a:gd name="T36" fmla="*/ 321 w 1063"/>
                  <a:gd name="T37" fmla="*/ 1170 h 1245"/>
                  <a:gd name="T38" fmla="*/ 321 w 1063"/>
                  <a:gd name="T39" fmla="*/ 1003 h 1245"/>
                  <a:gd name="T40" fmla="*/ 258 w 1063"/>
                  <a:gd name="T41" fmla="*/ 1003 h 1245"/>
                  <a:gd name="T42" fmla="*/ 197 w 1063"/>
                  <a:gd name="T43" fmla="*/ 943 h 1245"/>
                  <a:gd name="T44" fmla="*/ 197 w 1063"/>
                  <a:gd name="T45" fmla="*/ 395 h 1245"/>
                  <a:gd name="T46" fmla="*/ 867 w 1063"/>
                  <a:gd name="T47" fmla="*/ 395 h 1245"/>
                  <a:gd name="T48" fmla="*/ 867 w 1063"/>
                  <a:gd name="T49" fmla="*/ 943 h 1245"/>
                  <a:gd name="T50" fmla="*/ 806 w 1063"/>
                  <a:gd name="T51" fmla="*/ 1003 h 1245"/>
                  <a:gd name="T52" fmla="*/ 743 w 1063"/>
                  <a:gd name="T53" fmla="*/ 1003 h 1245"/>
                  <a:gd name="T54" fmla="*/ 743 w 1063"/>
                  <a:gd name="T55" fmla="*/ 1170 h 1245"/>
                  <a:gd name="T56" fmla="*/ 668 w 1063"/>
                  <a:gd name="T57" fmla="*/ 1245 h 1245"/>
                  <a:gd name="T58" fmla="*/ 668 w 1063"/>
                  <a:gd name="T59" fmla="*/ 1245 h 1245"/>
                  <a:gd name="T60" fmla="*/ 593 w 1063"/>
                  <a:gd name="T61" fmla="*/ 1170 h 1245"/>
                  <a:gd name="T62" fmla="*/ 593 w 1063"/>
                  <a:gd name="T63" fmla="*/ 1003 h 1245"/>
                  <a:gd name="T64" fmla="*/ 471 w 1063"/>
                  <a:gd name="T65" fmla="*/ 1003 h 1245"/>
                  <a:gd name="T66" fmla="*/ 75 w 1063"/>
                  <a:gd name="T67" fmla="*/ 398 h 1245"/>
                  <a:gd name="T68" fmla="*/ 75 w 1063"/>
                  <a:gd name="T69" fmla="*/ 398 h 1245"/>
                  <a:gd name="T70" fmla="*/ 151 w 1063"/>
                  <a:gd name="T71" fmla="*/ 473 h 1245"/>
                  <a:gd name="T72" fmla="*/ 151 w 1063"/>
                  <a:gd name="T73" fmla="*/ 773 h 1245"/>
                  <a:gd name="T74" fmla="*/ 75 w 1063"/>
                  <a:gd name="T75" fmla="*/ 849 h 1245"/>
                  <a:gd name="T76" fmla="*/ 75 w 1063"/>
                  <a:gd name="T77" fmla="*/ 849 h 1245"/>
                  <a:gd name="T78" fmla="*/ 0 w 1063"/>
                  <a:gd name="T79" fmla="*/ 773 h 1245"/>
                  <a:gd name="T80" fmla="*/ 0 w 1063"/>
                  <a:gd name="T81" fmla="*/ 473 h 1245"/>
                  <a:gd name="T82" fmla="*/ 75 w 1063"/>
                  <a:gd name="T83" fmla="*/ 398 h 1245"/>
                  <a:gd name="T84" fmla="*/ 988 w 1063"/>
                  <a:gd name="T85" fmla="*/ 398 h 1245"/>
                  <a:gd name="T86" fmla="*/ 988 w 1063"/>
                  <a:gd name="T87" fmla="*/ 398 h 1245"/>
                  <a:gd name="T88" fmla="*/ 1063 w 1063"/>
                  <a:gd name="T89" fmla="*/ 473 h 1245"/>
                  <a:gd name="T90" fmla="*/ 1063 w 1063"/>
                  <a:gd name="T91" fmla="*/ 773 h 1245"/>
                  <a:gd name="T92" fmla="*/ 988 w 1063"/>
                  <a:gd name="T93" fmla="*/ 849 h 1245"/>
                  <a:gd name="T94" fmla="*/ 988 w 1063"/>
                  <a:gd name="T95" fmla="*/ 849 h 1245"/>
                  <a:gd name="T96" fmla="*/ 913 w 1063"/>
                  <a:gd name="T97" fmla="*/ 773 h 1245"/>
                  <a:gd name="T98" fmla="*/ 913 w 1063"/>
                  <a:gd name="T99" fmla="*/ 473 h 1245"/>
                  <a:gd name="T100" fmla="*/ 988 w 1063"/>
                  <a:gd name="T101" fmla="*/ 398 h 1245"/>
                  <a:gd name="T102" fmla="*/ 387 w 1063"/>
                  <a:gd name="T103" fmla="*/ 180 h 1245"/>
                  <a:gd name="T104" fmla="*/ 426 w 1063"/>
                  <a:gd name="T105" fmla="*/ 218 h 1245"/>
                  <a:gd name="T106" fmla="*/ 387 w 1063"/>
                  <a:gd name="T107" fmla="*/ 256 h 1245"/>
                  <a:gd name="T108" fmla="*/ 349 w 1063"/>
                  <a:gd name="T109" fmla="*/ 218 h 1245"/>
                  <a:gd name="T110" fmla="*/ 387 w 1063"/>
                  <a:gd name="T111" fmla="*/ 180 h 1245"/>
                  <a:gd name="T112" fmla="*/ 676 w 1063"/>
                  <a:gd name="T113" fmla="*/ 180 h 1245"/>
                  <a:gd name="T114" fmla="*/ 715 w 1063"/>
                  <a:gd name="T115" fmla="*/ 218 h 1245"/>
                  <a:gd name="T116" fmla="*/ 676 w 1063"/>
                  <a:gd name="T117" fmla="*/ 256 h 1245"/>
                  <a:gd name="T118" fmla="*/ 638 w 1063"/>
                  <a:gd name="T119" fmla="*/ 218 h 1245"/>
                  <a:gd name="T120" fmla="*/ 676 w 1063"/>
                  <a:gd name="T121" fmla="*/ 180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63" h="1245">
                    <a:moveTo>
                      <a:pt x="532" y="78"/>
                    </a:moveTo>
                    <a:cubicBezTo>
                      <a:pt x="582" y="78"/>
                      <a:pt x="630" y="87"/>
                      <a:pt x="673" y="104"/>
                    </a:cubicBezTo>
                    <a:cubicBezTo>
                      <a:pt x="736" y="6"/>
                      <a:pt x="736" y="6"/>
                      <a:pt x="736" y="6"/>
                    </a:cubicBezTo>
                    <a:cubicBezTo>
                      <a:pt x="740" y="1"/>
                      <a:pt x="747" y="0"/>
                      <a:pt x="752" y="3"/>
                    </a:cubicBezTo>
                    <a:cubicBezTo>
                      <a:pt x="757" y="6"/>
                      <a:pt x="759" y="13"/>
                      <a:pt x="755" y="19"/>
                    </a:cubicBezTo>
                    <a:cubicBezTo>
                      <a:pt x="694" y="113"/>
                      <a:pt x="694" y="113"/>
                      <a:pt x="694" y="113"/>
                    </a:cubicBezTo>
                    <a:cubicBezTo>
                      <a:pt x="795" y="159"/>
                      <a:pt x="864" y="248"/>
                      <a:pt x="866" y="350"/>
                    </a:cubicBezTo>
                    <a:cubicBezTo>
                      <a:pt x="197" y="350"/>
                      <a:pt x="197" y="350"/>
                      <a:pt x="197" y="350"/>
                    </a:cubicBezTo>
                    <a:cubicBezTo>
                      <a:pt x="199" y="248"/>
                      <a:pt x="268" y="159"/>
                      <a:pt x="369" y="113"/>
                    </a:cubicBezTo>
                    <a:cubicBezTo>
                      <a:pt x="308" y="19"/>
                      <a:pt x="308" y="19"/>
                      <a:pt x="308" y="19"/>
                    </a:cubicBezTo>
                    <a:cubicBezTo>
                      <a:pt x="305" y="13"/>
                      <a:pt x="306" y="6"/>
                      <a:pt x="311" y="3"/>
                    </a:cubicBezTo>
                    <a:cubicBezTo>
                      <a:pt x="317" y="0"/>
                      <a:pt x="324" y="1"/>
                      <a:pt x="327" y="6"/>
                    </a:cubicBezTo>
                    <a:cubicBezTo>
                      <a:pt x="390" y="104"/>
                      <a:pt x="390" y="104"/>
                      <a:pt x="390" y="104"/>
                    </a:cubicBezTo>
                    <a:cubicBezTo>
                      <a:pt x="433" y="87"/>
                      <a:pt x="481" y="78"/>
                      <a:pt x="532" y="78"/>
                    </a:cubicBezTo>
                    <a:close/>
                    <a:moveTo>
                      <a:pt x="471" y="1003"/>
                    </a:moveTo>
                    <a:cubicBezTo>
                      <a:pt x="471" y="1170"/>
                      <a:pt x="471" y="1170"/>
                      <a:pt x="471" y="1170"/>
                    </a:cubicBezTo>
                    <a:cubicBezTo>
                      <a:pt x="471" y="1212"/>
                      <a:pt x="437" y="1245"/>
                      <a:pt x="396" y="1245"/>
                    </a:cubicBezTo>
                    <a:cubicBezTo>
                      <a:pt x="396" y="1245"/>
                      <a:pt x="396" y="1245"/>
                      <a:pt x="396" y="1245"/>
                    </a:cubicBezTo>
                    <a:cubicBezTo>
                      <a:pt x="354" y="1245"/>
                      <a:pt x="321" y="1212"/>
                      <a:pt x="321" y="1170"/>
                    </a:cubicBezTo>
                    <a:cubicBezTo>
                      <a:pt x="321" y="1003"/>
                      <a:pt x="321" y="1003"/>
                      <a:pt x="321" y="1003"/>
                    </a:cubicBezTo>
                    <a:cubicBezTo>
                      <a:pt x="258" y="1003"/>
                      <a:pt x="258" y="1003"/>
                      <a:pt x="258" y="1003"/>
                    </a:cubicBezTo>
                    <a:cubicBezTo>
                      <a:pt x="224" y="1003"/>
                      <a:pt x="197" y="976"/>
                      <a:pt x="197" y="943"/>
                    </a:cubicBezTo>
                    <a:cubicBezTo>
                      <a:pt x="197" y="395"/>
                      <a:pt x="197" y="395"/>
                      <a:pt x="197" y="395"/>
                    </a:cubicBezTo>
                    <a:cubicBezTo>
                      <a:pt x="867" y="395"/>
                      <a:pt x="867" y="395"/>
                      <a:pt x="867" y="395"/>
                    </a:cubicBezTo>
                    <a:cubicBezTo>
                      <a:pt x="867" y="943"/>
                      <a:pt x="867" y="943"/>
                      <a:pt x="867" y="943"/>
                    </a:cubicBezTo>
                    <a:cubicBezTo>
                      <a:pt x="867" y="976"/>
                      <a:pt x="839" y="1003"/>
                      <a:pt x="806" y="1003"/>
                    </a:cubicBezTo>
                    <a:cubicBezTo>
                      <a:pt x="743" y="1003"/>
                      <a:pt x="743" y="1003"/>
                      <a:pt x="743" y="1003"/>
                    </a:cubicBezTo>
                    <a:cubicBezTo>
                      <a:pt x="743" y="1170"/>
                      <a:pt x="743" y="1170"/>
                      <a:pt x="743" y="1170"/>
                    </a:cubicBezTo>
                    <a:cubicBezTo>
                      <a:pt x="743" y="1212"/>
                      <a:pt x="709" y="1245"/>
                      <a:pt x="668" y="1245"/>
                    </a:cubicBezTo>
                    <a:cubicBezTo>
                      <a:pt x="668" y="1245"/>
                      <a:pt x="668" y="1245"/>
                      <a:pt x="668" y="1245"/>
                    </a:cubicBezTo>
                    <a:cubicBezTo>
                      <a:pt x="627" y="1245"/>
                      <a:pt x="593" y="1212"/>
                      <a:pt x="593" y="1170"/>
                    </a:cubicBezTo>
                    <a:cubicBezTo>
                      <a:pt x="593" y="1003"/>
                      <a:pt x="593" y="1003"/>
                      <a:pt x="593" y="1003"/>
                    </a:cubicBezTo>
                    <a:cubicBezTo>
                      <a:pt x="471" y="1003"/>
                      <a:pt x="471" y="1003"/>
                      <a:pt x="471" y="1003"/>
                    </a:cubicBezTo>
                    <a:close/>
                    <a:moveTo>
                      <a:pt x="75" y="398"/>
                    </a:moveTo>
                    <a:cubicBezTo>
                      <a:pt x="75" y="398"/>
                      <a:pt x="75" y="398"/>
                      <a:pt x="75" y="398"/>
                    </a:cubicBezTo>
                    <a:cubicBezTo>
                      <a:pt x="117" y="398"/>
                      <a:pt x="151" y="432"/>
                      <a:pt x="151" y="473"/>
                    </a:cubicBezTo>
                    <a:cubicBezTo>
                      <a:pt x="151" y="773"/>
                      <a:pt x="151" y="773"/>
                      <a:pt x="151" y="773"/>
                    </a:cubicBezTo>
                    <a:cubicBezTo>
                      <a:pt x="151" y="815"/>
                      <a:pt x="117" y="849"/>
                      <a:pt x="75" y="849"/>
                    </a:cubicBezTo>
                    <a:cubicBezTo>
                      <a:pt x="75" y="849"/>
                      <a:pt x="75" y="849"/>
                      <a:pt x="75" y="849"/>
                    </a:cubicBezTo>
                    <a:cubicBezTo>
                      <a:pt x="34" y="849"/>
                      <a:pt x="0" y="815"/>
                      <a:pt x="0" y="773"/>
                    </a:cubicBezTo>
                    <a:cubicBezTo>
                      <a:pt x="0" y="473"/>
                      <a:pt x="0" y="473"/>
                      <a:pt x="0" y="473"/>
                    </a:cubicBezTo>
                    <a:cubicBezTo>
                      <a:pt x="0" y="432"/>
                      <a:pt x="34" y="398"/>
                      <a:pt x="75" y="398"/>
                    </a:cubicBezTo>
                    <a:close/>
                    <a:moveTo>
                      <a:pt x="988" y="398"/>
                    </a:moveTo>
                    <a:cubicBezTo>
                      <a:pt x="988" y="398"/>
                      <a:pt x="988" y="398"/>
                      <a:pt x="988" y="398"/>
                    </a:cubicBezTo>
                    <a:cubicBezTo>
                      <a:pt x="1029" y="398"/>
                      <a:pt x="1063" y="432"/>
                      <a:pt x="1063" y="473"/>
                    </a:cubicBezTo>
                    <a:cubicBezTo>
                      <a:pt x="1063" y="773"/>
                      <a:pt x="1063" y="773"/>
                      <a:pt x="1063" y="773"/>
                    </a:cubicBezTo>
                    <a:cubicBezTo>
                      <a:pt x="1063" y="815"/>
                      <a:pt x="1029" y="849"/>
                      <a:pt x="988" y="849"/>
                    </a:cubicBezTo>
                    <a:cubicBezTo>
                      <a:pt x="988" y="849"/>
                      <a:pt x="988" y="849"/>
                      <a:pt x="988" y="849"/>
                    </a:cubicBezTo>
                    <a:cubicBezTo>
                      <a:pt x="947" y="849"/>
                      <a:pt x="913" y="815"/>
                      <a:pt x="913" y="773"/>
                    </a:cubicBezTo>
                    <a:cubicBezTo>
                      <a:pt x="913" y="473"/>
                      <a:pt x="913" y="473"/>
                      <a:pt x="913" y="473"/>
                    </a:cubicBezTo>
                    <a:cubicBezTo>
                      <a:pt x="913" y="432"/>
                      <a:pt x="947" y="398"/>
                      <a:pt x="988" y="398"/>
                    </a:cubicBezTo>
                    <a:close/>
                    <a:moveTo>
                      <a:pt x="387" y="180"/>
                    </a:moveTo>
                    <a:cubicBezTo>
                      <a:pt x="408" y="180"/>
                      <a:pt x="426" y="197"/>
                      <a:pt x="426" y="218"/>
                    </a:cubicBezTo>
                    <a:cubicBezTo>
                      <a:pt x="426" y="239"/>
                      <a:pt x="408" y="256"/>
                      <a:pt x="387" y="256"/>
                    </a:cubicBezTo>
                    <a:cubicBezTo>
                      <a:pt x="366" y="256"/>
                      <a:pt x="349" y="239"/>
                      <a:pt x="349" y="218"/>
                    </a:cubicBezTo>
                    <a:cubicBezTo>
                      <a:pt x="349" y="197"/>
                      <a:pt x="366" y="180"/>
                      <a:pt x="387" y="180"/>
                    </a:cubicBezTo>
                    <a:close/>
                    <a:moveTo>
                      <a:pt x="676" y="180"/>
                    </a:moveTo>
                    <a:cubicBezTo>
                      <a:pt x="698" y="180"/>
                      <a:pt x="715" y="197"/>
                      <a:pt x="715" y="218"/>
                    </a:cubicBezTo>
                    <a:cubicBezTo>
                      <a:pt x="715" y="239"/>
                      <a:pt x="698" y="256"/>
                      <a:pt x="676" y="256"/>
                    </a:cubicBezTo>
                    <a:cubicBezTo>
                      <a:pt x="655" y="256"/>
                      <a:pt x="638" y="239"/>
                      <a:pt x="638" y="218"/>
                    </a:cubicBezTo>
                    <a:cubicBezTo>
                      <a:pt x="638" y="197"/>
                      <a:pt x="655" y="180"/>
                      <a:pt x="676" y="180"/>
                    </a:cubicBezTo>
                    <a:close/>
                  </a:path>
                </a:pathLst>
              </a:custGeom>
              <a:grpFill/>
              <a:ln>
                <a:noFill/>
              </a:ln>
              <a:extLst/>
            </p:spPr>
            <p:txBody>
              <a:bodyPr vert="horz" wrap="square" lIns="87845" tIns="43921" rIns="87845" bIns="43921" numCol="1" anchor="t" anchorCtr="0" compatLnSpc="1">
                <a:prstTxWarp prst="textNoShape">
                  <a:avLst/>
                </a:prstTxWarp>
              </a:bodyPr>
              <a:lstStyle/>
              <a:p>
                <a:pPr defTabSz="896181"/>
                <a:endParaRPr lang="en-US" sz="1729">
                  <a:solidFill>
                    <a:prstClr val="black"/>
                  </a:solidFill>
                </a:endParaRPr>
              </a:p>
            </p:txBody>
          </p:sp>
          <p:grpSp>
            <p:nvGrpSpPr>
              <p:cNvPr id="121" name="Group 120"/>
              <p:cNvGrpSpPr/>
              <p:nvPr/>
            </p:nvGrpSpPr>
            <p:grpSpPr>
              <a:xfrm>
                <a:off x="797730" y="3809831"/>
                <a:ext cx="215490" cy="273312"/>
                <a:chOff x="710246" y="3955639"/>
                <a:chExt cx="215490" cy="273312"/>
              </a:xfrm>
              <a:grpFill/>
            </p:grpSpPr>
            <p:sp>
              <p:nvSpPr>
                <p:cNvPr id="122" name="Freeform 11"/>
                <p:cNvSpPr>
                  <a:spLocks/>
                </p:cNvSpPr>
                <p:nvPr/>
              </p:nvSpPr>
              <p:spPr bwMode="auto">
                <a:xfrm>
                  <a:off x="710246" y="4024177"/>
                  <a:ext cx="215490" cy="204774"/>
                </a:xfrm>
                <a:custGeom>
                  <a:avLst/>
                  <a:gdLst>
                    <a:gd name="T0" fmla="*/ 467 w 485"/>
                    <a:gd name="T1" fmla="*/ 57 h 454"/>
                    <a:gd name="T2" fmla="*/ 365 w 485"/>
                    <a:gd name="T3" fmla="*/ 0 h 454"/>
                    <a:gd name="T4" fmla="*/ 257 w 485"/>
                    <a:gd name="T5" fmla="*/ 33 h 454"/>
                    <a:gd name="T6" fmla="*/ 165 w 485"/>
                    <a:gd name="T7" fmla="*/ 2 h 454"/>
                    <a:gd name="T8" fmla="*/ 0 w 485"/>
                    <a:gd name="T9" fmla="*/ 172 h 454"/>
                    <a:gd name="T10" fmla="*/ 54 w 485"/>
                    <a:gd name="T11" fmla="*/ 371 h 454"/>
                    <a:gd name="T12" fmla="*/ 153 w 485"/>
                    <a:gd name="T13" fmla="*/ 454 h 454"/>
                    <a:gd name="T14" fmla="*/ 250 w 485"/>
                    <a:gd name="T15" fmla="*/ 429 h 454"/>
                    <a:gd name="T16" fmla="*/ 345 w 485"/>
                    <a:gd name="T17" fmla="*/ 452 h 454"/>
                    <a:gd name="T18" fmla="*/ 485 w 485"/>
                    <a:gd name="T19" fmla="*/ 294 h 454"/>
                    <a:gd name="T20" fmla="*/ 484 w 485"/>
                    <a:gd name="T21" fmla="*/ 286 h 454"/>
                    <a:gd name="T22" fmla="*/ 484 w 485"/>
                    <a:gd name="T23" fmla="*/ 282 h 454"/>
                    <a:gd name="T24" fmla="*/ 411 w 485"/>
                    <a:gd name="T25" fmla="*/ 165 h 454"/>
                    <a:gd name="T26" fmla="*/ 465 w 485"/>
                    <a:gd name="T27" fmla="*/ 58 h 454"/>
                    <a:gd name="T28" fmla="*/ 467 w 485"/>
                    <a:gd name="T29" fmla="*/ 57 h 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5" h="454">
                      <a:moveTo>
                        <a:pt x="467" y="57"/>
                      </a:moveTo>
                      <a:cubicBezTo>
                        <a:pt x="444" y="29"/>
                        <a:pt x="413" y="0"/>
                        <a:pt x="365" y="0"/>
                      </a:cubicBezTo>
                      <a:cubicBezTo>
                        <a:pt x="331" y="0"/>
                        <a:pt x="303" y="33"/>
                        <a:pt x="257" y="33"/>
                      </a:cubicBezTo>
                      <a:cubicBezTo>
                        <a:pt x="220" y="33"/>
                        <a:pt x="205" y="2"/>
                        <a:pt x="165" y="2"/>
                      </a:cubicBezTo>
                      <a:cubicBezTo>
                        <a:pt x="82" y="2"/>
                        <a:pt x="0" y="76"/>
                        <a:pt x="0" y="172"/>
                      </a:cubicBezTo>
                      <a:cubicBezTo>
                        <a:pt x="0" y="223"/>
                        <a:pt x="17" y="302"/>
                        <a:pt x="54" y="371"/>
                      </a:cubicBezTo>
                      <a:cubicBezTo>
                        <a:pt x="82" y="421"/>
                        <a:pt x="115" y="454"/>
                        <a:pt x="153" y="454"/>
                      </a:cubicBezTo>
                      <a:cubicBezTo>
                        <a:pt x="180" y="454"/>
                        <a:pt x="212" y="429"/>
                        <a:pt x="250" y="429"/>
                      </a:cubicBezTo>
                      <a:cubicBezTo>
                        <a:pt x="283" y="429"/>
                        <a:pt x="315" y="452"/>
                        <a:pt x="345" y="452"/>
                      </a:cubicBezTo>
                      <a:cubicBezTo>
                        <a:pt x="417" y="452"/>
                        <a:pt x="485" y="357"/>
                        <a:pt x="485" y="294"/>
                      </a:cubicBezTo>
                      <a:cubicBezTo>
                        <a:pt x="485" y="291"/>
                        <a:pt x="484" y="289"/>
                        <a:pt x="484" y="286"/>
                      </a:cubicBezTo>
                      <a:cubicBezTo>
                        <a:pt x="484" y="282"/>
                        <a:pt x="484" y="282"/>
                        <a:pt x="484" y="282"/>
                      </a:cubicBezTo>
                      <a:cubicBezTo>
                        <a:pt x="437" y="257"/>
                        <a:pt x="411" y="219"/>
                        <a:pt x="411" y="165"/>
                      </a:cubicBezTo>
                      <a:cubicBezTo>
                        <a:pt x="411" y="121"/>
                        <a:pt x="430" y="83"/>
                        <a:pt x="465" y="58"/>
                      </a:cubicBezTo>
                      <a:cubicBezTo>
                        <a:pt x="467" y="57"/>
                        <a:pt x="467" y="57"/>
                        <a:pt x="467" y="57"/>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45" tIns="43921" rIns="87845" bIns="43921" numCol="1" anchor="t" anchorCtr="0" compatLnSpc="1">
                  <a:prstTxWarp prst="textNoShape">
                    <a:avLst/>
                  </a:prstTxWarp>
                </a:bodyPr>
                <a:lstStyle/>
                <a:p>
                  <a:pPr defTabSz="896181"/>
                  <a:endParaRPr lang="en-US" sz="1729">
                    <a:solidFill>
                      <a:prstClr val="black"/>
                    </a:solidFill>
                  </a:endParaRPr>
                </a:p>
              </p:txBody>
            </p:sp>
            <p:sp>
              <p:nvSpPr>
                <p:cNvPr id="123" name="Freeform 12"/>
                <p:cNvSpPr>
                  <a:spLocks/>
                </p:cNvSpPr>
                <p:nvPr/>
              </p:nvSpPr>
              <p:spPr bwMode="auto">
                <a:xfrm>
                  <a:off x="812135" y="3955639"/>
                  <a:ext cx="47564" cy="68539"/>
                </a:xfrm>
                <a:custGeom>
                  <a:avLst/>
                  <a:gdLst>
                    <a:gd name="T0" fmla="*/ 2 w 107"/>
                    <a:gd name="T1" fmla="*/ 152 h 152"/>
                    <a:gd name="T2" fmla="*/ 107 w 107"/>
                    <a:gd name="T3" fmla="*/ 24 h 152"/>
                    <a:gd name="T4" fmla="*/ 105 w 107"/>
                    <a:gd name="T5" fmla="*/ 3 h 152"/>
                    <a:gd name="T6" fmla="*/ 105 w 107"/>
                    <a:gd name="T7" fmla="*/ 0 h 152"/>
                    <a:gd name="T8" fmla="*/ 0 w 107"/>
                    <a:gd name="T9" fmla="*/ 126 h 152"/>
                    <a:gd name="T10" fmla="*/ 2 w 107"/>
                    <a:gd name="T11" fmla="*/ 149 h 152"/>
                    <a:gd name="T12" fmla="*/ 2 w 107"/>
                    <a:gd name="T13" fmla="*/ 152 h 152"/>
                  </a:gdLst>
                  <a:ahLst/>
                  <a:cxnLst>
                    <a:cxn ang="0">
                      <a:pos x="T0" y="T1"/>
                    </a:cxn>
                    <a:cxn ang="0">
                      <a:pos x="T2" y="T3"/>
                    </a:cxn>
                    <a:cxn ang="0">
                      <a:pos x="T4" y="T5"/>
                    </a:cxn>
                    <a:cxn ang="0">
                      <a:pos x="T6" y="T7"/>
                    </a:cxn>
                    <a:cxn ang="0">
                      <a:pos x="T8" y="T9"/>
                    </a:cxn>
                    <a:cxn ang="0">
                      <a:pos x="T10" y="T11"/>
                    </a:cxn>
                    <a:cxn ang="0">
                      <a:pos x="T12" y="T13"/>
                    </a:cxn>
                  </a:cxnLst>
                  <a:rect l="0" t="0" r="r" b="b"/>
                  <a:pathLst>
                    <a:path w="107" h="152">
                      <a:moveTo>
                        <a:pt x="2" y="152"/>
                      </a:moveTo>
                      <a:cubicBezTo>
                        <a:pt x="57" y="136"/>
                        <a:pt x="107" y="95"/>
                        <a:pt x="107" y="24"/>
                      </a:cubicBezTo>
                      <a:cubicBezTo>
                        <a:pt x="107" y="18"/>
                        <a:pt x="106" y="11"/>
                        <a:pt x="105" y="3"/>
                      </a:cubicBezTo>
                      <a:cubicBezTo>
                        <a:pt x="105" y="0"/>
                        <a:pt x="105" y="0"/>
                        <a:pt x="105" y="0"/>
                      </a:cubicBezTo>
                      <a:cubicBezTo>
                        <a:pt x="50" y="15"/>
                        <a:pt x="0" y="58"/>
                        <a:pt x="0" y="126"/>
                      </a:cubicBezTo>
                      <a:cubicBezTo>
                        <a:pt x="0" y="132"/>
                        <a:pt x="1" y="140"/>
                        <a:pt x="2" y="149"/>
                      </a:cubicBezTo>
                      <a:cubicBezTo>
                        <a:pt x="2" y="152"/>
                        <a:pt x="2" y="152"/>
                        <a:pt x="2"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45" tIns="43921" rIns="87845" bIns="43921" numCol="1" anchor="t" anchorCtr="0" compatLnSpc="1">
                  <a:prstTxWarp prst="textNoShape">
                    <a:avLst/>
                  </a:prstTxWarp>
                </a:bodyPr>
                <a:lstStyle/>
                <a:p>
                  <a:pPr defTabSz="896181"/>
                  <a:endParaRPr lang="en-US" sz="1729">
                    <a:solidFill>
                      <a:prstClr val="black"/>
                    </a:solidFill>
                  </a:endParaRPr>
                </a:p>
              </p:txBody>
            </p:sp>
          </p:grpSp>
        </p:grpSp>
        <p:sp>
          <p:nvSpPr>
            <p:cNvPr id="125" name="Frame 5"/>
            <p:cNvSpPr>
              <a:spLocks noChangeAspect="1"/>
            </p:cNvSpPr>
            <p:nvPr/>
          </p:nvSpPr>
          <p:spPr bwMode="auto">
            <a:xfrm>
              <a:off x="2314371" y="3992145"/>
              <a:ext cx="325193" cy="325106"/>
            </a:xfrm>
            <a:custGeom>
              <a:avLst/>
              <a:gdLst/>
              <a:ahLst/>
              <a:cxnLst/>
              <a:rect l="l" t="t" r="r" b="b"/>
              <a:pathLst>
                <a:path w="914400" h="914400">
                  <a:moveTo>
                    <a:pt x="423625" y="642938"/>
                  </a:moveTo>
                  <a:lnTo>
                    <a:pt x="500064" y="720805"/>
                  </a:lnTo>
                  <a:lnTo>
                    <a:pt x="500064" y="770811"/>
                  </a:lnTo>
                  <a:lnTo>
                    <a:pt x="423625" y="770811"/>
                  </a:lnTo>
                  <a:close/>
                  <a:moveTo>
                    <a:pt x="651511" y="598647"/>
                  </a:moveTo>
                  <a:lnTo>
                    <a:pt x="656512" y="599361"/>
                  </a:lnTo>
                  <a:lnTo>
                    <a:pt x="660798" y="600076"/>
                  </a:lnTo>
                  <a:lnTo>
                    <a:pt x="664370" y="602219"/>
                  </a:lnTo>
                  <a:lnTo>
                    <a:pt x="667942" y="605076"/>
                  </a:lnTo>
                  <a:lnTo>
                    <a:pt x="671514" y="608648"/>
                  </a:lnTo>
                  <a:lnTo>
                    <a:pt x="673657" y="612935"/>
                  </a:lnTo>
                  <a:lnTo>
                    <a:pt x="675086" y="617221"/>
                  </a:lnTo>
                  <a:lnTo>
                    <a:pt x="675800" y="622221"/>
                  </a:lnTo>
                  <a:lnTo>
                    <a:pt x="675086" y="627222"/>
                  </a:lnTo>
                  <a:lnTo>
                    <a:pt x="673657" y="631508"/>
                  </a:lnTo>
                  <a:lnTo>
                    <a:pt x="671514" y="635080"/>
                  </a:lnTo>
                  <a:lnTo>
                    <a:pt x="667942" y="638652"/>
                  </a:lnTo>
                  <a:lnTo>
                    <a:pt x="664370" y="642224"/>
                  </a:lnTo>
                  <a:lnTo>
                    <a:pt x="660798" y="644367"/>
                  </a:lnTo>
                  <a:lnTo>
                    <a:pt x="656512" y="645796"/>
                  </a:lnTo>
                  <a:lnTo>
                    <a:pt x="651511" y="646510"/>
                  </a:lnTo>
                  <a:lnTo>
                    <a:pt x="646510" y="645796"/>
                  </a:lnTo>
                  <a:lnTo>
                    <a:pt x="642224" y="644367"/>
                  </a:lnTo>
                  <a:lnTo>
                    <a:pt x="637937" y="642224"/>
                  </a:lnTo>
                  <a:lnTo>
                    <a:pt x="634365" y="638652"/>
                  </a:lnTo>
                  <a:lnTo>
                    <a:pt x="631508" y="635080"/>
                  </a:lnTo>
                  <a:lnTo>
                    <a:pt x="629365" y="631508"/>
                  </a:lnTo>
                  <a:lnTo>
                    <a:pt x="628650" y="627222"/>
                  </a:lnTo>
                  <a:lnTo>
                    <a:pt x="627936" y="622221"/>
                  </a:lnTo>
                  <a:lnTo>
                    <a:pt x="628650" y="617221"/>
                  </a:lnTo>
                  <a:lnTo>
                    <a:pt x="629365" y="612935"/>
                  </a:lnTo>
                  <a:lnTo>
                    <a:pt x="631508" y="608648"/>
                  </a:lnTo>
                  <a:lnTo>
                    <a:pt x="634365" y="605076"/>
                  </a:lnTo>
                  <a:lnTo>
                    <a:pt x="637937" y="602219"/>
                  </a:lnTo>
                  <a:lnTo>
                    <a:pt x="642224" y="600076"/>
                  </a:lnTo>
                  <a:lnTo>
                    <a:pt x="646510" y="599361"/>
                  </a:lnTo>
                  <a:close/>
                  <a:moveTo>
                    <a:pt x="224314" y="447914"/>
                  </a:moveTo>
                  <a:lnTo>
                    <a:pt x="373619" y="600076"/>
                  </a:lnTo>
                  <a:lnTo>
                    <a:pt x="373619" y="770812"/>
                  </a:lnTo>
                  <a:lnTo>
                    <a:pt x="294323" y="770812"/>
                  </a:lnTo>
                  <a:lnTo>
                    <a:pt x="294323" y="568644"/>
                  </a:lnTo>
                  <a:lnTo>
                    <a:pt x="240030" y="568644"/>
                  </a:lnTo>
                  <a:lnTo>
                    <a:pt x="240030" y="768669"/>
                  </a:lnTo>
                  <a:lnTo>
                    <a:pt x="142161" y="769383"/>
                  </a:lnTo>
                  <a:lnTo>
                    <a:pt x="142161" y="696517"/>
                  </a:lnTo>
                  <a:lnTo>
                    <a:pt x="184309" y="696517"/>
                  </a:lnTo>
                  <a:lnTo>
                    <a:pt x="184309" y="642939"/>
                  </a:lnTo>
                  <a:lnTo>
                    <a:pt x="142161" y="642939"/>
                  </a:lnTo>
                  <a:lnTo>
                    <a:pt x="142161" y="565072"/>
                  </a:lnTo>
                  <a:lnTo>
                    <a:pt x="182166" y="565072"/>
                  </a:lnTo>
                  <a:lnTo>
                    <a:pt x="182166" y="518637"/>
                  </a:lnTo>
                  <a:lnTo>
                    <a:pt x="142161" y="518637"/>
                  </a:lnTo>
                  <a:lnTo>
                    <a:pt x="142161" y="448629"/>
                  </a:lnTo>
                  <a:close/>
                  <a:moveTo>
                    <a:pt x="272891" y="250746"/>
                  </a:moveTo>
                  <a:lnTo>
                    <a:pt x="278606" y="251461"/>
                  </a:lnTo>
                  <a:lnTo>
                    <a:pt x="282892" y="252889"/>
                  </a:lnTo>
                  <a:lnTo>
                    <a:pt x="286464" y="255032"/>
                  </a:lnTo>
                  <a:lnTo>
                    <a:pt x="290036" y="257890"/>
                  </a:lnTo>
                  <a:lnTo>
                    <a:pt x="292894" y="261462"/>
                  </a:lnTo>
                  <a:lnTo>
                    <a:pt x="295037" y="265034"/>
                  </a:lnTo>
                  <a:lnTo>
                    <a:pt x="296466" y="269320"/>
                  </a:lnTo>
                  <a:lnTo>
                    <a:pt x="297180" y="275035"/>
                  </a:lnTo>
                  <a:lnTo>
                    <a:pt x="296466" y="280036"/>
                  </a:lnTo>
                  <a:lnTo>
                    <a:pt x="295037" y="284322"/>
                  </a:lnTo>
                  <a:lnTo>
                    <a:pt x="292894" y="287894"/>
                  </a:lnTo>
                  <a:lnTo>
                    <a:pt x="290036" y="291466"/>
                  </a:lnTo>
                  <a:lnTo>
                    <a:pt x="286464" y="294323"/>
                  </a:lnTo>
                  <a:lnTo>
                    <a:pt x="282892" y="296466"/>
                  </a:lnTo>
                  <a:lnTo>
                    <a:pt x="278606" y="297181"/>
                  </a:lnTo>
                  <a:lnTo>
                    <a:pt x="272891" y="297895"/>
                  </a:lnTo>
                  <a:lnTo>
                    <a:pt x="267890" y="297181"/>
                  </a:lnTo>
                  <a:lnTo>
                    <a:pt x="263604" y="296466"/>
                  </a:lnTo>
                  <a:lnTo>
                    <a:pt x="260032" y="294323"/>
                  </a:lnTo>
                  <a:lnTo>
                    <a:pt x="256460" y="291466"/>
                  </a:lnTo>
                  <a:lnTo>
                    <a:pt x="253603" y="287894"/>
                  </a:lnTo>
                  <a:lnTo>
                    <a:pt x="251459" y="284322"/>
                  </a:lnTo>
                  <a:lnTo>
                    <a:pt x="250031" y="280036"/>
                  </a:lnTo>
                  <a:lnTo>
                    <a:pt x="249316" y="275035"/>
                  </a:lnTo>
                  <a:lnTo>
                    <a:pt x="250031" y="269320"/>
                  </a:lnTo>
                  <a:lnTo>
                    <a:pt x="251459" y="265034"/>
                  </a:lnTo>
                  <a:lnTo>
                    <a:pt x="253603" y="261462"/>
                  </a:lnTo>
                  <a:lnTo>
                    <a:pt x="256460" y="257890"/>
                  </a:lnTo>
                  <a:lnTo>
                    <a:pt x="260032" y="255032"/>
                  </a:lnTo>
                  <a:lnTo>
                    <a:pt x="263604" y="252889"/>
                  </a:lnTo>
                  <a:lnTo>
                    <a:pt x="267890" y="251461"/>
                  </a:lnTo>
                  <a:close/>
                  <a:moveTo>
                    <a:pt x="722947" y="147876"/>
                  </a:moveTo>
                  <a:lnTo>
                    <a:pt x="770811" y="147876"/>
                  </a:lnTo>
                  <a:lnTo>
                    <a:pt x="770811" y="227171"/>
                  </a:lnTo>
                  <a:lnTo>
                    <a:pt x="722947" y="227171"/>
                  </a:lnTo>
                  <a:close/>
                  <a:moveTo>
                    <a:pt x="554355" y="143589"/>
                  </a:moveTo>
                  <a:lnTo>
                    <a:pt x="672227" y="143589"/>
                  </a:lnTo>
                  <a:lnTo>
                    <a:pt x="672941" y="281464"/>
                  </a:lnTo>
                  <a:lnTo>
                    <a:pt x="772239" y="281464"/>
                  </a:lnTo>
                  <a:lnTo>
                    <a:pt x="772239" y="358616"/>
                  </a:lnTo>
                  <a:lnTo>
                    <a:pt x="722947" y="358616"/>
                  </a:lnTo>
                  <a:lnTo>
                    <a:pt x="722947" y="410051"/>
                  </a:lnTo>
                  <a:lnTo>
                    <a:pt x="772239" y="410051"/>
                  </a:lnTo>
                  <a:lnTo>
                    <a:pt x="772239" y="485775"/>
                  </a:lnTo>
                  <a:lnTo>
                    <a:pt x="722947" y="485775"/>
                  </a:lnTo>
                  <a:lnTo>
                    <a:pt x="722947" y="537210"/>
                  </a:lnTo>
                  <a:lnTo>
                    <a:pt x="772239" y="537210"/>
                  </a:lnTo>
                  <a:lnTo>
                    <a:pt x="772239" y="770811"/>
                  </a:lnTo>
                  <a:lnTo>
                    <a:pt x="677942" y="770811"/>
                  </a:lnTo>
                  <a:lnTo>
                    <a:pt x="677942" y="699374"/>
                  </a:lnTo>
                  <a:lnTo>
                    <a:pt x="682228" y="697945"/>
                  </a:lnTo>
                  <a:lnTo>
                    <a:pt x="686514" y="696516"/>
                  </a:lnTo>
                  <a:lnTo>
                    <a:pt x="690086" y="694373"/>
                  </a:lnTo>
                  <a:lnTo>
                    <a:pt x="694372" y="692230"/>
                  </a:lnTo>
                  <a:lnTo>
                    <a:pt x="697944" y="689372"/>
                  </a:lnTo>
                  <a:lnTo>
                    <a:pt x="702230" y="686515"/>
                  </a:lnTo>
                  <a:lnTo>
                    <a:pt x="705802" y="683657"/>
                  </a:lnTo>
                  <a:lnTo>
                    <a:pt x="709374" y="680800"/>
                  </a:lnTo>
                  <a:lnTo>
                    <a:pt x="714375" y="675085"/>
                  </a:lnTo>
                  <a:lnTo>
                    <a:pt x="719375" y="667941"/>
                  </a:lnTo>
                  <a:lnTo>
                    <a:pt x="722947" y="661512"/>
                  </a:lnTo>
                  <a:lnTo>
                    <a:pt x="726519" y="654368"/>
                  </a:lnTo>
                  <a:lnTo>
                    <a:pt x="728662" y="647938"/>
                  </a:lnTo>
                  <a:lnTo>
                    <a:pt x="730805" y="639366"/>
                  </a:lnTo>
                  <a:lnTo>
                    <a:pt x="732234" y="632222"/>
                  </a:lnTo>
                  <a:lnTo>
                    <a:pt x="732948" y="624364"/>
                  </a:lnTo>
                  <a:lnTo>
                    <a:pt x="732234" y="616506"/>
                  </a:lnTo>
                  <a:lnTo>
                    <a:pt x="730805" y="608648"/>
                  </a:lnTo>
                  <a:lnTo>
                    <a:pt x="728662" y="600790"/>
                  </a:lnTo>
                  <a:lnTo>
                    <a:pt x="726519" y="593646"/>
                  </a:lnTo>
                  <a:lnTo>
                    <a:pt x="722947" y="586502"/>
                  </a:lnTo>
                  <a:lnTo>
                    <a:pt x="719375" y="580073"/>
                  </a:lnTo>
                  <a:lnTo>
                    <a:pt x="714375" y="572929"/>
                  </a:lnTo>
                  <a:lnTo>
                    <a:pt x="709374" y="567214"/>
                  </a:lnTo>
                  <a:lnTo>
                    <a:pt x="705802" y="563642"/>
                  </a:lnTo>
                  <a:lnTo>
                    <a:pt x="702230" y="560785"/>
                  </a:lnTo>
                  <a:lnTo>
                    <a:pt x="697230" y="557927"/>
                  </a:lnTo>
                  <a:lnTo>
                    <a:pt x="693658" y="555070"/>
                  </a:lnTo>
                  <a:lnTo>
                    <a:pt x="689372" y="552927"/>
                  </a:lnTo>
                  <a:lnTo>
                    <a:pt x="685085" y="550783"/>
                  </a:lnTo>
                  <a:lnTo>
                    <a:pt x="680085" y="549355"/>
                  </a:lnTo>
                  <a:lnTo>
                    <a:pt x="675799" y="547211"/>
                  </a:lnTo>
                  <a:lnTo>
                    <a:pt x="675084" y="464344"/>
                  </a:lnTo>
                  <a:lnTo>
                    <a:pt x="554355" y="345757"/>
                  </a:lnTo>
                  <a:close/>
                  <a:moveTo>
                    <a:pt x="507920" y="143589"/>
                  </a:moveTo>
                  <a:lnTo>
                    <a:pt x="507920" y="305752"/>
                  </a:lnTo>
                  <a:lnTo>
                    <a:pt x="420766" y="218598"/>
                  </a:lnTo>
                  <a:lnTo>
                    <a:pt x="420766" y="144303"/>
                  </a:lnTo>
                  <a:close/>
                  <a:moveTo>
                    <a:pt x="371476" y="143589"/>
                  </a:moveTo>
                  <a:lnTo>
                    <a:pt x="371476" y="231457"/>
                  </a:lnTo>
                  <a:lnTo>
                    <a:pt x="634366" y="497205"/>
                  </a:lnTo>
                  <a:lnTo>
                    <a:pt x="634366" y="547211"/>
                  </a:lnTo>
                  <a:lnTo>
                    <a:pt x="622221" y="551498"/>
                  </a:lnTo>
                  <a:lnTo>
                    <a:pt x="610791" y="557213"/>
                  </a:lnTo>
                  <a:lnTo>
                    <a:pt x="600076" y="565071"/>
                  </a:lnTo>
                  <a:lnTo>
                    <a:pt x="591503" y="574358"/>
                  </a:lnTo>
                  <a:lnTo>
                    <a:pt x="584360" y="585788"/>
                  </a:lnTo>
                  <a:lnTo>
                    <a:pt x="577930" y="597218"/>
                  </a:lnTo>
                  <a:lnTo>
                    <a:pt x="575073" y="610791"/>
                  </a:lnTo>
                  <a:lnTo>
                    <a:pt x="573644" y="624364"/>
                  </a:lnTo>
                  <a:lnTo>
                    <a:pt x="574358" y="632222"/>
                  </a:lnTo>
                  <a:lnTo>
                    <a:pt x="575073" y="639366"/>
                  </a:lnTo>
                  <a:lnTo>
                    <a:pt x="577216" y="647938"/>
                  </a:lnTo>
                  <a:lnTo>
                    <a:pt x="580073" y="654368"/>
                  </a:lnTo>
                  <a:lnTo>
                    <a:pt x="582931" y="661512"/>
                  </a:lnTo>
                  <a:lnTo>
                    <a:pt x="587217" y="667941"/>
                  </a:lnTo>
                  <a:lnTo>
                    <a:pt x="591503" y="675085"/>
                  </a:lnTo>
                  <a:lnTo>
                    <a:pt x="596504" y="680800"/>
                  </a:lnTo>
                  <a:lnTo>
                    <a:pt x="600790" y="684372"/>
                  </a:lnTo>
                  <a:lnTo>
                    <a:pt x="605076" y="687944"/>
                  </a:lnTo>
                  <a:lnTo>
                    <a:pt x="609363" y="691515"/>
                  </a:lnTo>
                  <a:lnTo>
                    <a:pt x="615078" y="694373"/>
                  </a:lnTo>
                  <a:lnTo>
                    <a:pt x="620078" y="697230"/>
                  </a:lnTo>
                  <a:lnTo>
                    <a:pt x="625793" y="699374"/>
                  </a:lnTo>
                  <a:lnTo>
                    <a:pt x="630794" y="700802"/>
                  </a:lnTo>
                  <a:lnTo>
                    <a:pt x="636509" y="702945"/>
                  </a:lnTo>
                  <a:lnTo>
                    <a:pt x="636509" y="770811"/>
                  </a:lnTo>
                  <a:lnTo>
                    <a:pt x="551498" y="770811"/>
                  </a:lnTo>
                  <a:lnTo>
                    <a:pt x="551498" y="705089"/>
                  </a:lnTo>
                  <a:lnTo>
                    <a:pt x="240745" y="396478"/>
                  </a:lnTo>
                  <a:lnTo>
                    <a:pt x="142161" y="396478"/>
                  </a:lnTo>
                  <a:lnTo>
                    <a:pt x="142161" y="144303"/>
                  </a:lnTo>
                  <a:lnTo>
                    <a:pt x="247174" y="144303"/>
                  </a:lnTo>
                  <a:lnTo>
                    <a:pt x="247174" y="200739"/>
                  </a:lnTo>
                  <a:lnTo>
                    <a:pt x="236458" y="205025"/>
                  </a:lnTo>
                  <a:lnTo>
                    <a:pt x="227171" y="212169"/>
                  </a:lnTo>
                  <a:lnTo>
                    <a:pt x="218599" y="220027"/>
                  </a:lnTo>
                  <a:lnTo>
                    <a:pt x="210741" y="228600"/>
                  </a:lnTo>
                  <a:lnTo>
                    <a:pt x="204311" y="239315"/>
                  </a:lnTo>
                  <a:lnTo>
                    <a:pt x="199311" y="251460"/>
                  </a:lnTo>
                  <a:lnTo>
                    <a:pt x="196453" y="263604"/>
                  </a:lnTo>
                  <a:lnTo>
                    <a:pt x="195025" y="277177"/>
                  </a:lnTo>
                  <a:lnTo>
                    <a:pt x="195739" y="285036"/>
                  </a:lnTo>
                  <a:lnTo>
                    <a:pt x="196453" y="292894"/>
                  </a:lnTo>
                  <a:lnTo>
                    <a:pt x="198596" y="300037"/>
                  </a:lnTo>
                  <a:lnTo>
                    <a:pt x="200740" y="307896"/>
                  </a:lnTo>
                  <a:lnTo>
                    <a:pt x="204311" y="315039"/>
                  </a:lnTo>
                  <a:lnTo>
                    <a:pt x="207883" y="321469"/>
                  </a:lnTo>
                  <a:lnTo>
                    <a:pt x="212884" y="327898"/>
                  </a:lnTo>
                  <a:lnTo>
                    <a:pt x="218599" y="333613"/>
                  </a:lnTo>
                  <a:lnTo>
                    <a:pt x="224314" y="339328"/>
                  </a:lnTo>
                  <a:lnTo>
                    <a:pt x="230029" y="343614"/>
                  </a:lnTo>
                  <a:lnTo>
                    <a:pt x="237173" y="347901"/>
                  </a:lnTo>
                  <a:lnTo>
                    <a:pt x="243602" y="350758"/>
                  </a:lnTo>
                  <a:lnTo>
                    <a:pt x="251461" y="353616"/>
                  </a:lnTo>
                  <a:lnTo>
                    <a:pt x="259319" y="355759"/>
                  </a:lnTo>
                  <a:lnTo>
                    <a:pt x="266463" y="356473"/>
                  </a:lnTo>
                  <a:lnTo>
                    <a:pt x="274321" y="357188"/>
                  </a:lnTo>
                  <a:lnTo>
                    <a:pt x="280750" y="357188"/>
                  </a:lnTo>
                  <a:lnTo>
                    <a:pt x="286465" y="356473"/>
                  </a:lnTo>
                  <a:lnTo>
                    <a:pt x="291466" y="355759"/>
                  </a:lnTo>
                  <a:lnTo>
                    <a:pt x="297181" y="354330"/>
                  </a:lnTo>
                  <a:lnTo>
                    <a:pt x="302181" y="352187"/>
                  </a:lnTo>
                  <a:lnTo>
                    <a:pt x="307896" y="350044"/>
                  </a:lnTo>
                  <a:lnTo>
                    <a:pt x="312183" y="347901"/>
                  </a:lnTo>
                  <a:lnTo>
                    <a:pt x="317183" y="345043"/>
                  </a:lnTo>
                  <a:lnTo>
                    <a:pt x="540068" y="567214"/>
                  </a:lnTo>
                  <a:lnTo>
                    <a:pt x="537925" y="507921"/>
                  </a:lnTo>
                  <a:lnTo>
                    <a:pt x="345044" y="315039"/>
                  </a:lnTo>
                  <a:lnTo>
                    <a:pt x="348616" y="306467"/>
                  </a:lnTo>
                  <a:lnTo>
                    <a:pt x="352188" y="296466"/>
                  </a:lnTo>
                  <a:lnTo>
                    <a:pt x="353616" y="287179"/>
                  </a:lnTo>
                  <a:lnTo>
                    <a:pt x="354331" y="277177"/>
                  </a:lnTo>
                  <a:lnTo>
                    <a:pt x="353616" y="268605"/>
                  </a:lnTo>
                  <a:lnTo>
                    <a:pt x="352902" y="261461"/>
                  </a:lnTo>
                  <a:lnTo>
                    <a:pt x="350759" y="253603"/>
                  </a:lnTo>
                  <a:lnTo>
                    <a:pt x="348616" y="246459"/>
                  </a:lnTo>
                  <a:lnTo>
                    <a:pt x="345044" y="239315"/>
                  </a:lnTo>
                  <a:lnTo>
                    <a:pt x="341472" y="232886"/>
                  </a:lnTo>
                  <a:lnTo>
                    <a:pt x="336471" y="226456"/>
                  </a:lnTo>
                  <a:lnTo>
                    <a:pt x="330756" y="220741"/>
                  </a:lnTo>
                  <a:lnTo>
                    <a:pt x="327185" y="217170"/>
                  </a:lnTo>
                  <a:lnTo>
                    <a:pt x="322898" y="213598"/>
                  </a:lnTo>
                  <a:lnTo>
                    <a:pt x="318612" y="210026"/>
                  </a:lnTo>
                  <a:lnTo>
                    <a:pt x="313611" y="207168"/>
                  </a:lnTo>
                  <a:lnTo>
                    <a:pt x="309325" y="205025"/>
                  </a:lnTo>
                  <a:lnTo>
                    <a:pt x="303610" y="202882"/>
                  </a:lnTo>
                  <a:lnTo>
                    <a:pt x="298610" y="201453"/>
                  </a:lnTo>
                  <a:lnTo>
                    <a:pt x="293609" y="200025"/>
                  </a:lnTo>
                  <a:lnTo>
                    <a:pt x="293609" y="144303"/>
                  </a:lnTo>
                  <a:close/>
                  <a:moveTo>
                    <a:pt x="55998" y="55998"/>
                  </a:moveTo>
                  <a:lnTo>
                    <a:pt x="55998" y="858402"/>
                  </a:lnTo>
                  <a:lnTo>
                    <a:pt x="858402" y="858402"/>
                  </a:lnTo>
                  <a:lnTo>
                    <a:pt x="858402" y="55998"/>
                  </a:lnTo>
                  <a:close/>
                  <a:moveTo>
                    <a:pt x="0" y="0"/>
                  </a:moveTo>
                  <a:lnTo>
                    <a:pt x="914400" y="0"/>
                  </a:lnTo>
                  <a:lnTo>
                    <a:pt x="914400" y="914400"/>
                  </a:lnTo>
                  <a:lnTo>
                    <a:pt x="0" y="914400"/>
                  </a:lnTo>
                  <a:close/>
                </a:path>
              </a:pathLst>
            </a:custGeom>
            <a:grpFill/>
            <a:ln w="9525" cap="flat" cmpd="sng" algn="ctr">
              <a:noFill/>
              <a:prstDash val="solid"/>
              <a:headEnd type="none" w="med" len="med"/>
              <a:tailEnd type="none" w="med" len="med"/>
            </a:ln>
            <a:effectLst/>
          </p:spPr>
          <p:txBody>
            <a:bodyPr rot="0" spcFirstLastPara="0" vertOverflow="overflow" horzOverflow="overflow" vert="horz" wrap="square" lIns="105441" tIns="52721" rIns="52721" bIns="105441" numCol="1" spcCol="0" rtlCol="0" fromWordArt="0" anchor="b" anchorCtr="0" forceAA="0" compatLnSpc="1">
              <a:prstTxWarp prst="textNoShape">
                <a:avLst/>
              </a:prstTxWarp>
              <a:noAutofit/>
            </a:bodyPr>
            <a:lstStyle/>
            <a:p>
              <a:pPr algn="ctr" defTabSz="1053923" fontAlgn="base">
                <a:spcBef>
                  <a:spcPct val="0"/>
                </a:spcBef>
                <a:spcAft>
                  <a:spcPct val="0"/>
                </a:spcAft>
                <a:defRPr/>
              </a:pPr>
              <a:endParaRPr lang="en-US" sz="2307" kern="0" spc="-58"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126" name="Group 125"/>
            <p:cNvGrpSpPr/>
            <p:nvPr/>
          </p:nvGrpSpPr>
          <p:grpSpPr>
            <a:xfrm>
              <a:off x="3026582" y="3535542"/>
              <a:ext cx="407296" cy="543581"/>
              <a:chOff x="16803982" y="-6873903"/>
              <a:chExt cx="2087554" cy="2786065"/>
            </a:xfrm>
            <a:grpFill/>
          </p:grpSpPr>
          <p:sp>
            <p:nvSpPr>
              <p:cNvPr id="127" name="Freeform 5"/>
              <p:cNvSpPr>
                <a:spLocks noEditPoints="1"/>
              </p:cNvSpPr>
              <p:nvPr/>
            </p:nvSpPr>
            <p:spPr bwMode="auto">
              <a:xfrm>
                <a:off x="16803982" y="-5699150"/>
                <a:ext cx="1311273" cy="1611312"/>
              </a:xfrm>
              <a:custGeom>
                <a:avLst/>
                <a:gdLst>
                  <a:gd name="T0" fmla="*/ 0 w 826"/>
                  <a:gd name="T1" fmla="*/ 0 h 1015"/>
                  <a:gd name="T2" fmla="*/ 0 w 826"/>
                  <a:gd name="T3" fmla="*/ 1015 h 1015"/>
                  <a:gd name="T4" fmla="*/ 268 w 826"/>
                  <a:gd name="T5" fmla="*/ 1015 h 1015"/>
                  <a:gd name="T6" fmla="*/ 268 w 826"/>
                  <a:gd name="T7" fmla="*/ 806 h 1015"/>
                  <a:gd name="T8" fmla="*/ 375 w 826"/>
                  <a:gd name="T9" fmla="*/ 806 h 1015"/>
                  <a:gd name="T10" fmla="*/ 375 w 826"/>
                  <a:gd name="T11" fmla="*/ 1015 h 1015"/>
                  <a:gd name="T12" fmla="*/ 453 w 826"/>
                  <a:gd name="T13" fmla="*/ 1015 h 1015"/>
                  <a:gd name="T14" fmla="*/ 453 w 826"/>
                  <a:gd name="T15" fmla="*/ 806 h 1015"/>
                  <a:gd name="T16" fmla="*/ 563 w 826"/>
                  <a:gd name="T17" fmla="*/ 806 h 1015"/>
                  <a:gd name="T18" fmla="*/ 563 w 826"/>
                  <a:gd name="T19" fmla="*/ 1015 h 1015"/>
                  <a:gd name="T20" fmla="*/ 826 w 826"/>
                  <a:gd name="T21" fmla="*/ 1015 h 1015"/>
                  <a:gd name="T22" fmla="*/ 826 w 826"/>
                  <a:gd name="T23" fmla="*/ 0 h 1015"/>
                  <a:gd name="T24" fmla="*/ 0 w 826"/>
                  <a:gd name="T25" fmla="*/ 0 h 1015"/>
                  <a:gd name="T26" fmla="*/ 748 w 826"/>
                  <a:gd name="T27" fmla="*/ 740 h 1015"/>
                  <a:gd name="T28" fmla="*/ 83 w 826"/>
                  <a:gd name="T29" fmla="*/ 740 h 1015"/>
                  <a:gd name="T30" fmla="*/ 83 w 826"/>
                  <a:gd name="T31" fmla="*/ 633 h 1015"/>
                  <a:gd name="T32" fmla="*/ 748 w 826"/>
                  <a:gd name="T33" fmla="*/ 633 h 1015"/>
                  <a:gd name="T34" fmla="*/ 748 w 826"/>
                  <a:gd name="T35" fmla="*/ 740 h 1015"/>
                  <a:gd name="T36" fmla="*/ 748 w 826"/>
                  <a:gd name="T37" fmla="*/ 555 h 1015"/>
                  <a:gd name="T38" fmla="*/ 83 w 826"/>
                  <a:gd name="T39" fmla="*/ 555 h 1015"/>
                  <a:gd name="T40" fmla="*/ 83 w 826"/>
                  <a:gd name="T41" fmla="*/ 448 h 1015"/>
                  <a:gd name="T42" fmla="*/ 748 w 826"/>
                  <a:gd name="T43" fmla="*/ 448 h 1015"/>
                  <a:gd name="T44" fmla="*/ 748 w 826"/>
                  <a:gd name="T45" fmla="*/ 555 h 1015"/>
                  <a:gd name="T46" fmla="*/ 748 w 826"/>
                  <a:gd name="T47" fmla="*/ 372 h 1015"/>
                  <a:gd name="T48" fmla="*/ 83 w 826"/>
                  <a:gd name="T49" fmla="*/ 372 h 1015"/>
                  <a:gd name="T50" fmla="*/ 83 w 826"/>
                  <a:gd name="T51" fmla="*/ 266 h 1015"/>
                  <a:gd name="T52" fmla="*/ 748 w 826"/>
                  <a:gd name="T53" fmla="*/ 266 h 1015"/>
                  <a:gd name="T54" fmla="*/ 748 w 826"/>
                  <a:gd name="T55" fmla="*/ 372 h 1015"/>
                  <a:gd name="T56" fmla="*/ 748 w 826"/>
                  <a:gd name="T57" fmla="*/ 187 h 1015"/>
                  <a:gd name="T58" fmla="*/ 83 w 826"/>
                  <a:gd name="T59" fmla="*/ 187 h 1015"/>
                  <a:gd name="T60" fmla="*/ 83 w 826"/>
                  <a:gd name="T61" fmla="*/ 81 h 1015"/>
                  <a:gd name="T62" fmla="*/ 748 w 826"/>
                  <a:gd name="T63" fmla="*/ 81 h 1015"/>
                  <a:gd name="T64" fmla="*/ 748 w 826"/>
                  <a:gd name="T65" fmla="*/ 187 h 1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826" h="1015">
                    <a:moveTo>
                      <a:pt x="0" y="0"/>
                    </a:moveTo>
                    <a:lnTo>
                      <a:pt x="0" y="1015"/>
                    </a:lnTo>
                    <a:lnTo>
                      <a:pt x="268" y="1015"/>
                    </a:lnTo>
                    <a:lnTo>
                      <a:pt x="268" y="806"/>
                    </a:lnTo>
                    <a:lnTo>
                      <a:pt x="375" y="806"/>
                    </a:lnTo>
                    <a:lnTo>
                      <a:pt x="375" y="1015"/>
                    </a:lnTo>
                    <a:lnTo>
                      <a:pt x="453" y="1015"/>
                    </a:lnTo>
                    <a:lnTo>
                      <a:pt x="453" y="806"/>
                    </a:lnTo>
                    <a:lnTo>
                      <a:pt x="563" y="806"/>
                    </a:lnTo>
                    <a:lnTo>
                      <a:pt x="563" y="1015"/>
                    </a:lnTo>
                    <a:lnTo>
                      <a:pt x="826" y="1015"/>
                    </a:lnTo>
                    <a:lnTo>
                      <a:pt x="826" y="0"/>
                    </a:lnTo>
                    <a:lnTo>
                      <a:pt x="0" y="0"/>
                    </a:lnTo>
                    <a:close/>
                    <a:moveTo>
                      <a:pt x="748" y="740"/>
                    </a:moveTo>
                    <a:lnTo>
                      <a:pt x="83" y="740"/>
                    </a:lnTo>
                    <a:lnTo>
                      <a:pt x="83" y="633"/>
                    </a:lnTo>
                    <a:lnTo>
                      <a:pt x="748" y="633"/>
                    </a:lnTo>
                    <a:lnTo>
                      <a:pt x="748" y="740"/>
                    </a:lnTo>
                    <a:close/>
                    <a:moveTo>
                      <a:pt x="748" y="555"/>
                    </a:moveTo>
                    <a:lnTo>
                      <a:pt x="83" y="555"/>
                    </a:lnTo>
                    <a:lnTo>
                      <a:pt x="83" y="448"/>
                    </a:lnTo>
                    <a:lnTo>
                      <a:pt x="748" y="448"/>
                    </a:lnTo>
                    <a:lnTo>
                      <a:pt x="748" y="555"/>
                    </a:lnTo>
                    <a:close/>
                    <a:moveTo>
                      <a:pt x="748" y="372"/>
                    </a:moveTo>
                    <a:lnTo>
                      <a:pt x="83" y="372"/>
                    </a:lnTo>
                    <a:lnTo>
                      <a:pt x="83" y="266"/>
                    </a:lnTo>
                    <a:lnTo>
                      <a:pt x="748" y="266"/>
                    </a:lnTo>
                    <a:lnTo>
                      <a:pt x="748" y="372"/>
                    </a:lnTo>
                    <a:close/>
                    <a:moveTo>
                      <a:pt x="748" y="187"/>
                    </a:moveTo>
                    <a:lnTo>
                      <a:pt x="83" y="187"/>
                    </a:lnTo>
                    <a:lnTo>
                      <a:pt x="83" y="81"/>
                    </a:lnTo>
                    <a:lnTo>
                      <a:pt x="748" y="81"/>
                    </a:lnTo>
                    <a:lnTo>
                      <a:pt x="748" y="187"/>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prstClr val="black"/>
                  </a:solidFill>
                </a:endParaRPr>
              </a:p>
            </p:txBody>
          </p:sp>
          <p:sp>
            <p:nvSpPr>
              <p:cNvPr id="152" name="Freeform 6"/>
              <p:cNvSpPr>
                <a:spLocks noEditPoints="1"/>
              </p:cNvSpPr>
              <p:nvPr/>
            </p:nvSpPr>
            <p:spPr bwMode="auto">
              <a:xfrm>
                <a:off x="17583436" y="-6873903"/>
                <a:ext cx="1308100" cy="2786062"/>
              </a:xfrm>
              <a:custGeom>
                <a:avLst/>
                <a:gdLst>
                  <a:gd name="T0" fmla="*/ 0 w 824"/>
                  <a:gd name="T1" fmla="*/ 0 h 1755"/>
                  <a:gd name="T2" fmla="*/ 0 w 824"/>
                  <a:gd name="T3" fmla="*/ 686 h 1755"/>
                  <a:gd name="T4" fmla="*/ 81 w 824"/>
                  <a:gd name="T5" fmla="*/ 686 h 1755"/>
                  <a:gd name="T6" fmla="*/ 81 w 824"/>
                  <a:gd name="T7" fmla="*/ 636 h 1755"/>
                  <a:gd name="T8" fmla="*/ 748 w 824"/>
                  <a:gd name="T9" fmla="*/ 636 h 1755"/>
                  <a:gd name="T10" fmla="*/ 748 w 824"/>
                  <a:gd name="T11" fmla="*/ 742 h 1755"/>
                  <a:gd name="T12" fmla="*/ 414 w 824"/>
                  <a:gd name="T13" fmla="*/ 742 h 1755"/>
                  <a:gd name="T14" fmla="*/ 414 w 824"/>
                  <a:gd name="T15" fmla="*/ 821 h 1755"/>
                  <a:gd name="T16" fmla="*/ 748 w 824"/>
                  <a:gd name="T17" fmla="*/ 821 h 1755"/>
                  <a:gd name="T18" fmla="*/ 748 w 824"/>
                  <a:gd name="T19" fmla="*/ 927 h 1755"/>
                  <a:gd name="T20" fmla="*/ 414 w 824"/>
                  <a:gd name="T21" fmla="*/ 927 h 1755"/>
                  <a:gd name="T22" fmla="*/ 414 w 824"/>
                  <a:gd name="T23" fmla="*/ 1006 h 1755"/>
                  <a:gd name="T24" fmla="*/ 748 w 824"/>
                  <a:gd name="T25" fmla="*/ 1006 h 1755"/>
                  <a:gd name="T26" fmla="*/ 748 w 824"/>
                  <a:gd name="T27" fmla="*/ 1112 h 1755"/>
                  <a:gd name="T28" fmla="*/ 414 w 824"/>
                  <a:gd name="T29" fmla="*/ 1112 h 1755"/>
                  <a:gd name="T30" fmla="*/ 414 w 824"/>
                  <a:gd name="T31" fmla="*/ 1188 h 1755"/>
                  <a:gd name="T32" fmla="*/ 748 w 824"/>
                  <a:gd name="T33" fmla="*/ 1188 h 1755"/>
                  <a:gd name="T34" fmla="*/ 748 w 824"/>
                  <a:gd name="T35" fmla="*/ 1295 h 1755"/>
                  <a:gd name="T36" fmla="*/ 414 w 824"/>
                  <a:gd name="T37" fmla="*/ 1295 h 1755"/>
                  <a:gd name="T38" fmla="*/ 414 w 824"/>
                  <a:gd name="T39" fmla="*/ 1373 h 1755"/>
                  <a:gd name="T40" fmla="*/ 748 w 824"/>
                  <a:gd name="T41" fmla="*/ 1373 h 1755"/>
                  <a:gd name="T42" fmla="*/ 748 w 824"/>
                  <a:gd name="T43" fmla="*/ 1480 h 1755"/>
                  <a:gd name="T44" fmla="*/ 414 w 824"/>
                  <a:gd name="T45" fmla="*/ 1480 h 1755"/>
                  <a:gd name="T46" fmla="*/ 414 w 824"/>
                  <a:gd name="T47" fmla="*/ 1755 h 1755"/>
                  <a:gd name="T48" fmla="*/ 454 w 824"/>
                  <a:gd name="T49" fmla="*/ 1755 h 1755"/>
                  <a:gd name="T50" fmla="*/ 454 w 824"/>
                  <a:gd name="T51" fmla="*/ 1546 h 1755"/>
                  <a:gd name="T52" fmla="*/ 561 w 824"/>
                  <a:gd name="T53" fmla="*/ 1546 h 1755"/>
                  <a:gd name="T54" fmla="*/ 561 w 824"/>
                  <a:gd name="T55" fmla="*/ 1755 h 1755"/>
                  <a:gd name="T56" fmla="*/ 824 w 824"/>
                  <a:gd name="T57" fmla="*/ 1755 h 1755"/>
                  <a:gd name="T58" fmla="*/ 824 w 824"/>
                  <a:gd name="T59" fmla="*/ 0 h 1755"/>
                  <a:gd name="T60" fmla="*/ 0 w 824"/>
                  <a:gd name="T61" fmla="*/ 0 h 1755"/>
                  <a:gd name="T62" fmla="*/ 748 w 824"/>
                  <a:gd name="T63" fmla="*/ 558 h 1755"/>
                  <a:gd name="T64" fmla="*/ 81 w 824"/>
                  <a:gd name="T65" fmla="*/ 558 h 1755"/>
                  <a:gd name="T66" fmla="*/ 81 w 824"/>
                  <a:gd name="T67" fmla="*/ 451 h 1755"/>
                  <a:gd name="T68" fmla="*/ 748 w 824"/>
                  <a:gd name="T69" fmla="*/ 451 h 1755"/>
                  <a:gd name="T70" fmla="*/ 748 w 824"/>
                  <a:gd name="T71" fmla="*/ 558 h 1755"/>
                  <a:gd name="T72" fmla="*/ 748 w 824"/>
                  <a:gd name="T73" fmla="*/ 375 h 1755"/>
                  <a:gd name="T74" fmla="*/ 81 w 824"/>
                  <a:gd name="T75" fmla="*/ 375 h 1755"/>
                  <a:gd name="T76" fmla="*/ 81 w 824"/>
                  <a:gd name="T77" fmla="*/ 268 h 1755"/>
                  <a:gd name="T78" fmla="*/ 748 w 824"/>
                  <a:gd name="T79" fmla="*/ 268 h 1755"/>
                  <a:gd name="T80" fmla="*/ 748 w 824"/>
                  <a:gd name="T81" fmla="*/ 375 h 1755"/>
                  <a:gd name="T82" fmla="*/ 748 w 824"/>
                  <a:gd name="T83" fmla="*/ 190 h 1755"/>
                  <a:gd name="T84" fmla="*/ 81 w 824"/>
                  <a:gd name="T85" fmla="*/ 190 h 1755"/>
                  <a:gd name="T86" fmla="*/ 81 w 824"/>
                  <a:gd name="T87" fmla="*/ 83 h 1755"/>
                  <a:gd name="T88" fmla="*/ 748 w 824"/>
                  <a:gd name="T89" fmla="*/ 83 h 1755"/>
                  <a:gd name="T90" fmla="*/ 748 w 824"/>
                  <a:gd name="T91" fmla="*/ 190 h 17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824" h="1755">
                    <a:moveTo>
                      <a:pt x="0" y="0"/>
                    </a:moveTo>
                    <a:lnTo>
                      <a:pt x="0" y="686"/>
                    </a:lnTo>
                    <a:lnTo>
                      <a:pt x="81" y="686"/>
                    </a:lnTo>
                    <a:lnTo>
                      <a:pt x="81" y="636"/>
                    </a:lnTo>
                    <a:lnTo>
                      <a:pt x="748" y="636"/>
                    </a:lnTo>
                    <a:lnTo>
                      <a:pt x="748" y="742"/>
                    </a:lnTo>
                    <a:lnTo>
                      <a:pt x="414" y="742"/>
                    </a:lnTo>
                    <a:lnTo>
                      <a:pt x="414" y="821"/>
                    </a:lnTo>
                    <a:lnTo>
                      <a:pt x="748" y="821"/>
                    </a:lnTo>
                    <a:lnTo>
                      <a:pt x="748" y="927"/>
                    </a:lnTo>
                    <a:lnTo>
                      <a:pt x="414" y="927"/>
                    </a:lnTo>
                    <a:lnTo>
                      <a:pt x="414" y="1006"/>
                    </a:lnTo>
                    <a:lnTo>
                      <a:pt x="748" y="1006"/>
                    </a:lnTo>
                    <a:lnTo>
                      <a:pt x="748" y="1112"/>
                    </a:lnTo>
                    <a:lnTo>
                      <a:pt x="414" y="1112"/>
                    </a:lnTo>
                    <a:lnTo>
                      <a:pt x="414" y="1188"/>
                    </a:lnTo>
                    <a:lnTo>
                      <a:pt x="748" y="1188"/>
                    </a:lnTo>
                    <a:lnTo>
                      <a:pt x="748" y="1295"/>
                    </a:lnTo>
                    <a:lnTo>
                      <a:pt x="414" y="1295"/>
                    </a:lnTo>
                    <a:lnTo>
                      <a:pt x="414" y="1373"/>
                    </a:lnTo>
                    <a:lnTo>
                      <a:pt x="748" y="1373"/>
                    </a:lnTo>
                    <a:lnTo>
                      <a:pt x="748" y="1480"/>
                    </a:lnTo>
                    <a:lnTo>
                      <a:pt x="414" y="1480"/>
                    </a:lnTo>
                    <a:lnTo>
                      <a:pt x="414" y="1755"/>
                    </a:lnTo>
                    <a:lnTo>
                      <a:pt x="454" y="1755"/>
                    </a:lnTo>
                    <a:lnTo>
                      <a:pt x="454" y="1546"/>
                    </a:lnTo>
                    <a:lnTo>
                      <a:pt x="561" y="1546"/>
                    </a:lnTo>
                    <a:lnTo>
                      <a:pt x="561" y="1755"/>
                    </a:lnTo>
                    <a:lnTo>
                      <a:pt x="824" y="1755"/>
                    </a:lnTo>
                    <a:lnTo>
                      <a:pt x="824" y="0"/>
                    </a:lnTo>
                    <a:lnTo>
                      <a:pt x="0" y="0"/>
                    </a:lnTo>
                    <a:close/>
                    <a:moveTo>
                      <a:pt x="748" y="558"/>
                    </a:moveTo>
                    <a:lnTo>
                      <a:pt x="81" y="558"/>
                    </a:lnTo>
                    <a:lnTo>
                      <a:pt x="81" y="451"/>
                    </a:lnTo>
                    <a:lnTo>
                      <a:pt x="748" y="451"/>
                    </a:lnTo>
                    <a:lnTo>
                      <a:pt x="748" y="558"/>
                    </a:lnTo>
                    <a:close/>
                    <a:moveTo>
                      <a:pt x="748" y="375"/>
                    </a:moveTo>
                    <a:lnTo>
                      <a:pt x="81" y="375"/>
                    </a:lnTo>
                    <a:lnTo>
                      <a:pt x="81" y="268"/>
                    </a:lnTo>
                    <a:lnTo>
                      <a:pt x="748" y="268"/>
                    </a:lnTo>
                    <a:lnTo>
                      <a:pt x="748" y="375"/>
                    </a:lnTo>
                    <a:close/>
                    <a:moveTo>
                      <a:pt x="748" y="190"/>
                    </a:moveTo>
                    <a:lnTo>
                      <a:pt x="81" y="190"/>
                    </a:lnTo>
                    <a:lnTo>
                      <a:pt x="81" y="83"/>
                    </a:lnTo>
                    <a:lnTo>
                      <a:pt x="748" y="83"/>
                    </a:lnTo>
                    <a:lnTo>
                      <a:pt x="748" y="19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prstClr val="black"/>
                  </a:solidFill>
                </a:endParaRPr>
              </a:p>
            </p:txBody>
          </p:sp>
        </p:grpSp>
        <p:grpSp>
          <p:nvGrpSpPr>
            <p:cNvPr id="153" name="Group 152"/>
            <p:cNvGrpSpPr/>
            <p:nvPr/>
          </p:nvGrpSpPr>
          <p:grpSpPr>
            <a:xfrm>
              <a:off x="2206381" y="2881365"/>
              <a:ext cx="541173" cy="429311"/>
              <a:chOff x="26750213" y="-2462980"/>
              <a:chExt cx="3724275" cy="2964513"/>
            </a:xfrm>
            <a:grpFill/>
          </p:grpSpPr>
          <p:sp>
            <p:nvSpPr>
              <p:cNvPr id="154" name="Freeform 29"/>
              <p:cNvSpPr>
                <a:spLocks noEditPoints="1"/>
              </p:cNvSpPr>
              <p:nvPr/>
            </p:nvSpPr>
            <p:spPr bwMode="auto">
              <a:xfrm>
                <a:off x="26750213" y="-2194044"/>
                <a:ext cx="3724275" cy="2695577"/>
              </a:xfrm>
              <a:custGeom>
                <a:avLst/>
                <a:gdLst>
                  <a:gd name="T0" fmla="*/ 857 w 990"/>
                  <a:gd name="T1" fmla="*/ 0 h 716"/>
                  <a:gd name="T2" fmla="*/ 693 w 990"/>
                  <a:gd name="T3" fmla="*/ 0 h 716"/>
                  <a:gd name="T4" fmla="*/ 670 w 990"/>
                  <a:gd name="T5" fmla="*/ 9 h 716"/>
                  <a:gd name="T6" fmla="*/ 487 w 990"/>
                  <a:gd name="T7" fmla="*/ 188 h 716"/>
                  <a:gd name="T8" fmla="*/ 487 w 990"/>
                  <a:gd name="T9" fmla="*/ 142 h 716"/>
                  <a:gd name="T10" fmla="*/ 420 w 990"/>
                  <a:gd name="T11" fmla="*/ 75 h 716"/>
                  <a:gd name="T12" fmla="*/ 352 w 990"/>
                  <a:gd name="T13" fmla="*/ 142 h 716"/>
                  <a:gd name="T14" fmla="*/ 352 w 990"/>
                  <a:gd name="T15" fmla="*/ 319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7 w 990"/>
                  <a:gd name="T37" fmla="*/ 202 h 716"/>
                  <a:gd name="T38" fmla="*/ 746 w 990"/>
                  <a:gd name="T39" fmla="*/ 202 h 716"/>
                  <a:gd name="T40" fmla="*/ 723 w 990"/>
                  <a:gd name="T41" fmla="*/ 211 h 716"/>
                  <a:gd name="T42" fmla="*/ 272 w 990"/>
                  <a:gd name="T43" fmla="*/ 652 h 716"/>
                  <a:gd name="T44" fmla="*/ 133 w 990"/>
                  <a:gd name="T45" fmla="*/ 652 h 716"/>
                  <a:gd name="T46" fmla="*/ 64 w 990"/>
                  <a:gd name="T47" fmla="*/ 583 h 716"/>
                  <a:gd name="T48" fmla="*/ 133 w 990"/>
                  <a:gd name="T49" fmla="*/ 514 h 716"/>
                  <a:gd name="T50" fmla="*/ 230 w 990"/>
                  <a:gd name="T51" fmla="*/ 514 h 716"/>
                  <a:gd name="T52" fmla="*/ 253 w 990"/>
                  <a:gd name="T53" fmla="*/ 505 h 716"/>
                  <a:gd name="T54" fmla="*/ 706 w 990"/>
                  <a:gd name="T55" fmla="*/ 64 h 716"/>
                  <a:gd name="T56" fmla="*/ 857 w 990"/>
                  <a:gd name="T57" fmla="*/ 64 h 716"/>
                  <a:gd name="T58" fmla="*/ 926 w 990"/>
                  <a:gd name="T59" fmla="*/ 133 h 716"/>
                  <a:gd name="T60" fmla="*/ 857 w 990"/>
                  <a:gd name="T6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90" h="716">
                    <a:moveTo>
                      <a:pt x="857" y="0"/>
                    </a:moveTo>
                    <a:cubicBezTo>
                      <a:pt x="693" y="0"/>
                      <a:pt x="693" y="0"/>
                      <a:pt x="693" y="0"/>
                    </a:cubicBezTo>
                    <a:cubicBezTo>
                      <a:pt x="684" y="0"/>
                      <a:pt x="676" y="3"/>
                      <a:pt x="670" y="9"/>
                    </a:cubicBezTo>
                    <a:cubicBezTo>
                      <a:pt x="487" y="188"/>
                      <a:pt x="487" y="188"/>
                      <a:pt x="487" y="188"/>
                    </a:cubicBezTo>
                    <a:cubicBezTo>
                      <a:pt x="487" y="142"/>
                      <a:pt x="487" y="142"/>
                      <a:pt x="487" y="142"/>
                    </a:cubicBezTo>
                    <a:cubicBezTo>
                      <a:pt x="487" y="105"/>
                      <a:pt x="457" y="75"/>
                      <a:pt x="420" y="75"/>
                    </a:cubicBezTo>
                    <a:cubicBezTo>
                      <a:pt x="383" y="75"/>
                      <a:pt x="352" y="105"/>
                      <a:pt x="352" y="142"/>
                    </a:cubicBezTo>
                    <a:cubicBezTo>
                      <a:pt x="352" y="319"/>
                      <a:pt x="352" y="319"/>
                      <a:pt x="352" y="319"/>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7" y="202"/>
                    </a:moveTo>
                    <a:cubicBezTo>
                      <a:pt x="746" y="202"/>
                      <a:pt x="746" y="202"/>
                      <a:pt x="746" y="202"/>
                    </a:cubicBezTo>
                    <a:cubicBezTo>
                      <a:pt x="737" y="202"/>
                      <a:pt x="729" y="205"/>
                      <a:pt x="723" y="211"/>
                    </a:cubicBezTo>
                    <a:cubicBezTo>
                      <a:pt x="272" y="652"/>
                      <a:pt x="272" y="652"/>
                      <a:pt x="272" y="652"/>
                    </a:cubicBezTo>
                    <a:cubicBezTo>
                      <a:pt x="133" y="652"/>
                      <a:pt x="133" y="652"/>
                      <a:pt x="133" y="652"/>
                    </a:cubicBezTo>
                    <a:cubicBezTo>
                      <a:pt x="95" y="652"/>
                      <a:pt x="64" y="621"/>
                      <a:pt x="64" y="583"/>
                    </a:cubicBezTo>
                    <a:cubicBezTo>
                      <a:pt x="64" y="545"/>
                      <a:pt x="95"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6" y="95"/>
                      <a:pt x="926" y="133"/>
                    </a:cubicBezTo>
                    <a:cubicBezTo>
                      <a:pt x="926" y="171"/>
                      <a:pt x="895" y="202"/>
                      <a:pt x="857"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55" name="Oval 30"/>
              <p:cNvSpPr>
                <a:spLocks noChangeArrowheads="1"/>
              </p:cNvSpPr>
              <p:nvPr/>
            </p:nvSpPr>
            <p:spPr bwMode="auto">
              <a:xfrm>
                <a:off x="28057542" y="-2462980"/>
                <a:ext cx="507999" cy="50799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grpSp>
        <p:grpSp>
          <p:nvGrpSpPr>
            <p:cNvPr id="156" name="Group 155"/>
            <p:cNvGrpSpPr/>
            <p:nvPr/>
          </p:nvGrpSpPr>
          <p:grpSpPr>
            <a:xfrm flipH="1">
              <a:off x="2189611" y="3540254"/>
              <a:ext cx="574712" cy="247658"/>
              <a:chOff x="-36932666" y="-24367015"/>
              <a:chExt cx="41830619" cy="18087175"/>
            </a:xfrm>
            <a:grpFill/>
          </p:grpSpPr>
          <p:sp>
            <p:nvSpPr>
              <p:cNvPr id="157" name="Freeform 34"/>
              <p:cNvSpPr>
                <a:spLocks noEditPoints="1"/>
              </p:cNvSpPr>
              <p:nvPr/>
            </p:nvSpPr>
            <p:spPr bwMode="auto">
              <a:xfrm>
                <a:off x="-34103589" y="-11296319"/>
                <a:ext cx="5014855" cy="5016479"/>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299" y="0"/>
                      <a:pt x="0" y="299"/>
                      <a:pt x="0" y="669"/>
                    </a:cubicBezTo>
                    <a:cubicBezTo>
                      <a:pt x="0" y="1038"/>
                      <a:pt x="299" y="1337"/>
                      <a:pt x="668" y="1337"/>
                    </a:cubicBezTo>
                    <a:cubicBezTo>
                      <a:pt x="1037" y="1337"/>
                      <a:pt x="1337" y="1038"/>
                      <a:pt x="1337" y="669"/>
                    </a:cubicBezTo>
                    <a:cubicBezTo>
                      <a:pt x="1337" y="299"/>
                      <a:pt x="1037"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58" name="Freeform 35"/>
              <p:cNvSpPr>
                <a:spLocks noEditPoints="1"/>
              </p:cNvSpPr>
              <p:nvPr/>
            </p:nvSpPr>
            <p:spPr bwMode="auto">
              <a:xfrm>
                <a:off x="-9324454" y="-11324421"/>
                <a:ext cx="5014855" cy="5016479"/>
              </a:xfrm>
              <a:custGeom>
                <a:avLst/>
                <a:gdLst>
                  <a:gd name="T0" fmla="*/ 668 w 1337"/>
                  <a:gd name="T1" fmla="*/ 0 h 1337"/>
                  <a:gd name="T2" fmla="*/ 0 w 1337"/>
                  <a:gd name="T3" fmla="*/ 669 h 1337"/>
                  <a:gd name="T4" fmla="*/ 668 w 1337"/>
                  <a:gd name="T5" fmla="*/ 1337 h 1337"/>
                  <a:gd name="T6" fmla="*/ 1337 w 1337"/>
                  <a:gd name="T7" fmla="*/ 669 h 1337"/>
                  <a:gd name="T8" fmla="*/ 668 w 1337"/>
                  <a:gd name="T9" fmla="*/ 0 h 1337"/>
                  <a:gd name="T10" fmla="*/ 668 w 1337"/>
                  <a:gd name="T11" fmla="*/ 996 h 1337"/>
                  <a:gd name="T12" fmla="*/ 341 w 1337"/>
                  <a:gd name="T13" fmla="*/ 669 h 1337"/>
                  <a:gd name="T14" fmla="*/ 668 w 1337"/>
                  <a:gd name="T15" fmla="*/ 341 h 1337"/>
                  <a:gd name="T16" fmla="*/ 996 w 1337"/>
                  <a:gd name="T17" fmla="*/ 669 h 1337"/>
                  <a:gd name="T18" fmla="*/ 668 w 1337"/>
                  <a:gd name="T19" fmla="*/ 996 h 1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37" h="1337">
                    <a:moveTo>
                      <a:pt x="668" y="0"/>
                    </a:moveTo>
                    <a:cubicBezTo>
                      <a:pt x="300" y="0"/>
                      <a:pt x="0" y="299"/>
                      <a:pt x="0" y="669"/>
                    </a:cubicBezTo>
                    <a:cubicBezTo>
                      <a:pt x="0" y="1038"/>
                      <a:pt x="300" y="1337"/>
                      <a:pt x="668" y="1337"/>
                    </a:cubicBezTo>
                    <a:cubicBezTo>
                      <a:pt x="1038" y="1337"/>
                      <a:pt x="1337" y="1038"/>
                      <a:pt x="1337" y="669"/>
                    </a:cubicBezTo>
                    <a:cubicBezTo>
                      <a:pt x="1337" y="299"/>
                      <a:pt x="1038" y="0"/>
                      <a:pt x="668" y="0"/>
                    </a:cubicBezTo>
                    <a:close/>
                    <a:moveTo>
                      <a:pt x="668" y="996"/>
                    </a:moveTo>
                    <a:cubicBezTo>
                      <a:pt x="487" y="996"/>
                      <a:pt x="341" y="849"/>
                      <a:pt x="341" y="669"/>
                    </a:cubicBezTo>
                    <a:cubicBezTo>
                      <a:pt x="341" y="488"/>
                      <a:pt x="487" y="341"/>
                      <a:pt x="668" y="341"/>
                    </a:cubicBezTo>
                    <a:cubicBezTo>
                      <a:pt x="849" y="341"/>
                      <a:pt x="996" y="488"/>
                      <a:pt x="996" y="669"/>
                    </a:cubicBezTo>
                    <a:cubicBezTo>
                      <a:pt x="996" y="849"/>
                      <a:pt x="849" y="996"/>
                      <a:pt x="668" y="99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sp>
            <p:nvSpPr>
              <p:cNvPr id="159" name="Freeform 36"/>
              <p:cNvSpPr>
                <a:spLocks noEditPoints="1"/>
              </p:cNvSpPr>
              <p:nvPr/>
            </p:nvSpPr>
            <p:spPr bwMode="auto">
              <a:xfrm>
                <a:off x="-36932666" y="-24367015"/>
                <a:ext cx="41830619" cy="15690848"/>
              </a:xfrm>
              <a:custGeom>
                <a:avLst/>
                <a:gdLst>
                  <a:gd name="T0" fmla="*/ 11056 w 11152"/>
                  <a:gd name="T1" fmla="*/ 3865 h 4182"/>
                  <a:gd name="T2" fmla="*/ 10747 w 11152"/>
                  <a:gd name="T3" fmla="*/ 3865 h 4182"/>
                  <a:gd name="T4" fmla="*/ 10747 w 11152"/>
                  <a:gd name="T5" fmla="*/ 138 h 4182"/>
                  <a:gd name="T6" fmla="*/ 10593 w 11152"/>
                  <a:gd name="T7" fmla="*/ 10 h 4182"/>
                  <a:gd name="T8" fmla="*/ 2395 w 11152"/>
                  <a:gd name="T9" fmla="*/ 10 h 4182"/>
                  <a:gd name="T10" fmla="*/ 2099 w 11152"/>
                  <a:gd name="T11" fmla="*/ 192 h 4182"/>
                  <a:gd name="T12" fmla="*/ 1000 w 11152"/>
                  <a:gd name="T13" fmla="*/ 2123 h 4182"/>
                  <a:gd name="T14" fmla="*/ 321 w 11152"/>
                  <a:gd name="T15" fmla="*/ 2438 h 4182"/>
                  <a:gd name="T16" fmla="*/ 118 w 11152"/>
                  <a:gd name="T17" fmla="*/ 2722 h 4182"/>
                  <a:gd name="T18" fmla="*/ 118 w 11152"/>
                  <a:gd name="T19" fmla="*/ 3446 h 4182"/>
                  <a:gd name="T20" fmla="*/ 96 w 11152"/>
                  <a:gd name="T21" fmla="*/ 3446 h 4182"/>
                  <a:gd name="T22" fmla="*/ 0 w 11152"/>
                  <a:gd name="T23" fmla="*/ 3542 h 4182"/>
                  <a:gd name="T24" fmla="*/ 0 w 11152"/>
                  <a:gd name="T25" fmla="*/ 3891 h 4182"/>
                  <a:gd name="T26" fmla="*/ 96 w 11152"/>
                  <a:gd name="T27" fmla="*/ 3987 h 4182"/>
                  <a:gd name="T28" fmla="*/ 401 w 11152"/>
                  <a:gd name="T29" fmla="*/ 3987 h 4182"/>
                  <a:gd name="T30" fmla="*/ 517 w 11152"/>
                  <a:gd name="T31" fmla="*/ 3891 h 4182"/>
                  <a:gd name="T32" fmla="*/ 1417 w 11152"/>
                  <a:gd name="T33" fmla="*/ 3182 h 4182"/>
                  <a:gd name="T34" fmla="*/ 2274 w 11152"/>
                  <a:gd name="T35" fmla="*/ 3946 h 4182"/>
                  <a:gd name="T36" fmla="*/ 2301 w 11152"/>
                  <a:gd name="T37" fmla="*/ 4039 h 4182"/>
                  <a:gd name="T38" fmla="*/ 2406 w 11152"/>
                  <a:gd name="T39" fmla="*/ 4114 h 4182"/>
                  <a:gd name="T40" fmla="*/ 6993 w 11152"/>
                  <a:gd name="T41" fmla="*/ 4114 h 4182"/>
                  <a:gd name="T42" fmla="*/ 7129 w 11152"/>
                  <a:gd name="T43" fmla="*/ 3978 h 4182"/>
                  <a:gd name="T44" fmla="*/ 8002 w 11152"/>
                  <a:gd name="T45" fmla="*/ 3236 h 4182"/>
                  <a:gd name="T46" fmla="*/ 8842 w 11152"/>
                  <a:gd name="T47" fmla="*/ 3873 h 4182"/>
                  <a:gd name="T48" fmla="*/ 8911 w 11152"/>
                  <a:gd name="T49" fmla="*/ 4111 h 4182"/>
                  <a:gd name="T50" fmla="*/ 9010 w 11152"/>
                  <a:gd name="T51" fmla="*/ 4182 h 4182"/>
                  <a:gd name="T52" fmla="*/ 11056 w 11152"/>
                  <a:gd name="T53" fmla="*/ 4182 h 4182"/>
                  <a:gd name="T54" fmla="*/ 11152 w 11152"/>
                  <a:gd name="T55" fmla="*/ 4087 h 4182"/>
                  <a:gd name="T56" fmla="*/ 11152 w 11152"/>
                  <a:gd name="T57" fmla="*/ 3961 h 4182"/>
                  <a:gd name="T58" fmla="*/ 11056 w 11152"/>
                  <a:gd name="T59" fmla="*/ 3865 h 4182"/>
                  <a:gd name="T60" fmla="*/ 1913 w 11152"/>
                  <a:gd name="T61" fmla="*/ 2226 h 4182"/>
                  <a:gd name="T62" fmla="*/ 1469 w 11152"/>
                  <a:gd name="T63" fmla="*/ 2226 h 4182"/>
                  <a:gd name="T64" fmla="*/ 1260 w 11152"/>
                  <a:gd name="T65" fmla="*/ 2116 h 4182"/>
                  <a:gd name="T66" fmla="*/ 1890 w 11152"/>
                  <a:gd name="T67" fmla="*/ 984 h 4182"/>
                  <a:gd name="T68" fmla="*/ 1913 w 11152"/>
                  <a:gd name="T69" fmla="*/ 984 h 4182"/>
                  <a:gd name="T70" fmla="*/ 1913 w 11152"/>
                  <a:gd name="T71" fmla="*/ 2226 h 4182"/>
                  <a:gd name="T72" fmla="*/ 3805 w 11152"/>
                  <a:gd name="T73" fmla="*/ 2226 h 4182"/>
                  <a:gd name="T74" fmla="*/ 2113 w 11152"/>
                  <a:gd name="T75" fmla="*/ 2226 h 4182"/>
                  <a:gd name="T76" fmla="*/ 2113 w 11152"/>
                  <a:gd name="T77" fmla="*/ 998 h 4182"/>
                  <a:gd name="T78" fmla="*/ 2333 w 11152"/>
                  <a:gd name="T79" fmla="*/ 778 h 4182"/>
                  <a:gd name="T80" fmla="*/ 3585 w 11152"/>
                  <a:gd name="T81" fmla="*/ 778 h 4182"/>
                  <a:gd name="T82" fmla="*/ 3805 w 11152"/>
                  <a:gd name="T83" fmla="*/ 998 h 4182"/>
                  <a:gd name="T84" fmla="*/ 3805 w 11152"/>
                  <a:gd name="T85" fmla="*/ 2226 h 4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152" h="4182">
                    <a:moveTo>
                      <a:pt x="11056" y="3865"/>
                    </a:moveTo>
                    <a:cubicBezTo>
                      <a:pt x="10747" y="3865"/>
                      <a:pt x="10747" y="3865"/>
                      <a:pt x="10747" y="3865"/>
                    </a:cubicBezTo>
                    <a:cubicBezTo>
                      <a:pt x="10747" y="138"/>
                      <a:pt x="10747" y="138"/>
                      <a:pt x="10747" y="138"/>
                    </a:cubicBezTo>
                    <a:cubicBezTo>
                      <a:pt x="10747" y="138"/>
                      <a:pt x="10743" y="10"/>
                      <a:pt x="10593" y="10"/>
                    </a:cubicBezTo>
                    <a:cubicBezTo>
                      <a:pt x="2395" y="10"/>
                      <a:pt x="2395" y="10"/>
                      <a:pt x="2395" y="10"/>
                    </a:cubicBezTo>
                    <a:cubicBezTo>
                      <a:pt x="2395" y="10"/>
                      <a:pt x="2216" y="0"/>
                      <a:pt x="2099" y="192"/>
                    </a:cubicBezTo>
                    <a:cubicBezTo>
                      <a:pt x="1000" y="2123"/>
                      <a:pt x="1000" y="2123"/>
                      <a:pt x="1000" y="2123"/>
                    </a:cubicBezTo>
                    <a:cubicBezTo>
                      <a:pt x="321" y="2438"/>
                      <a:pt x="321" y="2438"/>
                      <a:pt x="321" y="2438"/>
                    </a:cubicBezTo>
                    <a:cubicBezTo>
                      <a:pt x="321" y="2438"/>
                      <a:pt x="118" y="2512"/>
                      <a:pt x="118" y="2722"/>
                    </a:cubicBezTo>
                    <a:cubicBezTo>
                      <a:pt x="118" y="3446"/>
                      <a:pt x="118" y="3446"/>
                      <a:pt x="118" y="3446"/>
                    </a:cubicBezTo>
                    <a:cubicBezTo>
                      <a:pt x="96" y="3446"/>
                      <a:pt x="96" y="3446"/>
                      <a:pt x="96" y="3446"/>
                    </a:cubicBezTo>
                    <a:cubicBezTo>
                      <a:pt x="44" y="3446"/>
                      <a:pt x="0" y="3489"/>
                      <a:pt x="0" y="3542"/>
                    </a:cubicBezTo>
                    <a:cubicBezTo>
                      <a:pt x="0" y="3891"/>
                      <a:pt x="0" y="3891"/>
                      <a:pt x="0" y="3891"/>
                    </a:cubicBezTo>
                    <a:cubicBezTo>
                      <a:pt x="0" y="3944"/>
                      <a:pt x="44" y="3987"/>
                      <a:pt x="96" y="3987"/>
                    </a:cubicBezTo>
                    <a:cubicBezTo>
                      <a:pt x="401" y="3987"/>
                      <a:pt x="401" y="3987"/>
                      <a:pt x="401" y="3987"/>
                    </a:cubicBezTo>
                    <a:cubicBezTo>
                      <a:pt x="454" y="3987"/>
                      <a:pt x="505" y="3944"/>
                      <a:pt x="517" y="3891"/>
                    </a:cubicBezTo>
                    <a:cubicBezTo>
                      <a:pt x="517" y="3891"/>
                      <a:pt x="653" y="3182"/>
                      <a:pt x="1417" y="3182"/>
                    </a:cubicBezTo>
                    <a:cubicBezTo>
                      <a:pt x="1835" y="3182"/>
                      <a:pt x="2142" y="3510"/>
                      <a:pt x="2274" y="3946"/>
                    </a:cubicBezTo>
                    <a:cubicBezTo>
                      <a:pt x="2301" y="4039"/>
                      <a:pt x="2301" y="4039"/>
                      <a:pt x="2301" y="4039"/>
                    </a:cubicBezTo>
                    <a:cubicBezTo>
                      <a:pt x="2301" y="4039"/>
                      <a:pt x="2319" y="4114"/>
                      <a:pt x="2406" y="4114"/>
                    </a:cubicBezTo>
                    <a:cubicBezTo>
                      <a:pt x="6993" y="4114"/>
                      <a:pt x="6993" y="4114"/>
                      <a:pt x="6993" y="4114"/>
                    </a:cubicBezTo>
                    <a:cubicBezTo>
                      <a:pt x="7118" y="4114"/>
                      <a:pt x="7129" y="3978"/>
                      <a:pt x="7129" y="3978"/>
                    </a:cubicBezTo>
                    <a:cubicBezTo>
                      <a:pt x="7212" y="3553"/>
                      <a:pt x="7572" y="3235"/>
                      <a:pt x="8002" y="3236"/>
                    </a:cubicBezTo>
                    <a:cubicBezTo>
                      <a:pt x="8394" y="3238"/>
                      <a:pt x="8726" y="3505"/>
                      <a:pt x="8842" y="3873"/>
                    </a:cubicBezTo>
                    <a:cubicBezTo>
                      <a:pt x="8911" y="4111"/>
                      <a:pt x="8911" y="4111"/>
                      <a:pt x="8911" y="4111"/>
                    </a:cubicBezTo>
                    <a:cubicBezTo>
                      <a:pt x="8925" y="4152"/>
                      <a:pt x="8966" y="4182"/>
                      <a:pt x="9010" y="4182"/>
                    </a:cubicBezTo>
                    <a:cubicBezTo>
                      <a:pt x="11056" y="4182"/>
                      <a:pt x="11056" y="4182"/>
                      <a:pt x="11056" y="4182"/>
                    </a:cubicBezTo>
                    <a:cubicBezTo>
                      <a:pt x="11109" y="4182"/>
                      <a:pt x="11152" y="4139"/>
                      <a:pt x="11152" y="4087"/>
                    </a:cubicBezTo>
                    <a:cubicBezTo>
                      <a:pt x="11152" y="3961"/>
                      <a:pt x="11152" y="3961"/>
                      <a:pt x="11152" y="3961"/>
                    </a:cubicBezTo>
                    <a:cubicBezTo>
                      <a:pt x="11152" y="3909"/>
                      <a:pt x="11109" y="3865"/>
                      <a:pt x="11056" y="3865"/>
                    </a:cubicBezTo>
                    <a:close/>
                    <a:moveTo>
                      <a:pt x="1913" y="2226"/>
                    </a:moveTo>
                    <a:cubicBezTo>
                      <a:pt x="1469" y="2226"/>
                      <a:pt x="1469" y="2226"/>
                      <a:pt x="1469" y="2226"/>
                    </a:cubicBezTo>
                    <a:cubicBezTo>
                      <a:pt x="1260" y="2116"/>
                      <a:pt x="1260" y="2116"/>
                      <a:pt x="1260" y="2116"/>
                    </a:cubicBezTo>
                    <a:cubicBezTo>
                      <a:pt x="1890" y="984"/>
                      <a:pt x="1890" y="984"/>
                      <a:pt x="1890" y="984"/>
                    </a:cubicBezTo>
                    <a:cubicBezTo>
                      <a:pt x="1913" y="984"/>
                      <a:pt x="1913" y="984"/>
                      <a:pt x="1913" y="984"/>
                    </a:cubicBezTo>
                    <a:lnTo>
                      <a:pt x="1913" y="2226"/>
                    </a:lnTo>
                    <a:close/>
                    <a:moveTo>
                      <a:pt x="3805" y="2226"/>
                    </a:moveTo>
                    <a:cubicBezTo>
                      <a:pt x="2113" y="2226"/>
                      <a:pt x="2113" y="2226"/>
                      <a:pt x="2113" y="2226"/>
                    </a:cubicBezTo>
                    <a:cubicBezTo>
                      <a:pt x="2113" y="998"/>
                      <a:pt x="2113" y="998"/>
                      <a:pt x="2113" y="998"/>
                    </a:cubicBezTo>
                    <a:cubicBezTo>
                      <a:pt x="2113" y="877"/>
                      <a:pt x="2212" y="778"/>
                      <a:pt x="2333" y="778"/>
                    </a:cubicBezTo>
                    <a:cubicBezTo>
                      <a:pt x="3585" y="778"/>
                      <a:pt x="3585" y="778"/>
                      <a:pt x="3585" y="778"/>
                    </a:cubicBezTo>
                    <a:cubicBezTo>
                      <a:pt x="3707" y="778"/>
                      <a:pt x="3805" y="877"/>
                      <a:pt x="3805" y="998"/>
                    </a:cubicBezTo>
                    <a:lnTo>
                      <a:pt x="3805" y="22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sz="2941">
                  <a:solidFill>
                    <a:prstClr val="black"/>
                  </a:solidFill>
                </a:endParaRPr>
              </a:p>
            </p:txBody>
          </p:sp>
        </p:grpSp>
        <p:sp>
          <p:nvSpPr>
            <p:cNvPr id="160" name="Freeform 139"/>
            <p:cNvSpPr>
              <a:spLocks noChangeAspect="1" noEditPoints="1"/>
            </p:cNvSpPr>
            <p:nvPr/>
          </p:nvSpPr>
          <p:spPr bwMode="black">
            <a:xfrm>
              <a:off x="3027340" y="4305112"/>
              <a:ext cx="345112" cy="415619"/>
            </a:xfrm>
            <a:custGeom>
              <a:avLst/>
              <a:gdLst>
                <a:gd name="T0" fmla="*/ 1081 w 1081"/>
                <a:gd name="T1" fmla="*/ 1302 h 1302"/>
                <a:gd name="T2" fmla="*/ 850 w 1081"/>
                <a:gd name="T3" fmla="*/ 1110 h 1302"/>
                <a:gd name="T4" fmla="*/ 831 w 1081"/>
                <a:gd name="T5" fmla="*/ 1096 h 1302"/>
                <a:gd name="T6" fmla="*/ 1058 w 1081"/>
                <a:gd name="T7" fmla="*/ 942 h 1302"/>
                <a:gd name="T8" fmla="*/ 905 w 1081"/>
                <a:gd name="T9" fmla="*/ 0 h 1302"/>
                <a:gd name="T10" fmla="*/ 23 w 1081"/>
                <a:gd name="T11" fmla="*/ 153 h 1302"/>
                <a:gd name="T12" fmla="*/ 177 w 1081"/>
                <a:gd name="T13" fmla="*/ 1096 h 1302"/>
                <a:gd name="T14" fmla="*/ 0 w 1081"/>
                <a:gd name="T15" fmla="*/ 1302 h 1302"/>
                <a:gd name="T16" fmla="*/ 174 w 1081"/>
                <a:gd name="T17" fmla="*/ 1240 h 1302"/>
                <a:gd name="T18" fmla="*/ 971 w 1081"/>
                <a:gd name="T19" fmla="*/ 1302 h 1302"/>
                <a:gd name="T20" fmla="*/ 934 w 1081"/>
                <a:gd name="T21" fmla="*/ 291 h 1302"/>
                <a:gd name="T22" fmla="*/ 896 w 1081"/>
                <a:gd name="T23" fmla="*/ 763 h 1302"/>
                <a:gd name="T24" fmla="*/ 147 w 1081"/>
                <a:gd name="T25" fmla="*/ 730 h 1302"/>
                <a:gd name="T26" fmla="*/ 186 w 1081"/>
                <a:gd name="T27" fmla="*/ 259 h 1302"/>
                <a:gd name="T28" fmla="*/ 312 w 1081"/>
                <a:gd name="T29" fmla="*/ 172 h 1302"/>
                <a:gd name="T30" fmla="*/ 331 w 1081"/>
                <a:gd name="T31" fmla="*/ 115 h 1302"/>
                <a:gd name="T32" fmla="*/ 598 w 1081"/>
                <a:gd name="T33" fmla="*/ 115 h 1302"/>
                <a:gd name="T34" fmla="*/ 769 w 1081"/>
                <a:gd name="T35" fmla="*/ 134 h 1302"/>
                <a:gd name="T36" fmla="*/ 750 w 1081"/>
                <a:gd name="T37" fmla="*/ 191 h 1302"/>
                <a:gd name="T38" fmla="*/ 483 w 1081"/>
                <a:gd name="T39" fmla="*/ 191 h 1302"/>
                <a:gd name="T40" fmla="*/ 312 w 1081"/>
                <a:gd name="T41" fmla="*/ 172 h 1302"/>
                <a:gd name="T42" fmla="*/ 788 w 1081"/>
                <a:gd name="T43" fmla="*/ 904 h 1302"/>
                <a:gd name="T44" fmla="*/ 936 w 1081"/>
                <a:gd name="T45" fmla="*/ 904 h 1302"/>
                <a:gd name="T46" fmla="*/ 219 w 1081"/>
                <a:gd name="T47" fmla="*/ 830 h 1302"/>
                <a:gd name="T48" fmla="*/ 219 w 1081"/>
                <a:gd name="T49" fmla="*/ 977 h 1302"/>
                <a:gd name="T50" fmla="*/ 219 w 1081"/>
                <a:gd name="T51" fmla="*/ 830 h 1302"/>
                <a:gd name="T52" fmla="*/ 415 w 1081"/>
                <a:gd name="T53" fmla="*/ 966 h 1302"/>
                <a:gd name="T54" fmla="*/ 644 w 1081"/>
                <a:gd name="T55" fmla="*/ 943 h 1302"/>
                <a:gd name="T56" fmla="*/ 666 w 1081"/>
                <a:gd name="T57" fmla="*/ 1023 h 1302"/>
                <a:gd name="T58" fmla="*/ 438 w 1081"/>
                <a:gd name="T59" fmla="*/ 1046 h 1302"/>
                <a:gd name="T60" fmla="*/ 758 w 1081"/>
                <a:gd name="T61" fmla="*/ 1096 h 1302"/>
                <a:gd name="T62" fmla="*/ 309 w 1081"/>
                <a:gd name="T63" fmla="*/ 1110 h 1302"/>
                <a:gd name="T64" fmla="*/ 758 w 1081"/>
                <a:gd name="T65" fmla="*/ 1096 h 1302"/>
                <a:gd name="T66" fmla="*/ 279 w 1081"/>
                <a:gd name="T67" fmla="*/ 1138 h 1302"/>
                <a:gd name="T68" fmla="*/ 868 w 1081"/>
                <a:gd name="T69" fmla="*/ 1202 h 1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81" h="1302">
                  <a:moveTo>
                    <a:pt x="971" y="1302"/>
                  </a:moveTo>
                  <a:cubicBezTo>
                    <a:pt x="1081" y="1302"/>
                    <a:pt x="1081" y="1302"/>
                    <a:pt x="1081" y="1302"/>
                  </a:cubicBezTo>
                  <a:cubicBezTo>
                    <a:pt x="850" y="1111"/>
                    <a:pt x="850" y="1111"/>
                    <a:pt x="850" y="1111"/>
                  </a:cubicBezTo>
                  <a:cubicBezTo>
                    <a:pt x="850" y="1110"/>
                    <a:pt x="850" y="1110"/>
                    <a:pt x="850" y="1110"/>
                  </a:cubicBezTo>
                  <a:cubicBezTo>
                    <a:pt x="848" y="1110"/>
                    <a:pt x="848" y="1110"/>
                    <a:pt x="848" y="1110"/>
                  </a:cubicBezTo>
                  <a:cubicBezTo>
                    <a:pt x="831" y="1096"/>
                    <a:pt x="831" y="1096"/>
                    <a:pt x="831" y="1096"/>
                  </a:cubicBezTo>
                  <a:cubicBezTo>
                    <a:pt x="905" y="1096"/>
                    <a:pt x="905" y="1096"/>
                    <a:pt x="905" y="1096"/>
                  </a:cubicBezTo>
                  <a:cubicBezTo>
                    <a:pt x="989" y="1096"/>
                    <a:pt x="1058" y="1027"/>
                    <a:pt x="1058" y="942"/>
                  </a:cubicBezTo>
                  <a:cubicBezTo>
                    <a:pt x="1058" y="153"/>
                    <a:pt x="1058" y="153"/>
                    <a:pt x="1058" y="153"/>
                  </a:cubicBezTo>
                  <a:cubicBezTo>
                    <a:pt x="1058" y="68"/>
                    <a:pt x="989" y="0"/>
                    <a:pt x="905" y="0"/>
                  </a:cubicBezTo>
                  <a:cubicBezTo>
                    <a:pt x="177" y="0"/>
                    <a:pt x="177" y="0"/>
                    <a:pt x="177" y="0"/>
                  </a:cubicBezTo>
                  <a:cubicBezTo>
                    <a:pt x="92" y="0"/>
                    <a:pt x="23" y="68"/>
                    <a:pt x="23" y="153"/>
                  </a:cubicBezTo>
                  <a:cubicBezTo>
                    <a:pt x="23" y="942"/>
                    <a:pt x="23" y="942"/>
                    <a:pt x="23" y="942"/>
                  </a:cubicBezTo>
                  <a:cubicBezTo>
                    <a:pt x="23" y="1027"/>
                    <a:pt x="92" y="1096"/>
                    <a:pt x="177" y="1096"/>
                  </a:cubicBezTo>
                  <a:cubicBezTo>
                    <a:pt x="250" y="1096"/>
                    <a:pt x="250" y="1096"/>
                    <a:pt x="250" y="1096"/>
                  </a:cubicBezTo>
                  <a:cubicBezTo>
                    <a:pt x="0" y="1302"/>
                    <a:pt x="0" y="1302"/>
                    <a:pt x="0" y="1302"/>
                  </a:cubicBezTo>
                  <a:cubicBezTo>
                    <a:pt x="110" y="1302"/>
                    <a:pt x="110" y="1302"/>
                    <a:pt x="110" y="1302"/>
                  </a:cubicBezTo>
                  <a:cubicBezTo>
                    <a:pt x="174" y="1240"/>
                    <a:pt x="174" y="1240"/>
                    <a:pt x="174" y="1240"/>
                  </a:cubicBezTo>
                  <a:cubicBezTo>
                    <a:pt x="907" y="1240"/>
                    <a:pt x="907" y="1240"/>
                    <a:pt x="907" y="1240"/>
                  </a:cubicBezTo>
                  <a:lnTo>
                    <a:pt x="971" y="1302"/>
                  </a:lnTo>
                  <a:close/>
                  <a:moveTo>
                    <a:pt x="896" y="259"/>
                  </a:moveTo>
                  <a:cubicBezTo>
                    <a:pt x="917" y="259"/>
                    <a:pt x="934" y="273"/>
                    <a:pt x="934" y="291"/>
                  </a:cubicBezTo>
                  <a:cubicBezTo>
                    <a:pt x="934" y="730"/>
                    <a:pt x="934" y="730"/>
                    <a:pt x="934" y="730"/>
                  </a:cubicBezTo>
                  <a:cubicBezTo>
                    <a:pt x="934" y="748"/>
                    <a:pt x="917" y="763"/>
                    <a:pt x="896" y="763"/>
                  </a:cubicBezTo>
                  <a:cubicBezTo>
                    <a:pt x="186" y="763"/>
                    <a:pt x="186" y="763"/>
                    <a:pt x="186" y="763"/>
                  </a:cubicBezTo>
                  <a:cubicBezTo>
                    <a:pt x="164" y="763"/>
                    <a:pt x="147" y="748"/>
                    <a:pt x="147" y="730"/>
                  </a:cubicBezTo>
                  <a:cubicBezTo>
                    <a:pt x="147" y="291"/>
                    <a:pt x="147" y="291"/>
                    <a:pt x="147" y="291"/>
                  </a:cubicBezTo>
                  <a:cubicBezTo>
                    <a:pt x="147" y="273"/>
                    <a:pt x="164" y="259"/>
                    <a:pt x="186" y="259"/>
                  </a:cubicBezTo>
                  <a:lnTo>
                    <a:pt x="896" y="259"/>
                  </a:lnTo>
                  <a:close/>
                  <a:moveTo>
                    <a:pt x="312" y="172"/>
                  </a:moveTo>
                  <a:cubicBezTo>
                    <a:pt x="312" y="134"/>
                    <a:pt x="312" y="134"/>
                    <a:pt x="312" y="134"/>
                  </a:cubicBezTo>
                  <a:cubicBezTo>
                    <a:pt x="312" y="124"/>
                    <a:pt x="320" y="115"/>
                    <a:pt x="331" y="115"/>
                  </a:cubicBezTo>
                  <a:cubicBezTo>
                    <a:pt x="483" y="115"/>
                    <a:pt x="483" y="115"/>
                    <a:pt x="483" y="115"/>
                  </a:cubicBezTo>
                  <a:cubicBezTo>
                    <a:pt x="598" y="115"/>
                    <a:pt x="598" y="115"/>
                    <a:pt x="598" y="115"/>
                  </a:cubicBezTo>
                  <a:cubicBezTo>
                    <a:pt x="750" y="115"/>
                    <a:pt x="750" y="115"/>
                    <a:pt x="750" y="115"/>
                  </a:cubicBezTo>
                  <a:cubicBezTo>
                    <a:pt x="761" y="115"/>
                    <a:pt x="769" y="124"/>
                    <a:pt x="769" y="134"/>
                  </a:cubicBezTo>
                  <a:cubicBezTo>
                    <a:pt x="769" y="172"/>
                    <a:pt x="769" y="172"/>
                    <a:pt x="769" y="172"/>
                  </a:cubicBezTo>
                  <a:cubicBezTo>
                    <a:pt x="769" y="183"/>
                    <a:pt x="761" y="191"/>
                    <a:pt x="750" y="191"/>
                  </a:cubicBezTo>
                  <a:cubicBezTo>
                    <a:pt x="598" y="191"/>
                    <a:pt x="598" y="191"/>
                    <a:pt x="598" y="191"/>
                  </a:cubicBezTo>
                  <a:cubicBezTo>
                    <a:pt x="483" y="191"/>
                    <a:pt x="483" y="191"/>
                    <a:pt x="483" y="191"/>
                  </a:cubicBezTo>
                  <a:cubicBezTo>
                    <a:pt x="331" y="191"/>
                    <a:pt x="331" y="191"/>
                    <a:pt x="331" y="191"/>
                  </a:cubicBezTo>
                  <a:cubicBezTo>
                    <a:pt x="320" y="191"/>
                    <a:pt x="312" y="183"/>
                    <a:pt x="312" y="172"/>
                  </a:cubicBezTo>
                  <a:close/>
                  <a:moveTo>
                    <a:pt x="862" y="977"/>
                  </a:moveTo>
                  <a:cubicBezTo>
                    <a:pt x="822" y="977"/>
                    <a:pt x="788" y="944"/>
                    <a:pt x="788" y="904"/>
                  </a:cubicBezTo>
                  <a:cubicBezTo>
                    <a:pt x="788" y="863"/>
                    <a:pt x="822" y="830"/>
                    <a:pt x="862" y="830"/>
                  </a:cubicBezTo>
                  <a:cubicBezTo>
                    <a:pt x="903" y="830"/>
                    <a:pt x="936" y="863"/>
                    <a:pt x="936" y="904"/>
                  </a:cubicBezTo>
                  <a:cubicBezTo>
                    <a:pt x="936" y="944"/>
                    <a:pt x="903" y="977"/>
                    <a:pt x="862" y="977"/>
                  </a:cubicBezTo>
                  <a:close/>
                  <a:moveTo>
                    <a:pt x="219" y="830"/>
                  </a:moveTo>
                  <a:cubicBezTo>
                    <a:pt x="260" y="830"/>
                    <a:pt x="293" y="863"/>
                    <a:pt x="293" y="904"/>
                  </a:cubicBezTo>
                  <a:cubicBezTo>
                    <a:pt x="293" y="944"/>
                    <a:pt x="260" y="977"/>
                    <a:pt x="219" y="977"/>
                  </a:cubicBezTo>
                  <a:cubicBezTo>
                    <a:pt x="178" y="977"/>
                    <a:pt x="145" y="944"/>
                    <a:pt x="145" y="904"/>
                  </a:cubicBezTo>
                  <a:cubicBezTo>
                    <a:pt x="145" y="863"/>
                    <a:pt x="178" y="830"/>
                    <a:pt x="219" y="830"/>
                  </a:cubicBezTo>
                  <a:close/>
                  <a:moveTo>
                    <a:pt x="415" y="1023"/>
                  </a:moveTo>
                  <a:cubicBezTo>
                    <a:pt x="415" y="966"/>
                    <a:pt x="415" y="966"/>
                    <a:pt x="415" y="966"/>
                  </a:cubicBezTo>
                  <a:cubicBezTo>
                    <a:pt x="415" y="953"/>
                    <a:pt x="425" y="943"/>
                    <a:pt x="438" y="943"/>
                  </a:cubicBezTo>
                  <a:cubicBezTo>
                    <a:pt x="644" y="943"/>
                    <a:pt x="644" y="943"/>
                    <a:pt x="644" y="943"/>
                  </a:cubicBezTo>
                  <a:cubicBezTo>
                    <a:pt x="656" y="943"/>
                    <a:pt x="666" y="953"/>
                    <a:pt x="666" y="966"/>
                  </a:cubicBezTo>
                  <a:cubicBezTo>
                    <a:pt x="666" y="1023"/>
                    <a:pt x="666" y="1023"/>
                    <a:pt x="666" y="1023"/>
                  </a:cubicBezTo>
                  <a:cubicBezTo>
                    <a:pt x="666" y="1036"/>
                    <a:pt x="656" y="1046"/>
                    <a:pt x="644" y="1046"/>
                  </a:cubicBezTo>
                  <a:cubicBezTo>
                    <a:pt x="438" y="1046"/>
                    <a:pt x="438" y="1046"/>
                    <a:pt x="438" y="1046"/>
                  </a:cubicBezTo>
                  <a:cubicBezTo>
                    <a:pt x="425" y="1046"/>
                    <a:pt x="415" y="1036"/>
                    <a:pt x="415" y="1023"/>
                  </a:cubicBezTo>
                  <a:close/>
                  <a:moveTo>
                    <a:pt x="758" y="1096"/>
                  </a:moveTo>
                  <a:cubicBezTo>
                    <a:pt x="773" y="1110"/>
                    <a:pt x="773" y="1110"/>
                    <a:pt x="773" y="1110"/>
                  </a:cubicBezTo>
                  <a:cubicBezTo>
                    <a:pt x="309" y="1110"/>
                    <a:pt x="309" y="1110"/>
                    <a:pt x="309" y="1110"/>
                  </a:cubicBezTo>
                  <a:cubicBezTo>
                    <a:pt x="323" y="1096"/>
                    <a:pt x="323" y="1096"/>
                    <a:pt x="323" y="1096"/>
                  </a:cubicBezTo>
                  <a:lnTo>
                    <a:pt x="758" y="1096"/>
                  </a:lnTo>
                  <a:close/>
                  <a:moveTo>
                    <a:pt x="213" y="1202"/>
                  </a:moveTo>
                  <a:cubicBezTo>
                    <a:pt x="279" y="1138"/>
                    <a:pt x="279" y="1138"/>
                    <a:pt x="279" y="1138"/>
                  </a:cubicBezTo>
                  <a:cubicBezTo>
                    <a:pt x="802" y="1138"/>
                    <a:pt x="802" y="1138"/>
                    <a:pt x="802" y="1138"/>
                  </a:cubicBezTo>
                  <a:cubicBezTo>
                    <a:pt x="868" y="1202"/>
                    <a:pt x="868" y="1202"/>
                    <a:pt x="868" y="1202"/>
                  </a:cubicBezTo>
                  <a:lnTo>
                    <a:pt x="213" y="1202"/>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grpSp>
          <p:nvGrpSpPr>
            <p:cNvPr id="161" name="Group 160"/>
            <p:cNvGrpSpPr/>
            <p:nvPr/>
          </p:nvGrpSpPr>
          <p:grpSpPr>
            <a:xfrm>
              <a:off x="3028400" y="2854609"/>
              <a:ext cx="403660" cy="536602"/>
              <a:chOff x="6162675" y="-5616575"/>
              <a:chExt cx="3976688" cy="5286375"/>
            </a:xfrm>
            <a:grpFill/>
          </p:grpSpPr>
          <p:sp>
            <p:nvSpPr>
              <p:cNvPr id="162" name="Freeform 5"/>
              <p:cNvSpPr>
                <a:spLocks noEditPoints="1"/>
              </p:cNvSpPr>
              <p:nvPr/>
            </p:nvSpPr>
            <p:spPr bwMode="auto">
              <a:xfrm>
                <a:off x="6645275" y="-4291013"/>
                <a:ext cx="3011488" cy="2630488"/>
              </a:xfrm>
              <a:custGeom>
                <a:avLst/>
                <a:gdLst>
                  <a:gd name="T0" fmla="*/ 622 w 801"/>
                  <a:gd name="T1" fmla="*/ 190 h 700"/>
                  <a:gd name="T2" fmla="*/ 761 w 801"/>
                  <a:gd name="T3" fmla="*/ 190 h 700"/>
                  <a:gd name="T4" fmla="*/ 801 w 801"/>
                  <a:gd name="T5" fmla="*/ 231 h 700"/>
                  <a:gd name="T6" fmla="*/ 801 w 801"/>
                  <a:gd name="T7" fmla="*/ 423 h 700"/>
                  <a:gd name="T8" fmla="*/ 761 w 801"/>
                  <a:gd name="T9" fmla="*/ 464 h 700"/>
                  <a:gd name="T10" fmla="*/ 761 w 801"/>
                  <a:gd name="T11" fmla="*/ 659 h 700"/>
                  <a:gd name="T12" fmla="*/ 721 w 801"/>
                  <a:gd name="T13" fmla="*/ 700 h 700"/>
                  <a:gd name="T14" fmla="*/ 660 w 801"/>
                  <a:gd name="T15" fmla="*/ 700 h 700"/>
                  <a:gd name="T16" fmla="*/ 622 w 801"/>
                  <a:gd name="T17" fmla="*/ 659 h 700"/>
                  <a:gd name="T18" fmla="*/ 622 w 801"/>
                  <a:gd name="T19" fmla="*/ 464 h 700"/>
                  <a:gd name="T20" fmla="*/ 582 w 801"/>
                  <a:gd name="T21" fmla="*/ 423 h 700"/>
                  <a:gd name="T22" fmla="*/ 582 w 801"/>
                  <a:gd name="T23" fmla="*/ 231 h 700"/>
                  <a:gd name="T24" fmla="*/ 622 w 801"/>
                  <a:gd name="T25" fmla="*/ 190 h 700"/>
                  <a:gd name="T26" fmla="*/ 40 w 801"/>
                  <a:gd name="T27" fmla="*/ 190 h 700"/>
                  <a:gd name="T28" fmla="*/ 178 w 801"/>
                  <a:gd name="T29" fmla="*/ 190 h 700"/>
                  <a:gd name="T30" fmla="*/ 218 w 801"/>
                  <a:gd name="T31" fmla="*/ 231 h 700"/>
                  <a:gd name="T32" fmla="*/ 218 w 801"/>
                  <a:gd name="T33" fmla="*/ 423 h 700"/>
                  <a:gd name="T34" fmla="*/ 178 w 801"/>
                  <a:gd name="T35" fmla="*/ 464 h 700"/>
                  <a:gd name="T36" fmla="*/ 178 w 801"/>
                  <a:gd name="T37" fmla="*/ 659 h 700"/>
                  <a:gd name="T38" fmla="*/ 140 w 801"/>
                  <a:gd name="T39" fmla="*/ 700 h 700"/>
                  <a:gd name="T40" fmla="*/ 80 w 801"/>
                  <a:gd name="T41" fmla="*/ 700 h 700"/>
                  <a:gd name="T42" fmla="*/ 40 w 801"/>
                  <a:gd name="T43" fmla="*/ 659 h 700"/>
                  <a:gd name="T44" fmla="*/ 40 w 801"/>
                  <a:gd name="T45" fmla="*/ 464 h 700"/>
                  <a:gd name="T46" fmla="*/ 0 w 801"/>
                  <a:gd name="T47" fmla="*/ 423 h 700"/>
                  <a:gd name="T48" fmla="*/ 0 w 801"/>
                  <a:gd name="T49" fmla="*/ 231 h 700"/>
                  <a:gd name="T50" fmla="*/ 40 w 801"/>
                  <a:gd name="T51" fmla="*/ 190 h 700"/>
                  <a:gd name="T52" fmla="*/ 320 w 801"/>
                  <a:gd name="T53" fmla="*/ 172 h 700"/>
                  <a:gd name="T54" fmla="*/ 481 w 801"/>
                  <a:gd name="T55" fmla="*/ 172 h 700"/>
                  <a:gd name="T56" fmla="*/ 529 w 801"/>
                  <a:gd name="T57" fmla="*/ 221 h 700"/>
                  <a:gd name="T58" fmla="*/ 529 w 801"/>
                  <a:gd name="T59" fmla="*/ 444 h 700"/>
                  <a:gd name="T60" fmla="*/ 481 w 801"/>
                  <a:gd name="T61" fmla="*/ 493 h 700"/>
                  <a:gd name="T62" fmla="*/ 481 w 801"/>
                  <a:gd name="T63" fmla="*/ 651 h 700"/>
                  <a:gd name="T64" fmla="*/ 435 w 801"/>
                  <a:gd name="T65" fmla="*/ 700 h 700"/>
                  <a:gd name="T66" fmla="*/ 366 w 801"/>
                  <a:gd name="T67" fmla="*/ 700 h 700"/>
                  <a:gd name="T68" fmla="*/ 320 w 801"/>
                  <a:gd name="T69" fmla="*/ 651 h 700"/>
                  <a:gd name="T70" fmla="*/ 320 w 801"/>
                  <a:gd name="T71" fmla="*/ 493 h 700"/>
                  <a:gd name="T72" fmla="*/ 272 w 801"/>
                  <a:gd name="T73" fmla="*/ 444 h 700"/>
                  <a:gd name="T74" fmla="*/ 272 w 801"/>
                  <a:gd name="T75" fmla="*/ 221 h 700"/>
                  <a:gd name="T76" fmla="*/ 320 w 801"/>
                  <a:gd name="T77" fmla="*/ 172 h 700"/>
                  <a:gd name="T78" fmla="*/ 691 w 801"/>
                  <a:gd name="T79" fmla="*/ 42 h 700"/>
                  <a:gd name="T80" fmla="*/ 757 w 801"/>
                  <a:gd name="T81" fmla="*/ 110 h 700"/>
                  <a:gd name="T82" fmla="*/ 691 w 801"/>
                  <a:gd name="T83" fmla="*/ 178 h 700"/>
                  <a:gd name="T84" fmla="*/ 626 w 801"/>
                  <a:gd name="T85" fmla="*/ 110 h 700"/>
                  <a:gd name="T86" fmla="*/ 691 w 801"/>
                  <a:gd name="T87" fmla="*/ 42 h 700"/>
                  <a:gd name="T88" fmla="*/ 109 w 801"/>
                  <a:gd name="T89" fmla="*/ 42 h 700"/>
                  <a:gd name="T90" fmla="*/ 174 w 801"/>
                  <a:gd name="T91" fmla="*/ 110 h 700"/>
                  <a:gd name="T92" fmla="*/ 109 w 801"/>
                  <a:gd name="T93" fmla="*/ 178 h 700"/>
                  <a:gd name="T94" fmla="*/ 44 w 801"/>
                  <a:gd name="T95" fmla="*/ 110 h 700"/>
                  <a:gd name="T96" fmla="*/ 109 w 801"/>
                  <a:gd name="T97" fmla="*/ 42 h 700"/>
                  <a:gd name="T98" fmla="*/ 400 w 801"/>
                  <a:gd name="T99" fmla="*/ 0 h 700"/>
                  <a:gd name="T100" fmla="*/ 476 w 801"/>
                  <a:gd name="T101" fmla="*/ 78 h 700"/>
                  <a:gd name="T102" fmla="*/ 400 w 801"/>
                  <a:gd name="T103" fmla="*/ 157 h 700"/>
                  <a:gd name="T104" fmla="*/ 324 w 801"/>
                  <a:gd name="T105" fmla="*/ 78 h 700"/>
                  <a:gd name="T106" fmla="*/ 400 w 801"/>
                  <a:gd name="T107" fmla="*/ 0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01" h="700">
                    <a:moveTo>
                      <a:pt x="622" y="190"/>
                    </a:moveTo>
                    <a:cubicBezTo>
                      <a:pt x="622" y="190"/>
                      <a:pt x="623" y="190"/>
                      <a:pt x="761" y="190"/>
                    </a:cubicBezTo>
                    <a:cubicBezTo>
                      <a:pt x="783" y="190"/>
                      <a:pt x="801" y="208"/>
                      <a:pt x="801" y="231"/>
                    </a:cubicBezTo>
                    <a:cubicBezTo>
                      <a:pt x="801" y="231"/>
                      <a:pt x="801" y="232"/>
                      <a:pt x="801" y="423"/>
                    </a:cubicBezTo>
                    <a:cubicBezTo>
                      <a:pt x="801" y="446"/>
                      <a:pt x="783" y="464"/>
                      <a:pt x="761" y="464"/>
                    </a:cubicBezTo>
                    <a:cubicBezTo>
                      <a:pt x="761" y="464"/>
                      <a:pt x="761" y="523"/>
                      <a:pt x="761" y="659"/>
                    </a:cubicBezTo>
                    <a:cubicBezTo>
                      <a:pt x="761" y="682"/>
                      <a:pt x="743" y="700"/>
                      <a:pt x="721" y="700"/>
                    </a:cubicBezTo>
                    <a:cubicBezTo>
                      <a:pt x="721" y="700"/>
                      <a:pt x="720" y="700"/>
                      <a:pt x="660" y="700"/>
                    </a:cubicBezTo>
                    <a:cubicBezTo>
                      <a:pt x="640" y="700"/>
                      <a:pt x="622" y="682"/>
                      <a:pt x="622" y="659"/>
                    </a:cubicBezTo>
                    <a:cubicBezTo>
                      <a:pt x="622" y="659"/>
                      <a:pt x="622" y="601"/>
                      <a:pt x="622" y="464"/>
                    </a:cubicBezTo>
                    <a:cubicBezTo>
                      <a:pt x="600" y="464"/>
                      <a:pt x="582" y="446"/>
                      <a:pt x="582" y="423"/>
                    </a:cubicBezTo>
                    <a:cubicBezTo>
                      <a:pt x="582" y="423"/>
                      <a:pt x="582" y="422"/>
                      <a:pt x="582" y="231"/>
                    </a:cubicBezTo>
                    <a:cubicBezTo>
                      <a:pt x="582" y="208"/>
                      <a:pt x="600" y="190"/>
                      <a:pt x="622" y="190"/>
                    </a:cubicBezTo>
                    <a:close/>
                    <a:moveTo>
                      <a:pt x="40" y="190"/>
                    </a:moveTo>
                    <a:cubicBezTo>
                      <a:pt x="40" y="190"/>
                      <a:pt x="41" y="190"/>
                      <a:pt x="178" y="190"/>
                    </a:cubicBezTo>
                    <a:cubicBezTo>
                      <a:pt x="200" y="190"/>
                      <a:pt x="218" y="208"/>
                      <a:pt x="218" y="231"/>
                    </a:cubicBezTo>
                    <a:cubicBezTo>
                      <a:pt x="218" y="231"/>
                      <a:pt x="218" y="232"/>
                      <a:pt x="218" y="423"/>
                    </a:cubicBezTo>
                    <a:cubicBezTo>
                      <a:pt x="218" y="446"/>
                      <a:pt x="200" y="464"/>
                      <a:pt x="178" y="464"/>
                    </a:cubicBezTo>
                    <a:cubicBezTo>
                      <a:pt x="178" y="464"/>
                      <a:pt x="178" y="522"/>
                      <a:pt x="178" y="659"/>
                    </a:cubicBezTo>
                    <a:cubicBezTo>
                      <a:pt x="178" y="682"/>
                      <a:pt x="160" y="700"/>
                      <a:pt x="140" y="700"/>
                    </a:cubicBezTo>
                    <a:cubicBezTo>
                      <a:pt x="140" y="700"/>
                      <a:pt x="140" y="700"/>
                      <a:pt x="80" y="700"/>
                    </a:cubicBezTo>
                    <a:cubicBezTo>
                      <a:pt x="58" y="700"/>
                      <a:pt x="40" y="682"/>
                      <a:pt x="40" y="659"/>
                    </a:cubicBezTo>
                    <a:cubicBezTo>
                      <a:pt x="40" y="659"/>
                      <a:pt x="40" y="601"/>
                      <a:pt x="40" y="464"/>
                    </a:cubicBezTo>
                    <a:cubicBezTo>
                      <a:pt x="18" y="464"/>
                      <a:pt x="0" y="446"/>
                      <a:pt x="0" y="423"/>
                    </a:cubicBezTo>
                    <a:cubicBezTo>
                      <a:pt x="0" y="423"/>
                      <a:pt x="0" y="423"/>
                      <a:pt x="0" y="231"/>
                    </a:cubicBezTo>
                    <a:cubicBezTo>
                      <a:pt x="0" y="208"/>
                      <a:pt x="18" y="190"/>
                      <a:pt x="40" y="190"/>
                    </a:cubicBezTo>
                    <a:close/>
                    <a:moveTo>
                      <a:pt x="320" y="172"/>
                    </a:moveTo>
                    <a:cubicBezTo>
                      <a:pt x="320" y="172"/>
                      <a:pt x="321" y="172"/>
                      <a:pt x="481" y="172"/>
                    </a:cubicBezTo>
                    <a:cubicBezTo>
                      <a:pt x="507" y="172"/>
                      <a:pt x="529" y="194"/>
                      <a:pt x="529" y="221"/>
                    </a:cubicBezTo>
                    <a:cubicBezTo>
                      <a:pt x="529" y="221"/>
                      <a:pt x="529" y="222"/>
                      <a:pt x="529" y="444"/>
                    </a:cubicBezTo>
                    <a:cubicBezTo>
                      <a:pt x="529" y="471"/>
                      <a:pt x="507" y="493"/>
                      <a:pt x="481" y="493"/>
                    </a:cubicBezTo>
                    <a:cubicBezTo>
                      <a:pt x="481" y="493"/>
                      <a:pt x="481" y="494"/>
                      <a:pt x="481" y="651"/>
                    </a:cubicBezTo>
                    <a:cubicBezTo>
                      <a:pt x="481" y="677"/>
                      <a:pt x="461" y="700"/>
                      <a:pt x="435" y="700"/>
                    </a:cubicBezTo>
                    <a:cubicBezTo>
                      <a:pt x="435" y="700"/>
                      <a:pt x="434" y="700"/>
                      <a:pt x="366" y="700"/>
                    </a:cubicBezTo>
                    <a:cubicBezTo>
                      <a:pt x="340" y="700"/>
                      <a:pt x="320" y="677"/>
                      <a:pt x="320" y="651"/>
                    </a:cubicBezTo>
                    <a:cubicBezTo>
                      <a:pt x="320" y="651"/>
                      <a:pt x="320" y="650"/>
                      <a:pt x="320" y="493"/>
                    </a:cubicBezTo>
                    <a:cubicBezTo>
                      <a:pt x="294" y="493"/>
                      <a:pt x="272" y="471"/>
                      <a:pt x="272" y="444"/>
                    </a:cubicBezTo>
                    <a:cubicBezTo>
                      <a:pt x="272" y="444"/>
                      <a:pt x="272" y="443"/>
                      <a:pt x="272" y="221"/>
                    </a:cubicBezTo>
                    <a:cubicBezTo>
                      <a:pt x="272" y="194"/>
                      <a:pt x="294" y="172"/>
                      <a:pt x="320" y="172"/>
                    </a:cubicBezTo>
                    <a:close/>
                    <a:moveTo>
                      <a:pt x="691" y="42"/>
                    </a:moveTo>
                    <a:cubicBezTo>
                      <a:pt x="727" y="42"/>
                      <a:pt x="757" y="73"/>
                      <a:pt x="757" y="110"/>
                    </a:cubicBezTo>
                    <a:cubicBezTo>
                      <a:pt x="757" y="147"/>
                      <a:pt x="727" y="178"/>
                      <a:pt x="691" y="178"/>
                    </a:cubicBezTo>
                    <a:cubicBezTo>
                      <a:pt x="655" y="178"/>
                      <a:pt x="626" y="147"/>
                      <a:pt x="626" y="110"/>
                    </a:cubicBezTo>
                    <a:cubicBezTo>
                      <a:pt x="626" y="73"/>
                      <a:pt x="655" y="42"/>
                      <a:pt x="691" y="42"/>
                    </a:cubicBezTo>
                    <a:close/>
                    <a:moveTo>
                      <a:pt x="109" y="42"/>
                    </a:moveTo>
                    <a:cubicBezTo>
                      <a:pt x="145" y="42"/>
                      <a:pt x="174" y="73"/>
                      <a:pt x="174" y="110"/>
                    </a:cubicBezTo>
                    <a:cubicBezTo>
                      <a:pt x="174" y="147"/>
                      <a:pt x="145" y="178"/>
                      <a:pt x="109" y="178"/>
                    </a:cubicBezTo>
                    <a:cubicBezTo>
                      <a:pt x="73" y="178"/>
                      <a:pt x="44" y="147"/>
                      <a:pt x="44" y="110"/>
                    </a:cubicBezTo>
                    <a:cubicBezTo>
                      <a:pt x="44" y="73"/>
                      <a:pt x="73" y="42"/>
                      <a:pt x="109" y="42"/>
                    </a:cubicBezTo>
                    <a:close/>
                    <a:moveTo>
                      <a:pt x="400" y="0"/>
                    </a:moveTo>
                    <a:cubicBezTo>
                      <a:pt x="442" y="0"/>
                      <a:pt x="476" y="35"/>
                      <a:pt x="476" y="78"/>
                    </a:cubicBezTo>
                    <a:cubicBezTo>
                      <a:pt x="476" y="122"/>
                      <a:pt x="442" y="157"/>
                      <a:pt x="400" y="157"/>
                    </a:cubicBezTo>
                    <a:cubicBezTo>
                      <a:pt x="358" y="157"/>
                      <a:pt x="324" y="122"/>
                      <a:pt x="324" y="78"/>
                    </a:cubicBezTo>
                    <a:cubicBezTo>
                      <a:pt x="324" y="35"/>
                      <a:pt x="358" y="0"/>
                      <a:pt x="400"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prstClr val="black"/>
                  </a:solidFill>
                </a:endParaRPr>
              </a:p>
            </p:txBody>
          </p:sp>
          <p:sp>
            <p:nvSpPr>
              <p:cNvPr id="163" name="Freeform 6"/>
              <p:cNvSpPr>
                <a:spLocks/>
              </p:cNvSpPr>
              <p:nvPr/>
            </p:nvSpPr>
            <p:spPr bwMode="auto">
              <a:xfrm>
                <a:off x="6162675" y="-4959350"/>
                <a:ext cx="1131888" cy="3967163"/>
              </a:xfrm>
              <a:custGeom>
                <a:avLst/>
                <a:gdLst>
                  <a:gd name="T0" fmla="*/ 301 w 301"/>
                  <a:gd name="T1" fmla="*/ 1056 h 1056"/>
                  <a:gd name="T2" fmla="*/ 99 w 301"/>
                  <a:gd name="T3" fmla="*/ 1056 h 1056"/>
                  <a:gd name="T4" fmla="*/ 0 w 301"/>
                  <a:gd name="T5" fmla="*/ 958 h 1056"/>
                  <a:gd name="T6" fmla="*/ 0 w 301"/>
                  <a:gd name="T7" fmla="*/ 98 h 1056"/>
                  <a:gd name="T8" fmla="*/ 99 w 301"/>
                  <a:gd name="T9" fmla="*/ 0 h 1056"/>
                  <a:gd name="T10" fmla="*/ 301 w 301"/>
                  <a:gd name="T11" fmla="*/ 0 h 1056"/>
                  <a:gd name="T12" fmla="*/ 301 w 301"/>
                  <a:gd name="T13" fmla="*/ 48 h 1056"/>
                  <a:gd name="T14" fmla="*/ 99 w 301"/>
                  <a:gd name="T15" fmla="*/ 48 h 1056"/>
                  <a:gd name="T16" fmla="*/ 48 w 301"/>
                  <a:gd name="T17" fmla="*/ 98 h 1056"/>
                  <a:gd name="T18" fmla="*/ 48 w 301"/>
                  <a:gd name="T19" fmla="*/ 958 h 1056"/>
                  <a:gd name="T20" fmla="*/ 99 w 301"/>
                  <a:gd name="T21" fmla="*/ 1008 h 1056"/>
                  <a:gd name="T22" fmla="*/ 301 w 301"/>
                  <a:gd name="T23" fmla="*/ 1008 h 1056"/>
                  <a:gd name="T24" fmla="*/ 301 w 301"/>
                  <a:gd name="T25"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1" h="1056">
                    <a:moveTo>
                      <a:pt x="301" y="1056"/>
                    </a:moveTo>
                    <a:cubicBezTo>
                      <a:pt x="99" y="1056"/>
                      <a:pt x="99" y="1056"/>
                      <a:pt x="99" y="1056"/>
                    </a:cubicBezTo>
                    <a:cubicBezTo>
                      <a:pt x="44" y="1056"/>
                      <a:pt x="0" y="1012"/>
                      <a:pt x="0" y="958"/>
                    </a:cubicBezTo>
                    <a:cubicBezTo>
                      <a:pt x="0" y="98"/>
                      <a:pt x="0" y="98"/>
                      <a:pt x="0" y="98"/>
                    </a:cubicBezTo>
                    <a:cubicBezTo>
                      <a:pt x="0" y="44"/>
                      <a:pt x="44" y="0"/>
                      <a:pt x="99" y="0"/>
                    </a:cubicBezTo>
                    <a:cubicBezTo>
                      <a:pt x="301" y="0"/>
                      <a:pt x="301" y="0"/>
                      <a:pt x="301" y="0"/>
                    </a:cubicBezTo>
                    <a:cubicBezTo>
                      <a:pt x="301" y="48"/>
                      <a:pt x="301" y="48"/>
                      <a:pt x="301" y="48"/>
                    </a:cubicBezTo>
                    <a:cubicBezTo>
                      <a:pt x="99" y="48"/>
                      <a:pt x="99" y="48"/>
                      <a:pt x="99" y="48"/>
                    </a:cubicBezTo>
                    <a:cubicBezTo>
                      <a:pt x="71" y="48"/>
                      <a:pt x="48" y="70"/>
                      <a:pt x="48" y="98"/>
                    </a:cubicBezTo>
                    <a:cubicBezTo>
                      <a:pt x="48" y="958"/>
                      <a:pt x="48" y="958"/>
                      <a:pt x="48" y="958"/>
                    </a:cubicBezTo>
                    <a:cubicBezTo>
                      <a:pt x="48" y="986"/>
                      <a:pt x="71" y="1008"/>
                      <a:pt x="99" y="1008"/>
                    </a:cubicBezTo>
                    <a:cubicBezTo>
                      <a:pt x="301" y="1008"/>
                      <a:pt x="301" y="1008"/>
                      <a:pt x="301" y="1008"/>
                    </a:cubicBezTo>
                    <a:lnTo>
                      <a:pt x="301" y="105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prstClr val="black"/>
                  </a:solidFill>
                </a:endParaRPr>
              </a:p>
            </p:txBody>
          </p:sp>
          <p:sp>
            <p:nvSpPr>
              <p:cNvPr id="164" name="Freeform 7"/>
              <p:cNvSpPr>
                <a:spLocks/>
              </p:cNvSpPr>
              <p:nvPr/>
            </p:nvSpPr>
            <p:spPr bwMode="auto">
              <a:xfrm>
                <a:off x="9005888" y="-4959350"/>
                <a:ext cx="1133475" cy="3967163"/>
              </a:xfrm>
              <a:custGeom>
                <a:avLst/>
                <a:gdLst>
                  <a:gd name="T0" fmla="*/ 202 w 301"/>
                  <a:gd name="T1" fmla="*/ 1056 h 1056"/>
                  <a:gd name="T2" fmla="*/ 0 w 301"/>
                  <a:gd name="T3" fmla="*/ 1056 h 1056"/>
                  <a:gd name="T4" fmla="*/ 0 w 301"/>
                  <a:gd name="T5" fmla="*/ 1008 h 1056"/>
                  <a:gd name="T6" fmla="*/ 202 w 301"/>
                  <a:gd name="T7" fmla="*/ 1008 h 1056"/>
                  <a:gd name="T8" fmla="*/ 253 w 301"/>
                  <a:gd name="T9" fmla="*/ 958 h 1056"/>
                  <a:gd name="T10" fmla="*/ 253 w 301"/>
                  <a:gd name="T11" fmla="*/ 98 h 1056"/>
                  <a:gd name="T12" fmla="*/ 202 w 301"/>
                  <a:gd name="T13" fmla="*/ 48 h 1056"/>
                  <a:gd name="T14" fmla="*/ 0 w 301"/>
                  <a:gd name="T15" fmla="*/ 48 h 1056"/>
                  <a:gd name="T16" fmla="*/ 0 w 301"/>
                  <a:gd name="T17" fmla="*/ 0 h 1056"/>
                  <a:gd name="T18" fmla="*/ 202 w 301"/>
                  <a:gd name="T19" fmla="*/ 0 h 1056"/>
                  <a:gd name="T20" fmla="*/ 301 w 301"/>
                  <a:gd name="T21" fmla="*/ 98 h 1056"/>
                  <a:gd name="T22" fmla="*/ 301 w 301"/>
                  <a:gd name="T23" fmla="*/ 958 h 1056"/>
                  <a:gd name="T24" fmla="*/ 202 w 301"/>
                  <a:gd name="T25" fmla="*/ 1056 h 10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1" h="1056">
                    <a:moveTo>
                      <a:pt x="202" y="1056"/>
                    </a:moveTo>
                    <a:cubicBezTo>
                      <a:pt x="0" y="1056"/>
                      <a:pt x="0" y="1056"/>
                      <a:pt x="0" y="1056"/>
                    </a:cubicBezTo>
                    <a:cubicBezTo>
                      <a:pt x="0" y="1008"/>
                      <a:pt x="0" y="1008"/>
                      <a:pt x="0" y="1008"/>
                    </a:cubicBezTo>
                    <a:cubicBezTo>
                      <a:pt x="202" y="1008"/>
                      <a:pt x="202" y="1008"/>
                      <a:pt x="202" y="1008"/>
                    </a:cubicBezTo>
                    <a:cubicBezTo>
                      <a:pt x="230" y="1008"/>
                      <a:pt x="253" y="986"/>
                      <a:pt x="253" y="958"/>
                    </a:cubicBezTo>
                    <a:cubicBezTo>
                      <a:pt x="253" y="98"/>
                      <a:pt x="253" y="98"/>
                      <a:pt x="253" y="98"/>
                    </a:cubicBezTo>
                    <a:cubicBezTo>
                      <a:pt x="253" y="70"/>
                      <a:pt x="230" y="48"/>
                      <a:pt x="202" y="48"/>
                    </a:cubicBezTo>
                    <a:cubicBezTo>
                      <a:pt x="0" y="48"/>
                      <a:pt x="0" y="48"/>
                      <a:pt x="0" y="48"/>
                    </a:cubicBezTo>
                    <a:cubicBezTo>
                      <a:pt x="0" y="0"/>
                      <a:pt x="0" y="0"/>
                      <a:pt x="0" y="0"/>
                    </a:cubicBezTo>
                    <a:cubicBezTo>
                      <a:pt x="202" y="0"/>
                      <a:pt x="202" y="0"/>
                      <a:pt x="202" y="0"/>
                    </a:cubicBezTo>
                    <a:cubicBezTo>
                      <a:pt x="257" y="0"/>
                      <a:pt x="301" y="44"/>
                      <a:pt x="301" y="98"/>
                    </a:cubicBezTo>
                    <a:cubicBezTo>
                      <a:pt x="301" y="958"/>
                      <a:pt x="301" y="958"/>
                      <a:pt x="301" y="958"/>
                    </a:cubicBezTo>
                    <a:cubicBezTo>
                      <a:pt x="301" y="1012"/>
                      <a:pt x="257" y="1056"/>
                      <a:pt x="202" y="105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prstClr val="black"/>
                  </a:solidFill>
                </a:endParaRPr>
              </a:p>
            </p:txBody>
          </p:sp>
          <p:sp>
            <p:nvSpPr>
              <p:cNvPr id="165" name="Freeform 8"/>
              <p:cNvSpPr>
                <a:spLocks/>
              </p:cNvSpPr>
              <p:nvPr/>
            </p:nvSpPr>
            <p:spPr bwMode="auto">
              <a:xfrm>
                <a:off x="7585075" y="-5616575"/>
                <a:ext cx="1131888" cy="698500"/>
              </a:xfrm>
              <a:custGeom>
                <a:avLst/>
                <a:gdLst>
                  <a:gd name="T0" fmla="*/ 355 w 713"/>
                  <a:gd name="T1" fmla="*/ 170 h 440"/>
                  <a:gd name="T2" fmla="*/ 625 w 713"/>
                  <a:gd name="T3" fmla="*/ 440 h 440"/>
                  <a:gd name="T4" fmla="*/ 713 w 713"/>
                  <a:gd name="T5" fmla="*/ 355 h 440"/>
                  <a:gd name="T6" fmla="*/ 355 w 713"/>
                  <a:gd name="T7" fmla="*/ 0 h 440"/>
                  <a:gd name="T8" fmla="*/ 0 w 713"/>
                  <a:gd name="T9" fmla="*/ 355 h 440"/>
                  <a:gd name="T10" fmla="*/ 88 w 713"/>
                  <a:gd name="T11" fmla="*/ 440 h 440"/>
                  <a:gd name="T12" fmla="*/ 355 w 713"/>
                  <a:gd name="T13" fmla="*/ 170 h 440"/>
                </a:gdLst>
                <a:ahLst/>
                <a:cxnLst>
                  <a:cxn ang="0">
                    <a:pos x="T0" y="T1"/>
                  </a:cxn>
                  <a:cxn ang="0">
                    <a:pos x="T2" y="T3"/>
                  </a:cxn>
                  <a:cxn ang="0">
                    <a:pos x="T4" y="T5"/>
                  </a:cxn>
                  <a:cxn ang="0">
                    <a:pos x="T6" y="T7"/>
                  </a:cxn>
                  <a:cxn ang="0">
                    <a:pos x="T8" y="T9"/>
                  </a:cxn>
                  <a:cxn ang="0">
                    <a:pos x="T10" y="T11"/>
                  </a:cxn>
                  <a:cxn ang="0">
                    <a:pos x="T12" y="T13"/>
                  </a:cxn>
                </a:cxnLst>
                <a:rect l="0" t="0" r="r" b="b"/>
                <a:pathLst>
                  <a:path w="713" h="440">
                    <a:moveTo>
                      <a:pt x="355" y="170"/>
                    </a:moveTo>
                    <a:lnTo>
                      <a:pt x="625" y="440"/>
                    </a:lnTo>
                    <a:lnTo>
                      <a:pt x="713" y="355"/>
                    </a:lnTo>
                    <a:lnTo>
                      <a:pt x="355" y="0"/>
                    </a:lnTo>
                    <a:lnTo>
                      <a:pt x="0" y="355"/>
                    </a:lnTo>
                    <a:lnTo>
                      <a:pt x="88" y="440"/>
                    </a:lnTo>
                    <a:lnTo>
                      <a:pt x="355" y="17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prstClr val="black"/>
                  </a:solidFill>
                </a:endParaRPr>
              </a:p>
            </p:txBody>
          </p:sp>
          <p:sp>
            <p:nvSpPr>
              <p:cNvPr id="166" name="Freeform 9"/>
              <p:cNvSpPr>
                <a:spLocks/>
              </p:cNvSpPr>
              <p:nvPr/>
            </p:nvSpPr>
            <p:spPr bwMode="auto">
              <a:xfrm>
                <a:off x="7580313" y="-1036638"/>
                <a:ext cx="1139825" cy="706438"/>
              </a:xfrm>
              <a:custGeom>
                <a:avLst/>
                <a:gdLst>
                  <a:gd name="T0" fmla="*/ 358 w 718"/>
                  <a:gd name="T1" fmla="*/ 272 h 445"/>
                  <a:gd name="T2" fmla="*/ 86 w 718"/>
                  <a:gd name="T3" fmla="*/ 0 h 445"/>
                  <a:gd name="T4" fmla="*/ 0 w 718"/>
                  <a:gd name="T5" fmla="*/ 85 h 445"/>
                  <a:gd name="T6" fmla="*/ 358 w 718"/>
                  <a:gd name="T7" fmla="*/ 445 h 445"/>
                  <a:gd name="T8" fmla="*/ 718 w 718"/>
                  <a:gd name="T9" fmla="*/ 85 h 445"/>
                  <a:gd name="T10" fmla="*/ 633 w 718"/>
                  <a:gd name="T11" fmla="*/ 0 h 445"/>
                  <a:gd name="T12" fmla="*/ 358 w 718"/>
                  <a:gd name="T13" fmla="*/ 272 h 445"/>
                </a:gdLst>
                <a:ahLst/>
                <a:cxnLst>
                  <a:cxn ang="0">
                    <a:pos x="T0" y="T1"/>
                  </a:cxn>
                  <a:cxn ang="0">
                    <a:pos x="T2" y="T3"/>
                  </a:cxn>
                  <a:cxn ang="0">
                    <a:pos x="T4" y="T5"/>
                  </a:cxn>
                  <a:cxn ang="0">
                    <a:pos x="T6" y="T7"/>
                  </a:cxn>
                  <a:cxn ang="0">
                    <a:pos x="T8" y="T9"/>
                  </a:cxn>
                  <a:cxn ang="0">
                    <a:pos x="T10" y="T11"/>
                  </a:cxn>
                  <a:cxn ang="0">
                    <a:pos x="T12" y="T13"/>
                  </a:cxn>
                </a:cxnLst>
                <a:rect l="0" t="0" r="r" b="b"/>
                <a:pathLst>
                  <a:path w="718" h="445">
                    <a:moveTo>
                      <a:pt x="358" y="272"/>
                    </a:moveTo>
                    <a:lnTo>
                      <a:pt x="86" y="0"/>
                    </a:lnTo>
                    <a:lnTo>
                      <a:pt x="0" y="85"/>
                    </a:lnTo>
                    <a:lnTo>
                      <a:pt x="358" y="445"/>
                    </a:lnTo>
                    <a:lnTo>
                      <a:pt x="718" y="85"/>
                    </a:lnTo>
                    <a:lnTo>
                      <a:pt x="633" y="0"/>
                    </a:lnTo>
                    <a:lnTo>
                      <a:pt x="358" y="27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30" tIns="44814" rIns="89630" bIns="44814" numCol="1" anchor="t" anchorCtr="0" compatLnSpc="1">
                <a:prstTxWarp prst="textNoShape">
                  <a:avLst/>
                </a:prstTxWarp>
              </a:bodyPr>
              <a:lstStyle/>
              <a:p>
                <a:pPr defTabSz="914139"/>
                <a:endParaRPr lang="en-US">
                  <a:solidFill>
                    <a:prstClr val="black"/>
                  </a:solidFill>
                </a:endParaRPr>
              </a:p>
            </p:txBody>
          </p:sp>
        </p:grpSp>
      </p:grpSp>
      <p:grpSp>
        <p:nvGrpSpPr>
          <p:cNvPr id="42" name="Group 41"/>
          <p:cNvGrpSpPr/>
          <p:nvPr/>
        </p:nvGrpSpPr>
        <p:grpSpPr>
          <a:xfrm>
            <a:off x="275148" y="2187458"/>
            <a:ext cx="1335214" cy="2800691"/>
            <a:chOff x="274322" y="2187281"/>
            <a:chExt cx="1335404" cy="2801089"/>
          </a:xfrm>
        </p:grpSpPr>
        <p:sp>
          <p:nvSpPr>
            <p:cNvPr id="86" name="Rectangle 85"/>
            <p:cNvSpPr/>
            <p:nvPr/>
          </p:nvSpPr>
          <p:spPr>
            <a:xfrm>
              <a:off x="274322" y="2187281"/>
              <a:ext cx="1335404" cy="61744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79259" tIns="134445" rtlCol="0" anchor="t" anchorCtr="0"/>
            <a:lstStyle/>
            <a:p>
              <a:pPr defTabSz="914139">
                <a:lnSpc>
                  <a:spcPct val="90000"/>
                </a:lnSpc>
              </a:pPr>
              <a:r>
                <a:rPr lang="en-US" sz="1100" dirty="0">
                  <a:solidFill>
                    <a:prstClr val="white"/>
                  </a:solidFill>
                  <a:ea typeface="Segoe UI" panose="020B0502040204020203" pitchFamily="34" charset="0"/>
                  <a:cs typeface="Segoe UI" panose="020B0502040204020203" pitchFamily="34" charset="0"/>
                </a:rPr>
                <a:t>Windows </a:t>
              </a:r>
              <a:br>
                <a:rPr lang="en-US" sz="1100" dirty="0">
                  <a:solidFill>
                    <a:prstClr val="white"/>
                  </a:solidFill>
                  <a:ea typeface="Segoe UI" panose="020B0502040204020203" pitchFamily="34" charset="0"/>
                  <a:cs typeface="Segoe UI" panose="020B0502040204020203" pitchFamily="34" charset="0"/>
                </a:rPr>
              </a:br>
              <a:r>
                <a:rPr lang="en-US" sz="1100" dirty="0">
                  <a:solidFill>
                    <a:prstClr val="white"/>
                  </a:solidFill>
                  <a:ea typeface="Segoe UI" panose="020B0502040204020203" pitchFamily="34" charset="0"/>
                  <a:cs typeface="Segoe UI" panose="020B0502040204020203" pitchFamily="34" charset="0"/>
                </a:rPr>
                <a:t>devices</a:t>
              </a:r>
            </a:p>
          </p:txBody>
        </p:sp>
        <p:grpSp>
          <p:nvGrpSpPr>
            <p:cNvPr id="51" name="Group 50"/>
            <p:cNvGrpSpPr/>
            <p:nvPr/>
          </p:nvGrpSpPr>
          <p:grpSpPr>
            <a:xfrm>
              <a:off x="1249863" y="3256174"/>
              <a:ext cx="293793" cy="486596"/>
              <a:chOff x="2981515" y="4282797"/>
              <a:chExt cx="371475" cy="615261"/>
            </a:xfrm>
            <a:solidFill>
              <a:schemeClr val="bg1">
                <a:lumMod val="95000"/>
              </a:schemeClr>
            </a:solidFill>
          </p:grpSpPr>
          <p:sp>
            <p:nvSpPr>
              <p:cNvPr id="52" name="Freeform 13"/>
              <p:cNvSpPr>
                <a:spLocks noEditPoints="1"/>
              </p:cNvSpPr>
              <p:nvPr/>
            </p:nvSpPr>
            <p:spPr bwMode="auto">
              <a:xfrm>
                <a:off x="2981515" y="4282797"/>
                <a:ext cx="313163" cy="211117"/>
              </a:xfrm>
              <a:custGeom>
                <a:avLst/>
                <a:gdLst>
                  <a:gd name="T0" fmla="*/ 0 w 1783"/>
                  <a:gd name="T1" fmla="*/ 1202 h 1202"/>
                  <a:gd name="T2" fmla="*/ 1783 w 1783"/>
                  <a:gd name="T3" fmla="*/ 1202 h 1202"/>
                  <a:gd name="T4" fmla="*/ 1783 w 1783"/>
                  <a:gd name="T5" fmla="*/ 0 h 1202"/>
                  <a:gd name="T6" fmla="*/ 0 w 1783"/>
                  <a:gd name="T7" fmla="*/ 0 h 1202"/>
                  <a:gd name="T8" fmla="*/ 0 w 1783"/>
                  <a:gd name="T9" fmla="*/ 1202 h 1202"/>
                  <a:gd name="T10" fmla="*/ 152 w 1783"/>
                  <a:gd name="T11" fmla="*/ 154 h 1202"/>
                  <a:gd name="T12" fmla="*/ 1631 w 1783"/>
                  <a:gd name="T13" fmla="*/ 154 h 1202"/>
                  <a:gd name="T14" fmla="*/ 1631 w 1783"/>
                  <a:gd name="T15" fmla="*/ 1048 h 1202"/>
                  <a:gd name="T16" fmla="*/ 152 w 1783"/>
                  <a:gd name="T17" fmla="*/ 1048 h 1202"/>
                  <a:gd name="T18" fmla="*/ 152 w 1783"/>
                  <a:gd name="T19" fmla="*/ 154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83" h="1202">
                    <a:moveTo>
                      <a:pt x="0" y="1202"/>
                    </a:moveTo>
                    <a:lnTo>
                      <a:pt x="1783" y="1202"/>
                    </a:lnTo>
                    <a:lnTo>
                      <a:pt x="1783" y="0"/>
                    </a:lnTo>
                    <a:lnTo>
                      <a:pt x="0" y="0"/>
                    </a:lnTo>
                    <a:lnTo>
                      <a:pt x="0" y="1202"/>
                    </a:lnTo>
                    <a:close/>
                    <a:moveTo>
                      <a:pt x="152" y="154"/>
                    </a:moveTo>
                    <a:lnTo>
                      <a:pt x="1631" y="154"/>
                    </a:lnTo>
                    <a:lnTo>
                      <a:pt x="1631" y="1048"/>
                    </a:lnTo>
                    <a:lnTo>
                      <a:pt x="152" y="1048"/>
                    </a:lnTo>
                    <a:lnTo>
                      <a:pt x="152" y="15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53" name="Rectangle 14"/>
              <p:cNvSpPr>
                <a:spLocks noChangeArrowheads="1"/>
              </p:cNvSpPr>
              <p:nvPr/>
            </p:nvSpPr>
            <p:spPr bwMode="auto">
              <a:xfrm>
                <a:off x="3311364" y="4329341"/>
                <a:ext cx="41626" cy="11978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54" name="Freeform 15"/>
              <p:cNvSpPr>
                <a:spLocks/>
              </p:cNvSpPr>
              <p:nvPr/>
            </p:nvSpPr>
            <p:spPr bwMode="auto">
              <a:xfrm>
                <a:off x="2981515" y="4511478"/>
                <a:ext cx="313163" cy="386580"/>
              </a:xfrm>
              <a:custGeom>
                <a:avLst/>
                <a:gdLst>
                  <a:gd name="T0" fmla="*/ 1311 w 1783"/>
                  <a:gd name="T1" fmla="*/ 0 h 2201"/>
                  <a:gd name="T2" fmla="*/ 550 w 1783"/>
                  <a:gd name="T3" fmla="*/ 0 h 2201"/>
                  <a:gd name="T4" fmla="*/ 550 w 1783"/>
                  <a:gd name="T5" fmla="*/ 2069 h 2201"/>
                  <a:gd name="T6" fmla="*/ 0 w 1783"/>
                  <a:gd name="T7" fmla="*/ 2069 h 2201"/>
                  <a:gd name="T8" fmla="*/ 0 w 1783"/>
                  <a:gd name="T9" fmla="*/ 2201 h 2201"/>
                  <a:gd name="T10" fmla="*/ 1783 w 1783"/>
                  <a:gd name="T11" fmla="*/ 2201 h 2201"/>
                  <a:gd name="T12" fmla="*/ 1783 w 1783"/>
                  <a:gd name="T13" fmla="*/ 2069 h 2201"/>
                  <a:gd name="T14" fmla="*/ 1311 w 1783"/>
                  <a:gd name="T15" fmla="*/ 2069 h 2201"/>
                  <a:gd name="T16" fmla="*/ 1311 w 1783"/>
                  <a:gd name="T17"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83" h="2201">
                    <a:moveTo>
                      <a:pt x="1311" y="0"/>
                    </a:moveTo>
                    <a:lnTo>
                      <a:pt x="550" y="0"/>
                    </a:lnTo>
                    <a:lnTo>
                      <a:pt x="550" y="2069"/>
                    </a:lnTo>
                    <a:lnTo>
                      <a:pt x="0" y="2069"/>
                    </a:lnTo>
                    <a:lnTo>
                      <a:pt x="0" y="2201"/>
                    </a:lnTo>
                    <a:lnTo>
                      <a:pt x="1783" y="2201"/>
                    </a:lnTo>
                    <a:lnTo>
                      <a:pt x="1783" y="2069"/>
                    </a:lnTo>
                    <a:lnTo>
                      <a:pt x="1311" y="2069"/>
                    </a:lnTo>
                    <a:lnTo>
                      <a:pt x="1311"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grpSp>
        <p:grpSp>
          <p:nvGrpSpPr>
            <p:cNvPr id="55" name="Group 54"/>
            <p:cNvGrpSpPr/>
            <p:nvPr/>
          </p:nvGrpSpPr>
          <p:grpSpPr>
            <a:xfrm>
              <a:off x="489232" y="4318936"/>
              <a:ext cx="334195" cy="669434"/>
              <a:chOff x="-4067175" y="1268413"/>
              <a:chExt cx="2540000" cy="5087937"/>
            </a:xfrm>
            <a:solidFill>
              <a:schemeClr val="bg1">
                <a:lumMod val="95000"/>
              </a:schemeClr>
            </a:solidFill>
          </p:grpSpPr>
          <p:sp>
            <p:nvSpPr>
              <p:cNvPr id="56" name="Freeform 5"/>
              <p:cNvSpPr>
                <a:spLocks noEditPoints="1"/>
              </p:cNvSpPr>
              <p:nvPr/>
            </p:nvSpPr>
            <p:spPr bwMode="auto">
              <a:xfrm>
                <a:off x="-4067175" y="1268413"/>
                <a:ext cx="2540000" cy="4457700"/>
              </a:xfrm>
              <a:custGeom>
                <a:avLst/>
                <a:gdLst>
                  <a:gd name="T0" fmla="*/ 0 w 675"/>
                  <a:gd name="T1" fmla="*/ 1186 h 1186"/>
                  <a:gd name="T2" fmla="*/ 675 w 675"/>
                  <a:gd name="T3" fmla="*/ 0 h 1186"/>
                  <a:gd name="T4" fmla="*/ 618 w 675"/>
                  <a:gd name="T5" fmla="*/ 1104 h 1186"/>
                  <a:gd name="T6" fmla="*/ 71 w 675"/>
                  <a:gd name="T7" fmla="*/ 1118 h 1186"/>
                  <a:gd name="T8" fmla="*/ 58 w 675"/>
                  <a:gd name="T9" fmla="*/ 1048 h 1186"/>
                  <a:gd name="T10" fmla="*/ 604 w 675"/>
                  <a:gd name="T11" fmla="*/ 1034 h 1186"/>
                  <a:gd name="T12" fmla="*/ 618 w 675"/>
                  <a:gd name="T13" fmla="*/ 1104 h 1186"/>
                  <a:gd name="T14" fmla="*/ 498 w 675"/>
                  <a:gd name="T15" fmla="*/ 567 h 1186"/>
                  <a:gd name="T16" fmla="*/ 514 w 675"/>
                  <a:gd name="T17" fmla="*/ 583 h 1186"/>
                  <a:gd name="T18" fmla="*/ 497 w 675"/>
                  <a:gd name="T19" fmla="*/ 599 h 1186"/>
                  <a:gd name="T20" fmla="*/ 482 w 675"/>
                  <a:gd name="T21" fmla="*/ 583 h 1186"/>
                  <a:gd name="T22" fmla="*/ 482 w 675"/>
                  <a:gd name="T23" fmla="*/ 530 h 1186"/>
                  <a:gd name="T24" fmla="*/ 497 w 675"/>
                  <a:gd name="T25" fmla="*/ 514 h 1186"/>
                  <a:gd name="T26" fmla="*/ 514 w 675"/>
                  <a:gd name="T27" fmla="*/ 530 h 1186"/>
                  <a:gd name="T28" fmla="*/ 498 w 675"/>
                  <a:gd name="T29" fmla="*/ 546 h 1186"/>
                  <a:gd name="T30" fmla="*/ 482 w 675"/>
                  <a:gd name="T31" fmla="*/ 530 h 1186"/>
                  <a:gd name="T32" fmla="*/ 498 w 675"/>
                  <a:gd name="T33" fmla="*/ 621 h 1186"/>
                  <a:gd name="T34" fmla="*/ 514 w 675"/>
                  <a:gd name="T35" fmla="*/ 637 h 1186"/>
                  <a:gd name="T36" fmla="*/ 497 w 675"/>
                  <a:gd name="T37" fmla="*/ 653 h 1186"/>
                  <a:gd name="T38" fmla="*/ 482 w 675"/>
                  <a:gd name="T39" fmla="*/ 637 h 1186"/>
                  <a:gd name="T40" fmla="*/ 549 w 675"/>
                  <a:gd name="T41" fmla="*/ 567 h 1186"/>
                  <a:gd name="T42" fmla="*/ 566 w 675"/>
                  <a:gd name="T43" fmla="*/ 583 h 1186"/>
                  <a:gd name="T44" fmla="*/ 550 w 675"/>
                  <a:gd name="T45" fmla="*/ 599 h 1186"/>
                  <a:gd name="T46" fmla="*/ 534 w 675"/>
                  <a:gd name="T47" fmla="*/ 583 h 1186"/>
                  <a:gd name="T48" fmla="*/ 549 w 675"/>
                  <a:gd name="T49" fmla="*/ 567 h 1186"/>
                  <a:gd name="T50" fmla="*/ 534 w 675"/>
                  <a:gd name="T51" fmla="*/ 530 h 1186"/>
                  <a:gd name="T52" fmla="*/ 550 w 675"/>
                  <a:gd name="T53" fmla="*/ 514 h 1186"/>
                  <a:gd name="T54" fmla="*/ 566 w 675"/>
                  <a:gd name="T55" fmla="*/ 530 h 1186"/>
                  <a:gd name="T56" fmla="*/ 549 w 675"/>
                  <a:gd name="T57" fmla="*/ 546 h 1186"/>
                  <a:gd name="T58" fmla="*/ 549 w 675"/>
                  <a:gd name="T59" fmla="*/ 621 h 1186"/>
                  <a:gd name="T60" fmla="*/ 566 w 675"/>
                  <a:gd name="T61" fmla="*/ 637 h 1186"/>
                  <a:gd name="T62" fmla="*/ 550 w 675"/>
                  <a:gd name="T63" fmla="*/ 653 h 1186"/>
                  <a:gd name="T64" fmla="*/ 534 w 675"/>
                  <a:gd name="T65" fmla="*/ 637 h 1186"/>
                  <a:gd name="T66" fmla="*/ 549 w 675"/>
                  <a:gd name="T67" fmla="*/ 621 h 1186"/>
                  <a:gd name="T68" fmla="*/ 550 w 675"/>
                  <a:gd name="T69" fmla="*/ 673 h 1186"/>
                  <a:gd name="T70" fmla="*/ 566 w 675"/>
                  <a:gd name="T71" fmla="*/ 689 h 1186"/>
                  <a:gd name="T72" fmla="*/ 549 w 675"/>
                  <a:gd name="T73" fmla="*/ 705 h 1186"/>
                  <a:gd name="T74" fmla="*/ 534 w 675"/>
                  <a:gd name="T75" fmla="*/ 689 h 1186"/>
                  <a:gd name="T76" fmla="*/ 618 w 675"/>
                  <a:gd name="T77" fmla="*/ 637 h 1186"/>
                  <a:gd name="T78" fmla="*/ 601 w 675"/>
                  <a:gd name="T79" fmla="*/ 653 h 1186"/>
                  <a:gd name="T80" fmla="*/ 586 w 675"/>
                  <a:gd name="T81" fmla="*/ 637 h 1186"/>
                  <a:gd name="T82" fmla="*/ 602 w 675"/>
                  <a:gd name="T83" fmla="*/ 621 h 1186"/>
                  <a:gd name="T84" fmla="*/ 618 w 675"/>
                  <a:gd name="T85" fmla="*/ 583 h 1186"/>
                  <a:gd name="T86" fmla="*/ 601 w 675"/>
                  <a:gd name="T87" fmla="*/ 599 h 1186"/>
                  <a:gd name="T88" fmla="*/ 586 w 675"/>
                  <a:gd name="T89" fmla="*/ 583 h 1186"/>
                  <a:gd name="T90" fmla="*/ 602 w 675"/>
                  <a:gd name="T91" fmla="*/ 567 h 1186"/>
                  <a:gd name="T92" fmla="*/ 618 w 675"/>
                  <a:gd name="T93" fmla="*/ 530 h 1186"/>
                  <a:gd name="T94" fmla="*/ 601 w 675"/>
                  <a:gd name="T95" fmla="*/ 546 h 1186"/>
                  <a:gd name="T96" fmla="*/ 586 w 675"/>
                  <a:gd name="T97" fmla="*/ 530 h 1186"/>
                  <a:gd name="T98" fmla="*/ 602 w 675"/>
                  <a:gd name="T99" fmla="*/ 514 h 1186"/>
                  <a:gd name="T100" fmla="*/ 618 w 675"/>
                  <a:gd name="T101" fmla="*/ 414 h 1186"/>
                  <a:gd name="T102" fmla="*/ 384 w 675"/>
                  <a:gd name="T103" fmla="*/ 431 h 1186"/>
                  <a:gd name="T104" fmla="*/ 368 w 675"/>
                  <a:gd name="T105" fmla="*/ 974 h 1186"/>
                  <a:gd name="T106" fmla="*/ 74 w 675"/>
                  <a:gd name="T107" fmla="*/ 991 h 1186"/>
                  <a:gd name="T108" fmla="*/ 58 w 675"/>
                  <a:gd name="T109" fmla="*/ 74 h 1186"/>
                  <a:gd name="T110" fmla="*/ 601 w 675"/>
                  <a:gd name="T111" fmla="*/ 57 h 1186"/>
                  <a:gd name="T112" fmla="*/ 618 w 675"/>
                  <a:gd name="T113" fmla="*/ 414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675" h="1186">
                    <a:moveTo>
                      <a:pt x="0" y="0"/>
                    </a:moveTo>
                    <a:cubicBezTo>
                      <a:pt x="0" y="1186"/>
                      <a:pt x="0" y="1186"/>
                      <a:pt x="0" y="1186"/>
                    </a:cubicBezTo>
                    <a:cubicBezTo>
                      <a:pt x="675" y="1186"/>
                      <a:pt x="675" y="1186"/>
                      <a:pt x="675" y="1186"/>
                    </a:cubicBezTo>
                    <a:cubicBezTo>
                      <a:pt x="675" y="0"/>
                      <a:pt x="675" y="0"/>
                      <a:pt x="675" y="0"/>
                    </a:cubicBezTo>
                    <a:lnTo>
                      <a:pt x="0" y="0"/>
                    </a:lnTo>
                    <a:close/>
                    <a:moveTo>
                      <a:pt x="618" y="1104"/>
                    </a:moveTo>
                    <a:cubicBezTo>
                      <a:pt x="618" y="1112"/>
                      <a:pt x="612" y="1118"/>
                      <a:pt x="604" y="1118"/>
                    </a:cubicBezTo>
                    <a:cubicBezTo>
                      <a:pt x="71" y="1118"/>
                      <a:pt x="71" y="1118"/>
                      <a:pt x="71" y="1118"/>
                    </a:cubicBezTo>
                    <a:cubicBezTo>
                      <a:pt x="64" y="1118"/>
                      <a:pt x="58" y="1112"/>
                      <a:pt x="58" y="1104"/>
                    </a:cubicBezTo>
                    <a:cubicBezTo>
                      <a:pt x="58" y="1048"/>
                      <a:pt x="58" y="1048"/>
                      <a:pt x="58" y="1048"/>
                    </a:cubicBezTo>
                    <a:cubicBezTo>
                      <a:pt x="58" y="1040"/>
                      <a:pt x="64" y="1034"/>
                      <a:pt x="71" y="1034"/>
                    </a:cubicBezTo>
                    <a:cubicBezTo>
                      <a:pt x="604" y="1034"/>
                      <a:pt x="604" y="1034"/>
                      <a:pt x="604" y="1034"/>
                    </a:cubicBezTo>
                    <a:cubicBezTo>
                      <a:pt x="612" y="1034"/>
                      <a:pt x="618" y="1040"/>
                      <a:pt x="618" y="1048"/>
                    </a:cubicBezTo>
                    <a:lnTo>
                      <a:pt x="618" y="1104"/>
                    </a:lnTo>
                    <a:close/>
                    <a:moveTo>
                      <a:pt x="497" y="567"/>
                    </a:moveTo>
                    <a:cubicBezTo>
                      <a:pt x="498" y="567"/>
                      <a:pt x="498" y="567"/>
                      <a:pt x="498" y="567"/>
                    </a:cubicBezTo>
                    <a:cubicBezTo>
                      <a:pt x="507" y="567"/>
                      <a:pt x="514" y="574"/>
                      <a:pt x="514" y="583"/>
                    </a:cubicBezTo>
                    <a:cubicBezTo>
                      <a:pt x="514" y="583"/>
                      <a:pt x="514" y="583"/>
                      <a:pt x="514" y="583"/>
                    </a:cubicBezTo>
                    <a:cubicBezTo>
                      <a:pt x="514" y="592"/>
                      <a:pt x="507" y="599"/>
                      <a:pt x="498" y="599"/>
                    </a:cubicBezTo>
                    <a:cubicBezTo>
                      <a:pt x="497" y="599"/>
                      <a:pt x="497" y="599"/>
                      <a:pt x="497" y="599"/>
                    </a:cubicBezTo>
                    <a:cubicBezTo>
                      <a:pt x="489" y="599"/>
                      <a:pt x="482" y="592"/>
                      <a:pt x="482" y="583"/>
                    </a:cubicBezTo>
                    <a:cubicBezTo>
                      <a:pt x="482" y="583"/>
                      <a:pt x="482" y="583"/>
                      <a:pt x="482" y="583"/>
                    </a:cubicBezTo>
                    <a:cubicBezTo>
                      <a:pt x="482" y="574"/>
                      <a:pt x="489" y="567"/>
                      <a:pt x="497" y="567"/>
                    </a:cubicBezTo>
                    <a:close/>
                    <a:moveTo>
                      <a:pt x="482" y="530"/>
                    </a:moveTo>
                    <a:cubicBezTo>
                      <a:pt x="482" y="530"/>
                      <a:pt x="482" y="530"/>
                      <a:pt x="482" y="530"/>
                    </a:cubicBezTo>
                    <a:cubicBezTo>
                      <a:pt x="482" y="521"/>
                      <a:pt x="489" y="514"/>
                      <a:pt x="497" y="514"/>
                    </a:cubicBezTo>
                    <a:cubicBezTo>
                      <a:pt x="498" y="514"/>
                      <a:pt x="498" y="514"/>
                      <a:pt x="498" y="514"/>
                    </a:cubicBezTo>
                    <a:cubicBezTo>
                      <a:pt x="507" y="514"/>
                      <a:pt x="514" y="521"/>
                      <a:pt x="514" y="530"/>
                    </a:cubicBezTo>
                    <a:cubicBezTo>
                      <a:pt x="514" y="530"/>
                      <a:pt x="514" y="530"/>
                      <a:pt x="514" y="530"/>
                    </a:cubicBezTo>
                    <a:cubicBezTo>
                      <a:pt x="514" y="539"/>
                      <a:pt x="507" y="546"/>
                      <a:pt x="498" y="546"/>
                    </a:cubicBezTo>
                    <a:cubicBezTo>
                      <a:pt x="497" y="546"/>
                      <a:pt x="497" y="546"/>
                      <a:pt x="497" y="546"/>
                    </a:cubicBezTo>
                    <a:cubicBezTo>
                      <a:pt x="489" y="546"/>
                      <a:pt x="482" y="539"/>
                      <a:pt x="482" y="530"/>
                    </a:cubicBezTo>
                    <a:close/>
                    <a:moveTo>
                      <a:pt x="497" y="621"/>
                    </a:moveTo>
                    <a:cubicBezTo>
                      <a:pt x="498" y="621"/>
                      <a:pt x="498" y="621"/>
                      <a:pt x="498" y="621"/>
                    </a:cubicBezTo>
                    <a:cubicBezTo>
                      <a:pt x="507" y="621"/>
                      <a:pt x="514" y="628"/>
                      <a:pt x="514" y="637"/>
                    </a:cubicBezTo>
                    <a:cubicBezTo>
                      <a:pt x="514" y="637"/>
                      <a:pt x="514" y="637"/>
                      <a:pt x="514" y="637"/>
                    </a:cubicBezTo>
                    <a:cubicBezTo>
                      <a:pt x="514" y="646"/>
                      <a:pt x="507" y="653"/>
                      <a:pt x="498" y="653"/>
                    </a:cubicBezTo>
                    <a:cubicBezTo>
                      <a:pt x="497" y="653"/>
                      <a:pt x="497" y="653"/>
                      <a:pt x="497" y="653"/>
                    </a:cubicBezTo>
                    <a:cubicBezTo>
                      <a:pt x="489" y="653"/>
                      <a:pt x="482" y="646"/>
                      <a:pt x="482" y="637"/>
                    </a:cubicBezTo>
                    <a:cubicBezTo>
                      <a:pt x="482" y="637"/>
                      <a:pt x="482" y="637"/>
                      <a:pt x="482" y="637"/>
                    </a:cubicBezTo>
                    <a:cubicBezTo>
                      <a:pt x="482" y="628"/>
                      <a:pt x="489" y="621"/>
                      <a:pt x="497" y="621"/>
                    </a:cubicBezTo>
                    <a:close/>
                    <a:moveTo>
                      <a:pt x="549" y="567"/>
                    </a:moveTo>
                    <a:cubicBezTo>
                      <a:pt x="550" y="567"/>
                      <a:pt x="550" y="567"/>
                      <a:pt x="550" y="567"/>
                    </a:cubicBezTo>
                    <a:cubicBezTo>
                      <a:pt x="559" y="567"/>
                      <a:pt x="566" y="574"/>
                      <a:pt x="566" y="583"/>
                    </a:cubicBezTo>
                    <a:cubicBezTo>
                      <a:pt x="566" y="583"/>
                      <a:pt x="566" y="583"/>
                      <a:pt x="566" y="583"/>
                    </a:cubicBezTo>
                    <a:cubicBezTo>
                      <a:pt x="566" y="592"/>
                      <a:pt x="559" y="599"/>
                      <a:pt x="550" y="599"/>
                    </a:cubicBezTo>
                    <a:cubicBezTo>
                      <a:pt x="549" y="599"/>
                      <a:pt x="549" y="599"/>
                      <a:pt x="549" y="599"/>
                    </a:cubicBezTo>
                    <a:cubicBezTo>
                      <a:pt x="541" y="599"/>
                      <a:pt x="534" y="592"/>
                      <a:pt x="534" y="583"/>
                    </a:cubicBezTo>
                    <a:cubicBezTo>
                      <a:pt x="534" y="583"/>
                      <a:pt x="534" y="583"/>
                      <a:pt x="534" y="583"/>
                    </a:cubicBezTo>
                    <a:cubicBezTo>
                      <a:pt x="534" y="574"/>
                      <a:pt x="541" y="567"/>
                      <a:pt x="549" y="567"/>
                    </a:cubicBezTo>
                    <a:close/>
                    <a:moveTo>
                      <a:pt x="534" y="530"/>
                    </a:moveTo>
                    <a:cubicBezTo>
                      <a:pt x="534" y="530"/>
                      <a:pt x="534" y="530"/>
                      <a:pt x="534" y="530"/>
                    </a:cubicBezTo>
                    <a:cubicBezTo>
                      <a:pt x="534" y="521"/>
                      <a:pt x="541" y="514"/>
                      <a:pt x="549" y="514"/>
                    </a:cubicBezTo>
                    <a:cubicBezTo>
                      <a:pt x="550" y="514"/>
                      <a:pt x="550" y="514"/>
                      <a:pt x="550" y="514"/>
                    </a:cubicBezTo>
                    <a:cubicBezTo>
                      <a:pt x="559" y="514"/>
                      <a:pt x="566" y="521"/>
                      <a:pt x="566" y="530"/>
                    </a:cubicBezTo>
                    <a:cubicBezTo>
                      <a:pt x="566" y="530"/>
                      <a:pt x="566" y="530"/>
                      <a:pt x="566" y="530"/>
                    </a:cubicBezTo>
                    <a:cubicBezTo>
                      <a:pt x="566" y="539"/>
                      <a:pt x="559" y="546"/>
                      <a:pt x="550" y="546"/>
                    </a:cubicBezTo>
                    <a:cubicBezTo>
                      <a:pt x="549" y="546"/>
                      <a:pt x="549" y="546"/>
                      <a:pt x="549" y="546"/>
                    </a:cubicBezTo>
                    <a:cubicBezTo>
                      <a:pt x="541" y="546"/>
                      <a:pt x="534" y="539"/>
                      <a:pt x="534" y="530"/>
                    </a:cubicBezTo>
                    <a:close/>
                    <a:moveTo>
                      <a:pt x="549" y="621"/>
                    </a:moveTo>
                    <a:cubicBezTo>
                      <a:pt x="550" y="621"/>
                      <a:pt x="550" y="621"/>
                      <a:pt x="550" y="621"/>
                    </a:cubicBezTo>
                    <a:cubicBezTo>
                      <a:pt x="559" y="621"/>
                      <a:pt x="566" y="628"/>
                      <a:pt x="566" y="637"/>
                    </a:cubicBezTo>
                    <a:cubicBezTo>
                      <a:pt x="566" y="637"/>
                      <a:pt x="566" y="637"/>
                      <a:pt x="566" y="637"/>
                    </a:cubicBezTo>
                    <a:cubicBezTo>
                      <a:pt x="566" y="646"/>
                      <a:pt x="559" y="653"/>
                      <a:pt x="550" y="653"/>
                    </a:cubicBezTo>
                    <a:cubicBezTo>
                      <a:pt x="549" y="653"/>
                      <a:pt x="549" y="653"/>
                      <a:pt x="549" y="653"/>
                    </a:cubicBezTo>
                    <a:cubicBezTo>
                      <a:pt x="541" y="653"/>
                      <a:pt x="534" y="646"/>
                      <a:pt x="534" y="637"/>
                    </a:cubicBezTo>
                    <a:cubicBezTo>
                      <a:pt x="534" y="637"/>
                      <a:pt x="534" y="637"/>
                      <a:pt x="534" y="637"/>
                    </a:cubicBezTo>
                    <a:cubicBezTo>
                      <a:pt x="534" y="628"/>
                      <a:pt x="541" y="621"/>
                      <a:pt x="549" y="621"/>
                    </a:cubicBezTo>
                    <a:close/>
                    <a:moveTo>
                      <a:pt x="549" y="673"/>
                    </a:moveTo>
                    <a:cubicBezTo>
                      <a:pt x="550" y="673"/>
                      <a:pt x="550" y="673"/>
                      <a:pt x="550" y="673"/>
                    </a:cubicBezTo>
                    <a:cubicBezTo>
                      <a:pt x="559" y="673"/>
                      <a:pt x="566" y="680"/>
                      <a:pt x="566" y="689"/>
                    </a:cubicBezTo>
                    <a:cubicBezTo>
                      <a:pt x="566" y="689"/>
                      <a:pt x="566" y="689"/>
                      <a:pt x="566" y="689"/>
                    </a:cubicBezTo>
                    <a:cubicBezTo>
                      <a:pt x="566" y="698"/>
                      <a:pt x="559" y="705"/>
                      <a:pt x="550" y="705"/>
                    </a:cubicBezTo>
                    <a:cubicBezTo>
                      <a:pt x="549" y="705"/>
                      <a:pt x="549" y="705"/>
                      <a:pt x="549" y="705"/>
                    </a:cubicBezTo>
                    <a:cubicBezTo>
                      <a:pt x="541" y="705"/>
                      <a:pt x="534" y="698"/>
                      <a:pt x="534" y="689"/>
                    </a:cubicBezTo>
                    <a:cubicBezTo>
                      <a:pt x="534" y="689"/>
                      <a:pt x="534" y="689"/>
                      <a:pt x="534" y="689"/>
                    </a:cubicBezTo>
                    <a:cubicBezTo>
                      <a:pt x="534" y="680"/>
                      <a:pt x="541" y="673"/>
                      <a:pt x="549" y="673"/>
                    </a:cubicBezTo>
                    <a:close/>
                    <a:moveTo>
                      <a:pt x="618" y="637"/>
                    </a:moveTo>
                    <a:cubicBezTo>
                      <a:pt x="618" y="646"/>
                      <a:pt x="611" y="653"/>
                      <a:pt x="602" y="653"/>
                    </a:cubicBezTo>
                    <a:cubicBezTo>
                      <a:pt x="601" y="653"/>
                      <a:pt x="601" y="653"/>
                      <a:pt x="601" y="653"/>
                    </a:cubicBezTo>
                    <a:cubicBezTo>
                      <a:pt x="593" y="653"/>
                      <a:pt x="586" y="646"/>
                      <a:pt x="586" y="637"/>
                    </a:cubicBezTo>
                    <a:cubicBezTo>
                      <a:pt x="586" y="637"/>
                      <a:pt x="586" y="637"/>
                      <a:pt x="586" y="637"/>
                    </a:cubicBezTo>
                    <a:cubicBezTo>
                      <a:pt x="586" y="628"/>
                      <a:pt x="593" y="621"/>
                      <a:pt x="601" y="621"/>
                    </a:cubicBezTo>
                    <a:cubicBezTo>
                      <a:pt x="602" y="621"/>
                      <a:pt x="602" y="621"/>
                      <a:pt x="602" y="621"/>
                    </a:cubicBezTo>
                    <a:cubicBezTo>
                      <a:pt x="611" y="621"/>
                      <a:pt x="618" y="628"/>
                      <a:pt x="618" y="637"/>
                    </a:cubicBezTo>
                    <a:close/>
                    <a:moveTo>
                      <a:pt x="618" y="583"/>
                    </a:moveTo>
                    <a:cubicBezTo>
                      <a:pt x="618" y="592"/>
                      <a:pt x="611" y="599"/>
                      <a:pt x="602" y="599"/>
                    </a:cubicBezTo>
                    <a:cubicBezTo>
                      <a:pt x="601" y="599"/>
                      <a:pt x="601" y="599"/>
                      <a:pt x="601" y="599"/>
                    </a:cubicBezTo>
                    <a:cubicBezTo>
                      <a:pt x="593" y="599"/>
                      <a:pt x="586" y="592"/>
                      <a:pt x="586" y="583"/>
                    </a:cubicBezTo>
                    <a:cubicBezTo>
                      <a:pt x="586" y="583"/>
                      <a:pt x="586" y="583"/>
                      <a:pt x="586" y="583"/>
                    </a:cubicBezTo>
                    <a:cubicBezTo>
                      <a:pt x="586" y="574"/>
                      <a:pt x="593" y="567"/>
                      <a:pt x="601" y="567"/>
                    </a:cubicBezTo>
                    <a:cubicBezTo>
                      <a:pt x="602" y="567"/>
                      <a:pt x="602" y="567"/>
                      <a:pt x="602" y="567"/>
                    </a:cubicBezTo>
                    <a:cubicBezTo>
                      <a:pt x="611" y="567"/>
                      <a:pt x="618" y="574"/>
                      <a:pt x="618" y="583"/>
                    </a:cubicBezTo>
                    <a:close/>
                    <a:moveTo>
                      <a:pt x="618" y="530"/>
                    </a:moveTo>
                    <a:cubicBezTo>
                      <a:pt x="618" y="539"/>
                      <a:pt x="611" y="546"/>
                      <a:pt x="602" y="546"/>
                    </a:cubicBezTo>
                    <a:cubicBezTo>
                      <a:pt x="601" y="546"/>
                      <a:pt x="601" y="546"/>
                      <a:pt x="601" y="546"/>
                    </a:cubicBezTo>
                    <a:cubicBezTo>
                      <a:pt x="593" y="546"/>
                      <a:pt x="586" y="539"/>
                      <a:pt x="586" y="530"/>
                    </a:cubicBezTo>
                    <a:cubicBezTo>
                      <a:pt x="586" y="530"/>
                      <a:pt x="586" y="530"/>
                      <a:pt x="586" y="530"/>
                    </a:cubicBezTo>
                    <a:cubicBezTo>
                      <a:pt x="586" y="521"/>
                      <a:pt x="593" y="514"/>
                      <a:pt x="601" y="514"/>
                    </a:cubicBezTo>
                    <a:cubicBezTo>
                      <a:pt x="602" y="514"/>
                      <a:pt x="602" y="514"/>
                      <a:pt x="602" y="514"/>
                    </a:cubicBezTo>
                    <a:cubicBezTo>
                      <a:pt x="611" y="514"/>
                      <a:pt x="618" y="521"/>
                      <a:pt x="618" y="530"/>
                    </a:cubicBezTo>
                    <a:close/>
                    <a:moveTo>
                      <a:pt x="618" y="414"/>
                    </a:moveTo>
                    <a:cubicBezTo>
                      <a:pt x="618" y="423"/>
                      <a:pt x="610" y="431"/>
                      <a:pt x="601" y="431"/>
                    </a:cubicBezTo>
                    <a:cubicBezTo>
                      <a:pt x="384" y="431"/>
                      <a:pt x="384" y="431"/>
                      <a:pt x="384" y="431"/>
                    </a:cubicBezTo>
                    <a:cubicBezTo>
                      <a:pt x="375" y="431"/>
                      <a:pt x="368" y="438"/>
                      <a:pt x="368" y="447"/>
                    </a:cubicBezTo>
                    <a:cubicBezTo>
                      <a:pt x="368" y="974"/>
                      <a:pt x="368" y="974"/>
                      <a:pt x="368" y="974"/>
                    </a:cubicBezTo>
                    <a:cubicBezTo>
                      <a:pt x="368" y="983"/>
                      <a:pt x="360" y="991"/>
                      <a:pt x="351" y="991"/>
                    </a:cubicBezTo>
                    <a:cubicBezTo>
                      <a:pt x="74" y="991"/>
                      <a:pt x="74" y="991"/>
                      <a:pt x="74" y="991"/>
                    </a:cubicBezTo>
                    <a:cubicBezTo>
                      <a:pt x="65" y="991"/>
                      <a:pt x="58" y="983"/>
                      <a:pt x="58" y="974"/>
                    </a:cubicBezTo>
                    <a:cubicBezTo>
                      <a:pt x="58" y="74"/>
                      <a:pt x="58" y="74"/>
                      <a:pt x="58" y="74"/>
                    </a:cubicBezTo>
                    <a:cubicBezTo>
                      <a:pt x="58" y="65"/>
                      <a:pt x="65" y="57"/>
                      <a:pt x="74" y="57"/>
                    </a:cubicBezTo>
                    <a:cubicBezTo>
                      <a:pt x="601" y="57"/>
                      <a:pt x="601" y="57"/>
                      <a:pt x="601" y="57"/>
                    </a:cubicBezTo>
                    <a:cubicBezTo>
                      <a:pt x="610" y="57"/>
                      <a:pt x="618" y="65"/>
                      <a:pt x="618" y="74"/>
                    </a:cubicBezTo>
                    <a:lnTo>
                      <a:pt x="618" y="4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57" name="Rectangle 6"/>
              <p:cNvSpPr>
                <a:spLocks noChangeArrowheads="1"/>
              </p:cNvSpPr>
              <p:nvPr/>
            </p:nvSpPr>
            <p:spPr bwMode="auto">
              <a:xfrm>
                <a:off x="-4067175" y="5792788"/>
                <a:ext cx="2540000" cy="563562"/>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58" name="Freeform 7"/>
              <p:cNvSpPr>
                <a:spLocks/>
              </p:cNvSpPr>
              <p:nvPr/>
            </p:nvSpPr>
            <p:spPr bwMode="auto">
              <a:xfrm>
                <a:off x="-3709988" y="1711325"/>
                <a:ext cx="1814513" cy="534987"/>
              </a:xfrm>
              <a:custGeom>
                <a:avLst/>
                <a:gdLst>
                  <a:gd name="T0" fmla="*/ 1084 w 1143"/>
                  <a:gd name="T1" fmla="*/ 0 h 337"/>
                  <a:gd name="T2" fmla="*/ 932 w 1143"/>
                  <a:gd name="T3" fmla="*/ 0 h 337"/>
                  <a:gd name="T4" fmla="*/ 932 w 1143"/>
                  <a:gd name="T5" fmla="*/ 287 h 337"/>
                  <a:gd name="T6" fmla="*/ 865 w 1143"/>
                  <a:gd name="T7" fmla="*/ 287 h 337"/>
                  <a:gd name="T8" fmla="*/ 865 w 1143"/>
                  <a:gd name="T9" fmla="*/ 0 h 337"/>
                  <a:gd name="T10" fmla="*/ 714 w 1143"/>
                  <a:gd name="T11" fmla="*/ 0 h 337"/>
                  <a:gd name="T12" fmla="*/ 714 w 1143"/>
                  <a:gd name="T13" fmla="*/ 287 h 337"/>
                  <a:gd name="T14" fmla="*/ 647 w 1143"/>
                  <a:gd name="T15" fmla="*/ 287 h 337"/>
                  <a:gd name="T16" fmla="*/ 647 w 1143"/>
                  <a:gd name="T17" fmla="*/ 0 h 337"/>
                  <a:gd name="T18" fmla="*/ 496 w 1143"/>
                  <a:gd name="T19" fmla="*/ 0 h 337"/>
                  <a:gd name="T20" fmla="*/ 496 w 1143"/>
                  <a:gd name="T21" fmla="*/ 287 h 337"/>
                  <a:gd name="T22" fmla="*/ 427 w 1143"/>
                  <a:gd name="T23" fmla="*/ 287 h 337"/>
                  <a:gd name="T24" fmla="*/ 427 w 1143"/>
                  <a:gd name="T25" fmla="*/ 0 h 337"/>
                  <a:gd name="T26" fmla="*/ 275 w 1143"/>
                  <a:gd name="T27" fmla="*/ 0 h 337"/>
                  <a:gd name="T28" fmla="*/ 275 w 1143"/>
                  <a:gd name="T29" fmla="*/ 287 h 337"/>
                  <a:gd name="T30" fmla="*/ 209 w 1143"/>
                  <a:gd name="T31" fmla="*/ 287 h 337"/>
                  <a:gd name="T32" fmla="*/ 209 w 1143"/>
                  <a:gd name="T33" fmla="*/ 0 h 337"/>
                  <a:gd name="T34" fmla="*/ 57 w 1143"/>
                  <a:gd name="T35" fmla="*/ 0 h 337"/>
                  <a:gd name="T36" fmla="*/ 57 w 1143"/>
                  <a:gd name="T37" fmla="*/ 287 h 337"/>
                  <a:gd name="T38" fmla="*/ 0 w 1143"/>
                  <a:gd name="T39" fmla="*/ 287 h 337"/>
                  <a:gd name="T40" fmla="*/ 0 w 1143"/>
                  <a:gd name="T41" fmla="*/ 337 h 337"/>
                  <a:gd name="T42" fmla="*/ 1143 w 1143"/>
                  <a:gd name="T43" fmla="*/ 337 h 337"/>
                  <a:gd name="T44" fmla="*/ 1143 w 1143"/>
                  <a:gd name="T45" fmla="*/ 287 h 337"/>
                  <a:gd name="T46" fmla="*/ 1084 w 1143"/>
                  <a:gd name="T47" fmla="*/ 287 h 337"/>
                  <a:gd name="T48" fmla="*/ 1084 w 1143"/>
                  <a:gd name="T49" fmla="*/ 0 h 3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143" h="337">
                    <a:moveTo>
                      <a:pt x="1084" y="0"/>
                    </a:moveTo>
                    <a:lnTo>
                      <a:pt x="932" y="0"/>
                    </a:lnTo>
                    <a:lnTo>
                      <a:pt x="932" y="287"/>
                    </a:lnTo>
                    <a:lnTo>
                      <a:pt x="865" y="287"/>
                    </a:lnTo>
                    <a:lnTo>
                      <a:pt x="865" y="0"/>
                    </a:lnTo>
                    <a:lnTo>
                      <a:pt x="714" y="0"/>
                    </a:lnTo>
                    <a:lnTo>
                      <a:pt x="714" y="287"/>
                    </a:lnTo>
                    <a:lnTo>
                      <a:pt x="647" y="287"/>
                    </a:lnTo>
                    <a:lnTo>
                      <a:pt x="647" y="0"/>
                    </a:lnTo>
                    <a:lnTo>
                      <a:pt x="496" y="0"/>
                    </a:lnTo>
                    <a:lnTo>
                      <a:pt x="496" y="287"/>
                    </a:lnTo>
                    <a:lnTo>
                      <a:pt x="427" y="287"/>
                    </a:lnTo>
                    <a:lnTo>
                      <a:pt x="427" y="0"/>
                    </a:lnTo>
                    <a:lnTo>
                      <a:pt x="275" y="0"/>
                    </a:lnTo>
                    <a:lnTo>
                      <a:pt x="275" y="287"/>
                    </a:lnTo>
                    <a:lnTo>
                      <a:pt x="209" y="287"/>
                    </a:lnTo>
                    <a:lnTo>
                      <a:pt x="209" y="0"/>
                    </a:lnTo>
                    <a:lnTo>
                      <a:pt x="57" y="0"/>
                    </a:lnTo>
                    <a:lnTo>
                      <a:pt x="57" y="287"/>
                    </a:lnTo>
                    <a:lnTo>
                      <a:pt x="0" y="287"/>
                    </a:lnTo>
                    <a:lnTo>
                      <a:pt x="0" y="337"/>
                    </a:lnTo>
                    <a:lnTo>
                      <a:pt x="1143" y="337"/>
                    </a:lnTo>
                    <a:lnTo>
                      <a:pt x="1143" y="287"/>
                    </a:lnTo>
                    <a:lnTo>
                      <a:pt x="1084" y="287"/>
                    </a:lnTo>
                    <a:lnTo>
                      <a:pt x="1084"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59" name="Freeform 8"/>
              <p:cNvSpPr>
                <a:spLocks/>
              </p:cNvSpPr>
              <p:nvPr/>
            </p:nvSpPr>
            <p:spPr bwMode="auto">
              <a:xfrm>
                <a:off x="-3709988" y="2557463"/>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60" name="Freeform 9"/>
              <p:cNvSpPr>
                <a:spLocks/>
              </p:cNvSpPr>
              <p:nvPr/>
            </p:nvSpPr>
            <p:spPr bwMode="auto">
              <a:xfrm>
                <a:off x="-3709988" y="3403600"/>
                <a:ext cx="787400" cy="533400"/>
              </a:xfrm>
              <a:custGeom>
                <a:avLst/>
                <a:gdLst>
                  <a:gd name="T0" fmla="*/ 427 w 496"/>
                  <a:gd name="T1" fmla="*/ 0 h 336"/>
                  <a:gd name="T2" fmla="*/ 275 w 496"/>
                  <a:gd name="T3" fmla="*/ 0 h 336"/>
                  <a:gd name="T4" fmla="*/ 275 w 496"/>
                  <a:gd name="T5" fmla="*/ 286 h 336"/>
                  <a:gd name="T6" fmla="*/ 209 w 496"/>
                  <a:gd name="T7" fmla="*/ 286 h 336"/>
                  <a:gd name="T8" fmla="*/ 209 w 496"/>
                  <a:gd name="T9" fmla="*/ 0 h 336"/>
                  <a:gd name="T10" fmla="*/ 57 w 496"/>
                  <a:gd name="T11" fmla="*/ 0 h 336"/>
                  <a:gd name="T12" fmla="*/ 57 w 496"/>
                  <a:gd name="T13" fmla="*/ 286 h 336"/>
                  <a:gd name="T14" fmla="*/ 0 w 496"/>
                  <a:gd name="T15" fmla="*/ 286 h 336"/>
                  <a:gd name="T16" fmla="*/ 0 w 496"/>
                  <a:gd name="T17" fmla="*/ 336 h 336"/>
                  <a:gd name="T18" fmla="*/ 496 w 496"/>
                  <a:gd name="T19" fmla="*/ 336 h 336"/>
                  <a:gd name="T20" fmla="*/ 496 w 496"/>
                  <a:gd name="T21" fmla="*/ 286 h 336"/>
                  <a:gd name="T22" fmla="*/ 427 w 496"/>
                  <a:gd name="T23" fmla="*/ 286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6"/>
                    </a:lnTo>
                    <a:lnTo>
                      <a:pt x="209" y="286"/>
                    </a:lnTo>
                    <a:lnTo>
                      <a:pt x="209" y="0"/>
                    </a:lnTo>
                    <a:lnTo>
                      <a:pt x="57" y="0"/>
                    </a:lnTo>
                    <a:lnTo>
                      <a:pt x="57" y="286"/>
                    </a:lnTo>
                    <a:lnTo>
                      <a:pt x="0" y="286"/>
                    </a:lnTo>
                    <a:lnTo>
                      <a:pt x="0" y="336"/>
                    </a:lnTo>
                    <a:lnTo>
                      <a:pt x="496" y="336"/>
                    </a:lnTo>
                    <a:lnTo>
                      <a:pt x="496" y="286"/>
                    </a:lnTo>
                    <a:lnTo>
                      <a:pt x="427" y="286"/>
                    </a:lnTo>
                    <a:lnTo>
                      <a:pt x="42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61" name="Freeform 10"/>
              <p:cNvSpPr>
                <a:spLocks/>
              </p:cNvSpPr>
              <p:nvPr/>
            </p:nvSpPr>
            <p:spPr bwMode="auto">
              <a:xfrm>
                <a:off x="-3709988" y="4248150"/>
                <a:ext cx="787400" cy="533400"/>
              </a:xfrm>
              <a:custGeom>
                <a:avLst/>
                <a:gdLst>
                  <a:gd name="T0" fmla="*/ 427 w 496"/>
                  <a:gd name="T1" fmla="*/ 0 h 336"/>
                  <a:gd name="T2" fmla="*/ 275 w 496"/>
                  <a:gd name="T3" fmla="*/ 0 h 336"/>
                  <a:gd name="T4" fmla="*/ 275 w 496"/>
                  <a:gd name="T5" fmla="*/ 287 h 336"/>
                  <a:gd name="T6" fmla="*/ 209 w 496"/>
                  <a:gd name="T7" fmla="*/ 287 h 336"/>
                  <a:gd name="T8" fmla="*/ 209 w 496"/>
                  <a:gd name="T9" fmla="*/ 0 h 336"/>
                  <a:gd name="T10" fmla="*/ 57 w 496"/>
                  <a:gd name="T11" fmla="*/ 0 h 336"/>
                  <a:gd name="T12" fmla="*/ 57 w 496"/>
                  <a:gd name="T13" fmla="*/ 287 h 336"/>
                  <a:gd name="T14" fmla="*/ 0 w 496"/>
                  <a:gd name="T15" fmla="*/ 287 h 336"/>
                  <a:gd name="T16" fmla="*/ 0 w 496"/>
                  <a:gd name="T17" fmla="*/ 336 h 336"/>
                  <a:gd name="T18" fmla="*/ 496 w 496"/>
                  <a:gd name="T19" fmla="*/ 336 h 336"/>
                  <a:gd name="T20" fmla="*/ 496 w 496"/>
                  <a:gd name="T21" fmla="*/ 287 h 336"/>
                  <a:gd name="T22" fmla="*/ 427 w 496"/>
                  <a:gd name="T23" fmla="*/ 287 h 336"/>
                  <a:gd name="T24" fmla="*/ 427 w 496"/>
                  <a:gd name="T25" fmla="*/ 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6" h="336">
                    <a:moveTo>
                      <a:pt x="427" y="0"/>
                    </a:moveTo>
                    <a:lnTo>
                      <a:pt x="275" y="0"/>
                    </a:lnTo>
                    <a:lnTo>
                      <a:pt x="275" y="287"/>
                    </a:lnTo>
                    <a:lnTo>
                      <a:pt x="209" y="287"/>
                    </a:lnTo>
                    <a:lnTo>
                      <a:pt x="209" y="0"/>
                    </a:lnTo>
                    <a:lnTo>
                      <a:pt x="57" y="0"/>
                    </a:lnTo>
                    <a:lnTo>
                      <a:pt x="57" y="287"/>
                    </a:lnTo>
                    <a:lnTo>
                      <a:pt x="0" y="287"/>
                    </a:lnTo>
                    <a:lnTo>
                      <a:pt x="0" y="336"/>
                    </a:lnTo>
                    <a:lnTo>
                      <a:pt x="496" y="336"/>
                    </a:lnTo>
                    <a:lnTo>
                      <a:pt x="496" y="287"/>
                    </a:lnTo>
                    <a:lnTo>
                      <a:pt x="427" y="287"/>
                    </a:lnTo>
                    <a:lnTo>
                      <a:pt x="427" y="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grpSp>
        <p:grpSp>
          <p:nvGrpSpPr>
            <p:cNvPr id="62" name="Group 61"/>
            <p:cNvGrpSpPr/>
            <p:nvPr/>
          </p:nvGrpSpPr>
          <p:grpSpPr>
            <a:xfrm>
              <a:off x="1129129" y="4462804"/>
              <a:ext cx="386841" cy="274128"/>
              <a:chOff x="2722563" y="4257676"/>
              <a:chExt cx="2887662" cy="2046288"/>
            </a:xfrm>
            <a:solidFill>
              <a:schemeClr val="bg1">
                <a:lumMod val="95000"/>
              </a:schemeClr>
            </a:solidFill>
          </p:grpSpPr>
          <p:sp>
            <p:nvSpPr>
              <p:cNvPr id="63" name="Rectangle 14"/>
              <p:cNvSpPr>
                <a:spLocks noChangeArrowheads="1"/>
              </p:cNvSpPr>
              <p:nvPr/>
            </p:nvSpPr>
            <p:spPr bwMode="auto">
              <a:xfrm>
                <a:off x="4600575" y="5508626"/>
                <a:ext cx="90487"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64" name="Rectangle 15"/>
              <p:cNvSpPr>
                <a:spLocks noChangeArrowheads="1"/>
              </p:cNvSpPr>
              <p:nvPr/>
            </p:nvSpPr>
            <p:spPr bwMode="auto">
              <a:xfrm>
                <a:off x="4894263" y="5508626"/>
                <a:ext cx="90487"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65" name="Rectangle 16"/>
              <p:cNvSpPr>
                <a:spLocks noChangeArrowheads="1"/>
              </p:cNvSpPr>
              <p:nvPr/>
            </p:nvSpPr>
            <p:spPr bwMode="auto">
              <a:xfrm>
                <a:off x="4221163" y="5508626"/>
                <a:ext cx="85725"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66" name="Rectangle 17"/>
              <p:cNvSpPr>
                <a:spLocks noChangeArrowheads="1"/>
              </p:cNvSpPr>
              <p:nvPr/>
            </p:nvSpPr>
            <p:spPr bwMode="auto">
              <a:xfrm>
                <a:off x="4333875" y="5508626"/>
                <a:ext cx="214312"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67" name="Rectangle 18"/>
              <p:cNvSpPr>
                <a:spLocks noChangeArrowheads="1"/>
              </p:cNvSpPr>
              <p:nvPr/>
            </p:nvSpPr>
            <p:spPr bwMode="auto">
              <a:xfrm>
                <a:off x="5281613" y="5508626"/>
                <a:ext cx="90487"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68" name="Freeform 19"/>
              <p:cNvSpPr>
                <a:spLocks/>
              </p:cNvSpPr>
              <p:nvPr/>
            </p:nvSpPr>
            <p:spPr bwMode="auto">
              <a:xfrm>
                <a:off x="2722563" y="4257676"/>
                <a:ext cx="2887662" cy="2046288"/>
              </a:xfrm>
              <a:custGeom>
                <a:avLst/>
                <a:gdLst>
                  <a:gd name="T0" fmla="*/ 865 w 1819"/>
                  <a:gd name="T1" fmla="*/ 620 h 1289"/>
                  <a:gd name="T2" fmla="*/ 1629 w 1819"/>
                  <a:gd name="T3" fmla="*/ 620 h 1289"/>
                  <a:gd name="T4" fmla="*/ 1819 w 1819"/>
                  <a:gd name="T5" fmla="*/ 223 h 1289"/>
                  <a:gd name="T6" fmla="*/ 1819 w 1819"/>
                  <a:gd name="T7" fmla="*/ 216 h 1289"/>
                  <a:gd name="T8" fmla="*/ 439 w 1819"/>
                  <a:gd name="T9" fmla="*/ 216 h 1289"/>
                  <a:gd name="T10" fmla="*/ 439 w 1819"/>
                  <a:gd name="T11" fmla="*/ 114 h 1289"/>
                  <a:gd name="T12" fmla="*/ 1816 w 1819"/>
                  <a:gd name="T13" fmla="*/ 114 h 1289"/>
                  <a:gd name="T14" fmla="*/ 1814 w 1819"/>
                  <a:gd name="T15" fmla="*/ 0 h 1289"/>
                  <a:gd name="T16" fmla="*/ 0 w 1819"/>
                  <a:gd name="T17" fmla="*/ 0 h 1289"/>
                  <a:gd name="T18" fmla="*/ 0 w 1819"/>
                  <a:gd name="T19" fmla="*/ 631 h 1289"/>
                  <a:gd name="T20" fmla="*/ 349 w 1819"/>
                  <a:gd name="T21" fmla="*/ 631 h 1289"/>
                  <a:gd name="T22" fmla="*/ 204 w 1819"/>
                  <a:gd name="T23" fmla="*/ 1289 h 1289"/>
                  <a:gd name="T24" fmla="*/ 498 w 1819"/>
                  <a:gd name="T25" fmla="*/ 1282 h 1289"/>
                  <a:gd name="T26" fmla="*/ 626 w 1819"/>
                  <a:gd name="T27" fmla="*/ 926 h 1289"/>
                  <a:gd name="T28" fmla="*/ 669 w 1819"/>
                  <a:gd name="T29" fmla="*/ 814 h 1289"/>
                  <a:gd name="T30" fmla="*/ 754 w 1819"/>
                  <a:gd name="T31" fmla="*/ 843 h 1289"/>
                  <a:gd name="T32" fmla="*/ 873 w 1819"/>
                  <a:gd name="T33" fmla="*/ 627 h 1289"/>
                  <a:gd name="T34" fmla="*/ 863 w 1819"/>
                  <a:gd name="T35" fmla="*/ 627 h 1289"/>
                  <a:gd name="T36" fmla="*/ 865 w 1819"/>
                  <a:gd name="T37" fmla="*/ 620 h 1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19" h="1289">
                    <a:moveTo>
                      <a:pt x="865" y="620"/>
                    </a:moveTo>
                    <a:lnTo>
                      <a:pt x="1629" y="620"/>
                    </a:lnTo>
                    <a:lnTo>
                      <a:pt x="1819" y="223"/>
                    </a:lnTo>
                    <a:lnTo>
                      <a:pt x="1819" y="216"/>
                    </a:lnTo>
                    <a:lnTo>
                      <a:pt x="439" y="216"/>
                    </a:lnTo>
                    <a:lnTo>
                      <a:pt x="439" y="114"/>
                    </a:lnTo>
                    <a:lnTo>
                      <a:pt x="1816" y="114"/>
                    </a:lnTo>
                    <a:lnTo>
                      <a:pt x="1814" y="0"/>
                    </a:lnTo>
                    <a:lnTo>
                      <a:pt x="0" y="0"/>
                    </a:lnTo>
                    <a:lnTo>
                      <a:pt x="0" y="631"/>
                    </a:lnTo>
                    <a:lnTo>
                      <a:pt x="349" y="631"/>
                    </a:lnTo>
                    <a:lnTo>
                      <a:pt x="204" y="1289"/>
                    </a:lnTo>
                    <a:lnTo>
                      <a:pt x="498" y="1282"/>
                    </a:lnTo>
                    <a:lnTo>
                      <a:pt x="626" y="926"/>
                    </a:lnTo>
                    <a:lnTo>
                      <a:pt x="669" y="814"/>
                    </a:lnTo>
                    <a:lnTo>
                      <a:pt x="754" y="843"/>
                    </a:lnTo>
                    <a:lnTo>
                      <a:pt x="873" y="627"/>
                    </a:lnTo>
                    <a:lnTo>
                      <a:pt x="863" y="627"/>
                    </a:lnTo>
                    <a:lnTo>
                      <a:pt x="865" y="6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69" name="Rectangle 20"/>
              <p:cNvSpPr>
                <a:spLocks noChangeArrowheads="1"/>
              </p:cNvSpPr>
              <p:nvPr/>
            </p:nvSpPr>
            <p:spPr bwMode="auto">
              <a:xfrm>
                <a:off x="5424488" y="5508626"/>
                <a:ext cx="185737" cy="7477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grpSp>
        <p:grpSp>
          <p:nvGrpSpPr>
            <p:cNvPr id="135" name="Group 134"/>
            <p:cNvGrpSpPr/>
            <p:nvPr/>
          </p:nvGrpSpPr>
          <p:grpSpPr>
            <a:xfrm>
              <a:off x="489232" y="3808758"/>
              <a:ext cx="407369" cy="305527"/>
              <a:chOff x="-3803650" y="2025650"/>
              <a:chExt cx="1816100" cy="1362075"/>
            </a:xfrm>
            <a:solidFill>
              <a:schemeClr val="bg1">
                <a:lumMod val="95000"/>
              </a:schemeClr>
            </a:solidFill>
          </p:grpSpPr>
          <p:sp>
            <p:nvSpPr>
              <p:cNvPr id="70" name="Freeform 13"/>
              <p:cNvSpPr>
                <a:spLocks noEditPoints="1"/>
              </p:cNvSpPr>
              <p:nvPr/>
            </p:nvSpPr>
            <p:spPr bwMode="auto">
              <a:xfrm>
                <a:off x="-3803650" y="2025650"/>
                <a:ext cx="1816100" cy="1362075"/>
              </a:xfrm>
              <a:custGeom>
                <a:avLst/>
                <a:gdLst>
                  <a:gd name="T0" fmla="*/ 464 w 483"/>
                  <a:gd name="T1" fmla="*/ 0 h 362"/>
                  <a:gd name="T2" fmla="*/ 19 w 483"/>
                  <a:gd name="T3" fmla="*/ 0 h 362"/>
                  <a:gd name="T4" fmla="*/ 0 w 483"/>
                  <a:gd name="T5" fmla="*/ 19 h 362"/>
                  <a:gd name="T6" fmla="*/ 0 w 483"/>
                  <a:gd name="T7" fmla="*/ 343 h 362"/>
                  <a:gd name="T8" fmla="*/ 19 w 483"/>
                  <a:gd name="T9" fmla="*/ 362 h 362"/>
                  <a:gd name="T10" fmla="*/ 464 w 483"/>
                  <a:gd name="T11" fmla="*/ 362 h 362"/>
                  <a:gd name="T12" fmla="*/ 483 w 483"/>
                  <a:gd name="T13" fmla="*/ 343 h 362"/>
                  <a:gd name="T14" fmla="*/ 483 w 483"/>
                  <a:gd name="T15" fmla="*/ 19 h 362"/>
                  <a:gd name="T16" fmla="*/ 464 w 483"/>
                  <a:gd name="T17" fmla="*/ 0 h 362"/>
                  <a:gd name="T18" fmla="*/ 458 w 483"/>
                  <a:gd name="T19" fmla="*/ 328 h 362"/>
                  <a:gd name="T20" fmla="*/ 25 w 483"/>
                  <a:gd name="T21" fmla="*/ 328 h 362"/>
                  <a:gd name="T22" fmla="*/ 25 w 483"/>
                  <a:gd name="T23" fmla="*/ 25 h 362"/>
                  <a:gd name="T24" fmla="*/ 458 w 483"/>
                  <a:gd name="T25" fmla="*/ 25 h 362"/>
                  <a:gd name="T26" fmla="*/ 458 w 483"/>
                  <a:gd name="T27" fmla="*/ 328 h 3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3" h="362">
                    <a:moveTo>
                      <a:pt x="464" y="0"/>
                    </a:moveTo>
                    <a:cubicBezTo>
                      <a:pt x="19" y="0"/>
                      <a:pt x="19" y="0"/>
                      <a:pt x="19" y="0"/>
                    </a:cubicBezTo>
                    <a:cubicBezTo>
                      <a:pt x="9" y="0"/>
                      <a:pt x="0" y="9"/>
                      <a:pt x="0" y="19"/>
                    </a:cubicBezTo>
                    <a:cubicBezTo>
                      <a:pt x="0" y="19"/>
                      <a:pt x="0" y="98"/>
                      <a:pt x="0" y="343"/>
                    </a:cubicBezTo>
                    <a:cubicBezTo>
                      <a:pt x="0" y="354"/>
                      <a:pt x="9" y="362"/>
                      <a:pt x="19" y="362"/>
                    </a:cubicBezTo>
                    <a:cubicBezTo>
                      <a:pt x="19" y="362"/>
                      <a:pt x="19" y="362"/>
                      <a:pt x="464" y="362"/>
                    </a:cubicBezTo>
                    <a:cubicBezTo>
                      <a:pt x="475" y="362"/>
                      <a:pt x="483" y="354"/>
                      <a:pt x="483" y="343"/>
                    </a:cubicBezTo>
                    <a:cubicBezTo>
                      <a:pt x="483" y="343"/>
                      <a:pt x="483" y="264"/>
                      <a:pt x="483" y="19"/>
                    </a:cubicBezTo>
                    <a:cubicBezTo>
                      <a:pt x="483" y="9"/>
                      <a:pt x="475" y="0"/>
                      <a:pt x="464" y="0"/>
                    </a:cubicBezTo>
                    <a:close/>
                    <a:moveTo>
                      <a:pt x="458" y="328"/>
                    </a:moveTo>
                    <a:cubicBezTo>
                      <a:pt x="25" y="328"/>
                      <a:pt x="25" y="328"/>
                      <a:pt x="25" y="328"/>
                    </a:cubicBezTo>
                    <a:cubicBezTo>
                      <a:pt x="25" y="25"/>
                      <a:pt x="25" y="25"/>
                      <a:pt x="25" y="25"/>
                    </a:cubicBezTo>
                    <a:cubicBezTo>
                      <a:pt x="458" y="25"/>
                      <a:pt x="458" y="25"/>
                      <a:pt x="458" y="25"/>
                    </a:cubicBezTo>
                    <a:lnTo>
                      <a:pt x="458" y="32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71" name="Rectangle 14"/>
              <p:cNvSpPr>
                <a:spLocks noChangeArrowheads="1"/>
              </p:cNvSpPr>
              <p:nvPr/>
            </p:nvSpPr>
            <p:spPr bwMode="auto">
              <a:xfrm>
                <a:off x="-3408363" y="23526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72" name="Rectangle 15"/>
              <p:cNvSpPr>
                <a:spLocks noChangeArrowheads="1"/>
              </p:cNvSpPr>
              <p:nvPr/>
            </p:nvSpPr>
            <p:spPr bwMode="auto">
              <a:xfrm>
                <a:off x="-2874963" y="2352675"/>
                <a:ext cx="477838" cy="4810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73" name="Rectangle 16"/>
              <p:cNvSpPr>
                <a:spLocks noChangeArrowheads="1"/>
              </p:cNvSpPr>
              <p:nvPr/>
            </p:nvSpPr>
            <p:spPr bwMode="auto">
              <a:xfrm>
                <a:off x="-3141663" y="23526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74" name="Rectangle 17"/>
              <p:cNvSpPr>
                <a:spLocks noChangeArrowheads="1"/>
              </p:cNvSpPr>
              <p:nvPr/>
            </p:nvSpPr>
            <p:spPr bwMode="auto">
              <a:xfrm>
                <a:off x="-3408363" y="26193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75" name="Rectangle 18"/>
              <p:cNvSpPr>
                <a:spLocks noChangeArrowheads="1"/>
              </p:cNvSpPr>
              <p:nvPr/>
            </p:nvSpPr>
            <p:spPr bwMode="auto">
              <a:xfrm>
                <a:off x="-3408363" y="2887663"/>
                <a:ext cx="4810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76" name="Rectangle 19"/>
              <p:cNvSpPr>
                <a:spLocks noChangeArrowheads="1"/>
              </p:cNvSpPr>
              <p:nvPr/>
            </p:nvSpPr>
            <p:spPr bwMode="auto">
              <a:xfrm>
                <a:off x="-2874963" y="2887663"/>
                <a:ext cx="477838"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77" name="Rectangle 20"/>
              <p:cNvSpPr>
                <a:spLocks noChangeArrowheads="1"/>
              </p:cNvSpPr>
              <p:nvPr/>
            </p:nvSpPr>
            <p:spPr bwMode="auto">
              <a:xfrm>
                <a:off x="-3141663" y="26193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78" name="Rectangle 21"/>
              <p:cNvSpPr>
                <a:spLocks noChangeArrowheads="1"/>
              </p:cNvSpPr>
              <p:nvPr/>
            </p:nvSpPr>
            <p:spPr bwMode="auto">
              <a:xfrm>
                <a:off x="-2344738" y="23526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79" name="Rectangle 22"/>
              <p:cNvSpPr>
                <a:spLocks noChangeArrowheads="1"/>
              </p:cNvSpPr>
              <p:nvPr/>
            </p:nvSpPr>
            <p:spPr bwMode="auto">
              <a:xfrm>
                <a:off x="-2344738" y="2619375"/>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80" name="Rectangle 23"/>
              <p:cNvSpPr>
                <a:spLocks noChangeArrowheads="1"/>
              </p:cNvSpPr>
              <p:nvPr/>
            </p:nvSpPr>
            <p:spPr bwMode="auto">
              <a:xfrm>
                <a:off x="-2344738" y="2887663"/>
                <a:ext cx="214313" cy="2143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grpSp>
        <p:grpSp>
          <p:nvGrpSpPr>
            <p:cNvPr id="138" name="Group 137"/>
            <p:cNvGrpSpPr/>
            <p:nvPr/>
          </p:nvGrpSpPr>
          <p:grpSpPr>
            <a:xfrm>
              <a:off x="416244" y="3254768"/>
              <a:ext cx="662329" cy="356091"/>
              <a:chOff x="-4067175" y="3640138"/>
              <a:chExt cx="2952750" cy="1587500"/>
            </a:xfrm>
            <a:solidFill>
              <a:schemeClr val="bg1">
                <a:lumMod val="95000"/>
              </a:schemeClr>
            </a:solidFill>
          </p:grpSpPr>
          <p:sp>
            <p:nvSpPr>
              <p:cNvPr id="38" name="Freeform 11"/>
              <p:cNvSpPr>
                <a:spLocks noEditPoints="1"/>
              </p:cNvSpPr>
              <p:nvPr/>
            </p:nvSpPr>
            <p:spPr bwMode="auto">
              <a:xfrm>
                <a:off x="-4067175" y="3640138"/>
                <a:ext cx="2952750" cy="1587500"/>
              </a:xfrm>
              <a:custGeom>
                <a:avLst/>
                <a:gdLst>
                  <a:gd name="T0" fmla="*/ 667 w 785"/>
                  <a:gd name="T1" fmla="*/ 0 h 422"/>
                  <a:gd name="T2" fmla="*/ 120 w 785"/>
                  <a:gd name="T3" fmla="*/ 0 h 422"/>
                  <a:gd name="T4" fmla="*/ 100 w 785"/>
                  <a:gd name="T5" fmla="*/ 20 h 422"/>
                  <a:gd name="T6" fmla="*/ 100 w 785"/>
                  <a:gd name="T7" fmla="*/ 357 h 422"/>
                  <a:gd name="T8" fmla="*/ 120 w 785"/>
                  <a:gd name="T9" fmla="*/ 376 h 422"/>
                  <a:gd name="T10" fmla="*/ 667 w 785"/>
                  <a:gd name="T11" fmla="*/ 376 h 422"/>
                  <a:gd name="T12" fmla="*/ 687 w 785"/>
                  <a:gd name="T13" fmla="*/ 357 h 422"/>
                  <a:gd name="T14" fmla="*/ 687 w 785"/>
                  <a:gd name="T15" fmla="*/ 20 h 422"/>
                  <a:gd name="T16" fmla="*/ 667 w 785"/>
                  <a:gd name="T17" fmla="*/ 0 h 422"/>
                  <a:gd name="T18" fmla="*/ 661 w 785"/>
                  <a:gd name="T19" fmla="*/ 353 h 422"/>
                  <a:gd name="T20" fmla="*/ 126 w 785"/>
                  <a:gd name="T21" fmla="*/ 353 h 422"/>
                  <a:gd name="T22" fmla="*/ 126 w 785"/>
                  <a:gd name="T23" fmla="*/ 22 h 422"/>
                  <a:gd name="T24" fmla="*/ 661 w 785"/>
                  <a:gd name="T25" fmla="*/ 22 h 422"/>
                  <a:gd name="T26" fmla="*/ 661 w 785"/>
                  <a:gd name="T27" fmla="*/ 353 h 422"/>
                  <a:gd name="T28" fmla="*/ 447 w 785"/>
                  <a:gd name="T29" fmla="*/ 390 h 422"/>
                  <a:gd name="T30" fmla="*/ 447 w 785"/>
                  <a:gd name="T31" fmla="*/ 394 h 422"/>
                  <a:gd name="T32" fmla="*/ 439 w 785"/>
                  <a:gd name="T33" fmla="*/ 400 h 422"/>
                  <a:gd name="T34" fmla="*/ 347 w 785"/>
                  <a:gd name="T35" fmla="*/ 400 h 422"/>
                  <a:gd name="T36" fmla="*/ 339 w 785"/>
                  <a:gd name="T37" fmla="*/ 394 h 422"/>
                  <a:gd name="T38" fmla="*/ 339 w 785"/>
                  <a:gd name="T39" fmla="*/ 390 h 422"/>
                  <a:gd name="T40" fmla="*/ 0 w 785"/>
                  <a:gd name="T41" fmla="*/ 390 h 422"/>
                  <a:gd name="T42" fmla="*/ 0 w 785"/>
                  <a:gd name="T43" fmla="*/ 410 h 422"/>
                  <a:gd name="T44" fmla="*/ 26 w 785"/>
                  <a:gd name="T45" fmla="*/ 422 h 422"/>
                  <a:gd name="T46" fmla="*/ 26 w 785"/>
                  <a:gd name="T47" fmla="*/ 422 h 422"/>
                  <a:gd name="T48" fmla="*/ 759 w 785"/>
                  <a:gd name="T49" fmla="*/ 422 h 422"/>
                  <a:gd name="T50" fmla="*/ 759 w 785"/>
                  <a:gd name="T51" fmla="*/ 422 h 422"/>
                  <a:gd name="T52" fmla="*/ 785 w 785"/>
                  <a:gd name="T53" fmla="*/ 410 h 422"/>
                  <a:gd name="T54" fmla="*/ 785 w 785"/>
                  <a:gd name="T55" fmla="*/ 390 h 422"/>
                  <a:gd name="T56" fmla="*/ 447 w 785"/>
                  <a:gd name="T57" fmla="*/ 390 h 422"/>
                  <a:gd name="T58" fmla="*/ 447 w 785"/>
                  <a:gd name="T59" fmla="*/ 390 h 4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785" h="422">
                    <a:moveTo>
                      <a:pt x="667" y="0"/>
                    </a:moveTo>
                    <a:cubicBezTo>
                      <a:pt x="120" y="0"/>
                      <a:pt x="120" y="0"/>
                      <a:pt x="120" y="0"/>
                    </a:cubicBezTo>
                    <a:cubicBezTo>
                      <a:pt x="110" y="0"/>
                      <a:pt x="100" y="8"/>
                      <a:pt x="100" y="20"/>
                    </a:cubicBezTo>
                    <a:cubicBezTo>
                      <a:pt x="100" y="357"/>
                      <a:pt x="100" y="357"/>
                      <a:pt x="100" y="357"/>
                    </a:cubicBezTo>
                    <a:cubicBezTo>
                      <a:pt x="100" y="369"/>
                      <a:pt x="110" y="376"/>
                      <a:pt x="120" y="376"/>
                    </a:cubicBezTo>
                    <a:cubicBezTo>
                      <a:pt x="667" y="376"/>
                      <a:pt x="667" y="376"/>
                      <a:pt x="667" y="376"/>
                    </a:cubicBezTo>
                    <a:cubicBezTo>
                      <a:pt x="679" y="376"/>
                      <a:pt x="687" y="369"/>
                      <a:pt x="687" y="357"/>
                    </a:cubicBezTo>
                    <a:cubicBezTo>
                      <a:pt x="687" y="20"/>
                      <a:pt x="687" y="20"/>
                      <a:pt x="687" y="20"/>
                    </a:cubicBezTo>
                    <a:cubicBezTo>
                      <a:pt x="687" y="8"/>
                      <a:pt x="679" y="0"/>
                      <a:pt x="667" y="0"/>
                    </a:cubicBezTo>
                    <a:close/>
                    <a:moveTo>
                      <a:pt x="661" y="353"/>
                    </a:moveTo>
                    <a:cubicBezTo>
                      <a:pt x="126" y="353"/>
                      <a:pt x="126" y="353"/>
                      <a:pt x="126" y="353"/>
                    </a:cubicBezTo>
                    <a:cubicBezTo>
                      <a:pt x="126" y="22"/>
                      <a:pt x="126" y="22"/>
                      <a:pt x="126" y="22"/>
                    </a:cubicBezTo>
                    <a:cubicBezTo>
                      <a:pt x="661" y="22"/>
                      <a:pt x="661" y="22"/>
                      <a:pt x="661" y="22"/>
                    </a:cubicBezTo>
                    <a:cubicBezTo>
                      <a:pt x="661" y="353"/>
                      <a:pt x="661" y="353"/>
                      <a:pt x="661" y="353"/>
                    </a:cubicBezTo>
                    <a:close/>
                    <a:moveTo>
                      <a:pt x="447" y="390"/>
                    </a:moveTo>
                    <a:cubicBezTo>
                      <a:pt x="447" y="394"/>
                      <a:pt x="447" y="394"/>
                      <a:pt x="447" y="394"/>
                    </a:cubicBezTo>
                    <a:cubicBezTo>
                      <a:pt x="447" y="398"/>
                      <a:pt x="443" y="400"/>
                      <a:pt x="439" y="400"/>
                    </a:cubicBezTo>
                    <a:cubicBezTo>
                      <a:pt x="347" y="400"/>
                      <a:pt x="347" y="400"/>
                      <a:pt x="347" y="400"/>
                    </a:cubicBezTo>
                    <a:cubicBezTo>
                      <a:pt x="343" y="400"/>
                      <a:pt x="339" y="398"/>
                      <a:pt x="339" y="394"/>
                    </a:cubicBezTo>
                    <a:cubicBezTo>
                      <a:pt x="339" y="390"/>
                      <a:pt x="339" y="390"/>
                      <a:pt x="339" y="390"/>
                    </a:cubicBezTo>
                    <a:cubicBezTo>
                      <a:pt x="0" y="390"/>
                      <a:pt x="0" y="390"/>
                      <a:pt x="0" y="390"/>
                    </a:cubicBezTo>
                    <a:cubicBezTo>
                      <a:pt x="0" y="410"/>
                      <a:pt x="0" y="410"/>
                      <a:pt x="0" y="410"/>
                    </a:cubicBezTo>
                    <a:cubicBezTo>
                      <a:pt x="0" y="410"/>
                      <a:pt x="18" y="422"/>
                      <a:pt x="26" y="422"/>
                    </a:cubicBezTo>
                    <a:cubicBezTo>
                      <a:pt x="26" y="422"/>
                      <a:pt x="26" y="422"/>
                      <a:pt x="26" y="422"/>
                    </a:cubicBezTo>
                    <a:cubicBezTo>
                      <a:pt x="759" y="422"/>
                      <a:pt x="759" y="422"/>
                      <a:pt x="759" y="422"/>
                    </a:cubicBezTo>
                    <a:cubicBezTo>
                      <a:pt x="759" y="422"/>
                      <a:pt x="759" y="422"/>
                      <a:pt x="759" y="422"/>
                    </a:cubicBezTo>
                    <a:cubicBezTo>
                      <a:pt x="767" y="422"/>
                      <a:pt x="785" y="410"/>
                      <a:pt x="785" y="410"/>
                    </a:cubicBezTo>
                    <a:cubicBezTo>
                      <a:pt x="785" y="390"/>
                      <a:pt x="785" y="390"/>
                      <a:pt x="785" y="390"/>
                    </a:cubicBezTo>
                    <a:cubicBezTo>
                      <a:pt x="447" y="390"/>
                      <a:pt x="447" y="390"/>
                      <a:pt x="447" y="390"/>
                    </a:cubicBezTo>
                    <a:cubicBezTo>
                      <a:pt x="447" y="390"/>
                      <a:pt x="447" y="390"/>
                      <a:pt x="447" y="39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84" name="Rectangle 24"/>
              <p:cNvSpPr>
                <a:spLocks noChangeArrowheads="1"/>
              </p:cNvSpPr>
              <p:nvPr/>
            </p:nvSpPr>
            <p:spPr bwMode="auto">
              <a:xfrm>
                <a:off x="-3097213" y="3952875"/>
                <a:ext cx="2492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85" name="Rectangle 25"/>
              <p:cNvSpPr>
                <a:spLocks noChangeArrowheads="1"/>
              </p:cNvSpPr>
              <p:nvPr/>
            </p:nvSpPr>
            <p:spPr bwMode="auto">
              <a:xfrm>
                <a:off x="-2487613" y="3952875"/>
                <a:ext cx="552450" cy="5524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87" name="Rectangle 26"/>
              <p:cNvSpPr>
                <a:spLocks noChangeArrowheads="1"/>
              </p:cNvSpPr>
              <p:nvPr/>
            </p:nvSpPr>
            <p:spPr bwMode="auto">
              <a:xfrm>
                <a:off x="-2792413" y="3952875"/>
                <a:ext cx="2492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88" name="Rectangle 27"/>
              <p:cNvSpPr>
                <a:spLocks noChangeArrowheads="1"/>
              </p:cNvSpPr>
              <p:nvPr/>
            </p:nvSpPr>
            <p:spPr bwMode="auto">
              <a:xfrm>
                <a:off x="-3097213" y="4257675"/>
                <a:ext cx="2492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89" name="Rectangle 28"/>
              <p:cNvSpPr>
                <a:spLocks noChangeArrowheads="1"/>
              </p:cNvSpPr>
              <p:nvPr/>
            </p:nvSpPr>
            <p:spPr bwMode="auto">
              <a:xfrm>
                <a:off x="-3097213" y="4562475"/>
                <a:ext cx="5540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90" name="Rectangle 29"/>
              <p:cNvSpPr>
                <a:spLocks noChangeArrowheads="1"/>
              </p:cNvSpPr>
              <p:nvPr/>
            </p:nvSpPr>
            <p:spPr bwMode="auto">
              <a:xfrm>
                <a:off x="-2487613" y="4562475"/>
                <a:ext cx="552450"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91" name="Rectangle 30"/>
              <p:cNvSpPr>
                <a:spLocks noChangeArrowheads="1"/>
              </p:cNvSpPr>
              <p:nvPr/>
            </p:nvSpPr>
            <p:spPr bwMode="auto">
              <a:xfrm>
                <a:off x="-2792413" y="4257675"/>
                <a:ext cx="249238"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92" name="Rectangle 31"/>
              <p:cNvSpPr>
                <a:spLocks noChangeArrowheads="1"/>
              </p:cNvSpPr>
              <p:nvPr/>
            </p:nvSpPr>
            <p:spPr bwMode="auto">
              <a:xfrm>
                <a:off x="-1878013" y="3952875"/>
                <a:ext cx="247650"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93" name="Rectangle 32"/>
              <p:cNvSpPr>
                <a:spLocks noChangeArrowheads="1"/>
              </p:cNvSpPr>
              <p:nvPr/>
            </p:nvSpPr>
            <p:spPr bwMode="auto">
              <a:xfrm>
                <a:off x="-1878013" y="4257675"/>
                <a:ext cx="247650"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94" name="Rectangle 33"/>
              <p:cNvSpPr>
                <a:spLocks noChangeArrowheads="1"/>
              </p:cNvSpPr>
              <p:nvPr/>
            </p:nvSpPr>
            <p:spPr bwMode="auto">
              <a:xfrm>
                <a:off x="-1878013" y="4562475"/>
                <a:ext cx="247650" cy="247650"/>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grpSp>
        <p:grpSp>
          <p:nvGrpSpPr>
            <p:cNvPr id="136" name="Group 135"/>
            <p:cNvGrpSpPr/>
            <p:nvPr/>
          </p:nvGrpSpPr>
          <p:grpSpPr>
            <a:xfrm>
              <a:off x="1215642" y="3935401"/>
              <a:ext cx="190865" cy="326180"/>
              <a:chOff x="-4857750" y="3473450"/>
              <a:chExt cx="850900" cy="1454150"/>
            </a:xfrm>
            <a:solidFill>
              <a:schemeClr val="bg1">
                <a:lumMod val="95000"/>
              </a:schemeClr>
            </a:solidFill>
          </p:grpSpPr>
          <p:sp>
            <p:nvSpPr>
              <p:cNvPr id="49" name="Freeform 12"/>
              <p:cNvSpPr>
                <a:spLocks noEditPoints="1"/>
              </p:cNvSpPr>
              <p:nvPr/>
            </p:nvSpPr>
            <p:spPr bwMode="auto">
              <a:xfrm>
                <a:off x="-4857750" y="3473450"/>
                <a:ext cx="850900" cy="1454150"/>
              </a:xfrm>
              <a:custGeom>
                <a:avLst/>
                <a:gdLst>
                  <a:gd name="T0" fmla="*/ 211 w 226"/>
                  <a:gd name="T1" fmla="*/ 0 h 386"/>
                  <a:gd name="T2" fmla="*/ 15 w 226"/>
                  <a:gd name="T3" fmla="*/ 0 h 386"/>
                  <a:gd name="T4" fmla="*/ 0 w 226"/>
                  <a:gd name="T5" fmla="*/ 15 h 386"/>
                  <a:gd name="T6" fmla="*/ 0 w 226"/>
                  <a:gd name="T7" fmla="*/ 371 h 386"/>
                  <a:gd name="T8" fmla="*/ 15 w 226"/>
                  <a:gd name="T9" fmla="*/ 386 h 386"/>
                  <a:gd name="T10" fmla="*/ 211 w 226"/>
                  <a:gd name="T11" fmla="*/ 386 h 386"/>
                  <a:gd name="T12" fmla="*/ 226 w 226"/>
                  <a:gd name="T13" fmla="*/ 371 h 386"/>
                  <a:gd name="T14" fmla="*/ 226 w 226"/>
                  <a:gd name="T15" fmla="*/ 15 h 386"/>
                  <a:gd name="T16" fmla="*/ 211 w 226"/>
                  <a:gd name="T17" fmla="*/ 0 h 386"/>
                  <a:gd name="T18" fmla="*/ 204 w 226"/>
                  <a:gd name="T19" fmla="*/ 326 h 386"/>
                  <a:gd name="T20" fmla="*/ 22 w 226"/>
                  <a:gd name="T21" fmla="*/ 326 h 386"/>
                  <a:gd name="T22" fmla="*/ 22 w 226"/>
                  <a:gd name="T23" fmla="*/ 22 h 386"/>
                  <a:gd name="T24" fmla="*/ 204 w 226"/>
                  <a:gd name="T25" fmla="*/ 22 h 386"/>
                  <a:gd name="T26" fmla="*/ 204 w 226"/>
                  <a:gd name="T27" fmla="*/ 326 h 3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26" h="386">
                    <a:moveTo>
                      <a:pt x="211" y="0"/>
                    </a:moveTo>
                    <a:cubicBezTo>
                      <a:pt x="15" y="0"/>
                      <a:pt x="15" y="0"/>
                      <a:pt x="15" y="0"/>
                    </a:cubicBezTo>
                    <a:cubicBezTo>
                      <a:pt x="7" y="0"/>
                      <a:pt x="0" y="7"/>
                      <a:pt x="0" y="15"/>
                    </a:cubicBezTo>
                    <a:cubicBezTo>
                      <a:pt x="0" y="371"/>
                      <a:pt x="0" y="371"/>
                      <a:pt x="0" y="371"/>
                    </a:cubicBezTo>
                    <a:cubicBezTo>
                      <a:pt x="0" y="379"/>
                      <a:pt x="7" y="386"/>
                      <a:pt x="15" y="386"/>
                    </a:cubicBezTo>
                    <a:cubicBezTo>
                      <a:pt x="211" y="386"/>
                      <a:pt x="211" y="386"/>
                      <a:pt x="211" y="386"/>
                    </a:cubicBezTo>
                    <a:cubicBezTo>
                      <a:pt x="219" y="386"/>
                      <a:pt x="226" y="379"/>
                      <a:pt x="226" y="371"/>
                    </a:cubicBezTo>
                    <a:cubicBezTo>
                      <a:pt x="226" y="15"/>
                      <a:pt x="226" y="15"/>
                      <a:pt x="226" y="15"/>
                    </a:cubicBezTo>
                    <a:cubicBezTo>
                      <a:pt x="226" y="7"/>
                      <a:pt x="219" y="0"/>
                      <a:pt x="211" y="0"/>
                    </a:cubicBezTo>
                    <a:close/>
                    <a:moveTo>
                      <a:pt x="204" y="326"/>
                    </a:moveTo>
                    <a:cubicBezTo>
                      <a:pt x="22" y="326"/>
                      <a:pt x="22" y="326"/>
                      <a:pt x="22" y="326"/>
                    </a:cubicBezTo>
                    <a:cubicBezTo>
                      <a:pt x="22" y="22"/>
                      <a:pt x="22" y="22"/>
                      <a:pt x="22" y="22"/>
                    </a:cubicBezTo>
                    <a:cubicBezTo>
                      <a:pt x="204" y="22"/>
                      <a:pt x="204" y="22"/>
                      <a:pt x="204" y="22"/>
                    </a:cubicBezTo>
                    <a:lnTo>
                      <a:pt x="204" y="32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95" name="Rectangle 34"/>
              <p:cNvSpPr>
                <a:spLocks noChangeArrowheads="1"/>
              </p:cNvSpPr>
              <p:nvPr/>
            </p:nvSpPr>
            <p:spPr bwMode="auto">
              <a:xfrm>
                <a:off x="-4699000" y="3695700"/>
                <a:ext cx="342900" cy="34607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128" name="Rectangle 35"/>
              <p:cNvSpPr>
                <a:spLocks noChangeArrowheads="1"/>
              </p:cNvSpPr>
              <p:nvPr/>
            </p:nvSpPr>
            <p:spPr bwMode="auto">
              <a:xfrm>
                <a:off x="-4311650" y="3892550"/>
                <a:ext cx="150813" cy="149225"/>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129" name="Rectangle 36"/>
              <p:cNvSpPr>
                <a:spLocks noChangeArrowheads="1"/>
              </p:cNvSpPr>
              <p:nvPr/>
            </p:nvSpPr>
            <p:spPr bwMode="auto">
              <a:xfrm>
                <a:off x="-4311650" y="3695700"/>
                <a:ext cx="150813" cy="1508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130" name="Rectangle 37"/>
              <p:cNvSpPr>
                <a:spLocks noChangeArrowheads="1"/>
              </p:cNvSpPr>
              <p:nvPr/>
            </p:nvSpPr>
            <p:spPr bwMode="auto">
              <a:xfrm>
                <a:off x="-4311650" y="4283075"/>
                <a:ext cx="150813" cy="1476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131" name="Rectangle 38"/>
              <p:cNvSpPr>
                <a:spLocks noChangeArrowheads="1"/>
              </p:cNvSpPr>
              <p:nvPr/>
            </p:nvSpPr>
            <p:spPr bwMode="auto">
              <a:xfrm>
                <a:off x="-4702175" y="4087813"/>
                <a:ext cx="541338" cy="150813"/>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132" name="Rectangle 39"/>
              <p:cNvSpPr>
                <a:spLocks noChangeArrowheads="1"/>
              </p:cNvSpPr>
              <p:nvPr/>
            </p:nvSpPr>
            <p:spPr bwMode="auto">
              <a:xfrm>
                <a:off x="-4311650" y="4478338"/>
                <a:ext cx="150813" cy="1476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133" name="Rectangle 40"/>
              <p:cNvSpPr>
                <a:spLocks noChangeArrowheads="1"/>
              </p:cNvSpPr>
              <p:nvPr/>
            </p:nvSpPr>
            <p:spPr bwMode="auto">
              <a:xfrm>
                <a:off x="-4506913" y="4283075"/>
                <a:ext cx="150813" cy="1476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sp>
            <p:nvSpPr>
              <p:cNvPr id="134" name="Rectangle 41"/>
              <p:cNvSpPr>
                <a:spLocks noChangeArrowheads="1"/>
              </p:cNvSpPr>
              <p:nvPr/>
            </p:nvSpPr>
            <p:spPr bwMode="auto">
              <a:xfrm>
                <a:off x="-4699000" y="4283075"/>
                <a:ext cx="146050" cy="147638"/>
              </a:xfrm>
              <a:prstGeom prst="rect">
                <a:avLst/>
              </a:prstGeom>
              <a:grpFill/>
              <a:ln>
                <a:noFill/>
              </a:ln>
              <a:extLst>
                <a:ext uri="{91240B29-F687-4f45-9708-019B960494DF}">
                  <a14:hiddenLine xmlns="" xmlns:a14="http://schemas.microsoft.com/office/drawing/2010/main" w="9525">
                    <a:solidFill>
                      <a:srgbClr val="000000"/>
                    </a:solidFill>
                    <a:miter lim="800000"/>
                    <a:headEnd/>
                    <a:tailEnd/>
                  </a14:hiddenLine>
                </a:ext>
              </a:extLst>
            </p:spPr>
            <p:txBody>
              <a:bodyPr vert="horz" wrap="square" lIns="91427" tIns="45713" rIns="91427" bIns="45713" numCol="1" anchor="t" anchorCtr="0" compatLnSpc="1">
                <a:prstTxWarp prst="textNoShape">
                  <a:avLst/>
                </a:prstTxWarp>
              </a:bodyPr>
              <a:lstStyle/>
              <a:p>
                <a:pPr defTabSz="914225"/>
                <a:endParaRPr lang="en-US">
                  <a:solidFill>
                    <a:prstClr val="black"/>
                  </a:solidFill>
                </a:endParaRPr>
              </a:p>
            </p:txBody>
          </p:sp>
        </p:grpSp>
        <p:pic>
          <p:nvPicPr>
            <p:cNvPr id="148" name="Picture 147"/>
            <p:cNvPicPr>
              <a:picLocks noChangeAspect="1"/>
            </p:cNvPicPr>
            <p:nvPr/>
          </p:nvPicPr>
          <p:blipFill>
            <a:blip r:embed="rId7"/>
            <a:stretch>
              <a:fillRect/>
            </a:stretch>
          </p:blipFill>
          <p:spPr>
            <a:xfrm>
              <a:off x="493208" y="2885235"/>
              <a:ext cx="966689" cy="207854"/>
            </a:xfrm>
            <a:prstGeom prst="rect">
              <a:avLst/>
            </a:prstGeom>
          </p:spPr>
        </p:pic>
      </p:grpSp>
      <p:sp>
        <p:nvSpPr>
          <p:cNvPr id="201" name="Title 1"/>
          <p:cNvSpPr>
            <a:spLocks noGrp="1"/>
          </p:cNvSpPr>
          <p:nvPr>
            <p:ph type="title"/>
          </p:nvPr>
        </p:nvSpPr>
        <p:spPr>
          <a:xfrm>
            <a:off x="0" y="10685"/>
            <a:ext cx="10515600" cy="765228"/>
          </a:xfrm>
        </p:spPr>
        <p:txBody>
          <a:bodyPr>
            <a:normAutofit/>
          </a:bodyPr>
          <a:lstStyle/>
          <a:p>
            <a:r>
              <a:rPr lang="en-US" sz="4400" dirty="0" smtClean="0">
                <a:latin typeface="Segoe UI Light" panose="020B0502040204020203" pitchFamily="34" charset="0"/>
                <a:cs typeface="Segoe UI Light" panose="020B0502040204020203" pitchFamily="34" charset="0"/>
              </a:rPr>
              <a:t>Bringing the Internet of Things to life</a:t>
            </a:r>
            <a:endParaRPr lang="en-IN" sz="4400" dirty="0">
              <a:latin typeface="Segoe UI Light" panose="020B0502040204020203" pitchFamily="34" charset="0"/>
              <a:cs typeface="Segoe UI Light" panose="020B0502040204020203" pitchFamily="34" charset="0"/>
            </a:endParaRPr>
          </a:p>
        </p:txBody>
      </p:sp>
    </p:spTree>
    <p:extLst>
      <p:ext uri="{BB962C8B-B14F-4D97-AF65-F5344CB8AC3E}">
        <p14:creationId xmlns:p14="http://schemas.microsoft.com/office/powerpoint/2010/main" val="3268563499"/>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0"/>
                                  </p:stCondLst>
                                  <p:childTnLst>
                                    <p:set>
                                      <p:cBhvr>
                                        <p:cTn id="6" dur="1" fill="hold">
                                          <p:stCondLst>
                                            <p:cond delay="0"/>
                                          </p:stCondLst>
                                        </p:cTn>
                                        <p:tgtEl>
                                          <p:spTgt spid="116"/>
                                        </p:tgtEl>
                                        <p:attrNameLst>
                                          <p:attrName>style.visibility</p:attrName>
                                        </p:attrNameLst>
                                      </p:cBhvr>
                                      <p:to>
                                        <p:strVal val="visible"/>
                                      </p:to>
                                    </p:set>
                                    <p:anim calcmode="lin" valueType="num">
                                      <p:cBhvr additive="base">
                                        <p:cTn id="7" dur="750" fill="hold"/>
                                        <p:tgtEl>
                                          <p:spTgt spid="116"/>
                                        </p:tgtEl>
                                        <p:attrNameLst>
                                          <p:attrName>ppt_x</p:attrName>
                                        </p:attrNameLst>
                                      </p:cBhvr>
                                      <p:tavLst>
                                        <p:tav tm="0">
                                          <p:val>
                                            <p:strVal val="#ppt_x"/>
                                          </p:val>
                                        </p:tav>
                                        <p:tav tm="100000">
                                          <p:val>
                                            <p:strVal val="#ppt_x"/>
                                          </p:val>
                                        </p:tav>
                                      </p:tavLst>
                                    </p:anim>
                                    <p:anim calcmode="lin" valueType="num">
                                      <p:cBhvr additive="base">
                                        <p:cTn id="8" dur="750" fill="hold"/>
                                        <p:tgtEl>
                                          <p:spTgt spid="116"/>
                                        </p:tgtEl>
                                        <p:attrNameLst>
                                          <p:attrName>ppt_y</p:attrName>
                                        </p:attrNameLst>
                                      </p:cBhvr>
                                      <p:tavLst>
                                        <p:tav tm="0">
                                          <p:val>
                                            <p:strVal val="0-#ppt_h/2"/>
                                          </p:val>
                                        </p:tav>
                                        <p:tav tm="100000">
                                          <p:val>
                                            <p:strVal val="#ppt_y"/>
                                          </p:val>
                                        </p:tav>
                                      </p:tavLst>
                                    </p:anim>
                                  </p:childTnLst>
                                </p:cTn>
                              </p:par>
                              <p:par>
                                <p:cTn id="9" presetID="10" presetClass="entr" presetSubtype="0" fill="hold" nodeType="withEffect">
                                  <p:stCondLst>
                                    <p:cond delay="750"/>
                                  </p:stCondLst>
                                  <p:childTnLst>
                                    <p:set>
                                      <p:cBhvr>
                                        <p:cTn id="10" dur="1" fill="hold">
                                          <p:stCondLst>
                                            <p:cond delay="0"/>
                                          </p:stCondLst>
                                        </p:cTn>
                                        <p:tgtEl>
                                          <p:spTgt spid="118"/>
                                        </p:tgtEl>
                                        <p:attrNameLst>
                                          <p:attrName>style.visibility</p:attrName>
                                        </p:attrNameLst>
                                      </p:cBhvr>
                                      <p:to>
                                        <p:strVal val="visible"/>
                                      </p:to>
                                    </p:set>
                                    <p:animEffect transition="in" filter="fade">
                                      <p:cBhvr>
                                        <p:cTn id="11" dur="750"/>
                                        <p:tgtEl>
                                          <p:spTgt spid="118"/>
                                        </p:tgtEl>
                                      </p:cBhvr>
                                    </p:animEffect>
                                  </p:childTnLst>
                                </p:cTn>
                              </p:par>
                              <p:par>
                                <p:cTn id="12" presetID="35" presetClass="path" presetSubtype="0" accel="50000" decel="50000" fill="hold" nodeType="withEffect">
                                  <p:stCondLst>
                                    <p:cond delay="250"/>
                                  </p:stCondLst>
                                  <p:childTnLst>
                                    <p:animMotion origin="layout" path="M 3.8601E-6 4.22606E-6 L -0.09612 4.22606E-6 " pathEditMode="relative" rAng="0" ptsTypes="AA">
                                      <p:cBhvr>
                                        <p:cTn id="13" dur="1250" spd="-100000" fill="hold"/>
                                        <p:tgtEl>
                                          <p:spTgt spid="118"/>
                                        </p:tgtEl>
                                        <p:attrNameLst>
                                          <p:attrName>ppt_x</p:attrName>
                                          <p:attrName>ppt_y</p:attrName>
                                        </p:attrNameLst>
                                      </p:cBhvr>
                                      <p:rCtr x="-4812" y="0"/>
                                    </p:animMotion>
                                  </p:childTnLst>
                                </p:cTn>
                              </p:par>
                              <p:par>
                                <p:cTn id="14" presetID="10" presetClass="entr" presetSubtype="0" fill="hold" nodeType="withEffect">
                                  <p:stCondLst>
                                    <p:cond delay="1000"/>
                                  </p:stCondLst>
                                  <p:childTnLst>
                                    <p:set>
                                      <p:cBhvr>
                                        <p:cTn id="15" dur="1" fill="hold">
                                          <p:stCondLst>
                                            <p:cond delay="0"/>
                                          </p:stCondLst>
                                        </p:cTn>
                                        <p:tgtEl>
                                          <p:spTgt spid="167"/>
                                        </p:tgtEl>
                                        <p:attrNameLst>
                                          <p:attrName>style.visibility</p:attrName>
                                        </p:attrNameLst>
                                      </p:cBhvr>
                                      <p:to>
                                        <p:strVal val="visible"/>
                                      </p:to>
                                    </p:set>
                                    <p:animEffect transition="in" filter="fade">
                                      <p:cBhvr>
                                        <p:cTn id="16" dur="750"/>
                                        <p:tgtEl>
                                          <p:spTgt spid="167"/>
                                        </p:tgtEl>
                                      </p:cBhvr>
                                    </p:animEffect>
                                  </p:childTnLst>
                                </p:cTn>
                              </p:par>
                              <p:par>
                                <p:cTn id="17" presetID="35" presetClass="path" presetSubtype="0" accel="50000" decel="50000" fill="hold" nodeType="withEffect">
                                  <p:stCondLst>
                                    <p:cond delay="500"/>
                                  </p:stCondLst>
                                  <p:childTnLst>
                                    <p:animMotion origin="layout" path="M 3.8601E-6 4.22606E-6 L -0.09612 4.22606E-6 " pathEditMode="relative" rAng="0" ptsTypes="AA">
                                      <p:cBhvr>
                                        <p:cTn id="18" dur="1250" spd="-100000" fill="hold"/>
                                        <p:tgtEl>
                                          <p:spTgt spid="167"/>
                                        </p:tgtEl>
                                        <p:attrNameLst>
                                          <p:attrName>ppt_x</p:attrName>
                                          <p:attrName>ppt_y</p:attrName>
                                        </p:attrNameLst>
                                      </p:cBhvr>
                                      <p:rCtr x="-4812" y="0"/>
                                    </p:animMotion>
                                  </p:childTnLst>
                                </p:cTn>
                              </p:par>
                              <p:par>
                                <p:cTn id="19" presetID="10" presetClass="entr" presetSubtype="0" fill="hold" nodeType="withEffect">
                                  <p:stCondLst>
                                    <p:cond delay="1250"/>
                                  </p:stCondLst>
                                  <p:childTnLst>
                                    <p:set>
                                      <p:cBhvr>
                                        <p:cTn id="20" dur="1" fill="hold">
                                          <p:stCondLst>
                                            <p:cond delay="0"/>
                                          </p:stCondLst>
                                        </p:cTn>
                                        <p:tgtEl>
                                          <p:spTgt spid="172"/>
                                        </p:tgtEl>
                                        <p:attrNameLst>
                                          <p:attrName>style.visibility</p:attrName>
                                        </p:attrNameLst>
                                      </p:cBhvr>
                                      <p:to>
                                        <p:strVal val="visible"/>
                                      </p:to>
                                    </p:set>
                                    <p:animEffect transition="in" filter="fade">
                                      <p:cBhvr>
                                        <p:cTn id="21" dur="750"/>
                                        <p:tgtEl>
                                          <p:spTgt spid="172"/>
                                        </p:tgtEl>
                                      </p:cBhvr>
                                    </p:animEffect>
                                  </p:childTnLst>
                                </p:cTn>
                              </p:par>
                              <p:par>
                                <p:cTn id="22" presetID="35" presetClass="path" presetSubtype="0" accel="50000" decel="50000" fill="hold" nodeType="withEffect">
                                  <p:stCondLst>
                                    <p:cond delay="750"/>
                                  </p:stCondLst>
                                  <p:childTnLst>
                                    <p:animMotion origin="layout" path="M 3.8601E-6 4.22606E-6 L -0.09612 4.22606E-6 " pathEditMode="relative" rAng="0" ptsTypes="AA">
                                      <p:cBhvr>
                                        <p:cTn id="23" dur="1250" spd="-100000" fill="hold"/>
                                        <p:tgtEl>
                                          <p:spTgt spid="172"/>
                                        </p:tgtEl>
                                        <p:attrNameLst>
                                          <p:attrName>ppt_x</p:attrName>
                                          <p:attrName>ppt_y</p:attrName>
                                        </p:attrNameLst>
                                      </p:cBhvr>
                                      <p:rCtr x="-4812"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6"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1" name="Group 80"/>
          <p:cNvGrpSpPr/>
          <p:nvPr/>
        </p:nvGrpSpPr>
        <p:grpSpPr>
          <a:xfrm>
            <a:off x="9823396" y="2837831"/>
            <a:ext cx="1064504" cy="1064504"/>
            <a:chOff x="10020375" y="2894239"/>
            <a:chExt cx="1085850" cy="1085850"/>
          </a:xfrm>
        </p:grpSpPr>
        <p:sp>
          <p:nvSpPr>
            <p:cNvPr id="82" name="Oval 81"/>
            <p:cNvSpPr/>
            <p:nvPr/>
          </p:nvSpPr>
          <p:spPr>
            <a:xfrm>
              <a:off x="10020375" y="2894239"/>
              <a:ext cx="1085850" cy="1085850"/>
            </a:xfrm>
            <a:prstGeom prst="ellipse">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4"/>
              <a:endParaRPr lang="en-US">
                <a:solidFill>
                  <a:prstClr val="white"/>
                </a:solidFill>
              </a:endParaRPr>
            </a:p>
          </p:txBody>
        </p:sp>
        <p:grpSp>
          <p:nvGrpSpPr>
            <p:cNvPr id="83" name="Group 82"/>
            <p:cNvGrpSpPr/>
            <p:nvPr/>
          </p:nvGrpSpPr>
          <p:grpSpPr>
            <a:xfrm>
              <a:off x="10359459" y="3222426"/>
              <a:ext cx="418861" cy="421246"/>
              <a:chOff x="10969809" y="2370994"/>
              <a:chExt cx="418861" cy="421246"/>
            </a:xfrm>
          </p:grpSpPr>
          <p:sp>
            <p:nvSpPr>
              <p:cNvPr id="84" name="Rectangle 83"/>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5" name="Rectangle 84"/>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6" name="Rectangle 85"/>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7" name="Rectangle 86"/>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88"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47"/>
                <a:endParaRPr lang="en-US" sz="1730">
                  <a:solidFill>
                    <a:srgbClr val="000000"/>
                  </a:solidFill>
                </a:endParaRPr>
              </a:p>
            </p:txBody>
          </p:sp>
        </p:grpSp>
      </p:grpSp>
      <p:grpSp>
        <p:nvGrpSpPr>
          <p:cNvPr id="89" name="Group 88"/>
          <p:cNvGrpSpPr/>
          <p:nvPr/>
        </p:nvGrpSpPr>
        <p:grpSpPr>
          <a:xfrm>
            <a:off x="8676235" y="2848503"/>
            <a:ext cx="1064504" cy="1064504"/>
            <a:chOff x="8850211" y="2905125"/>
            <a:chExt cx="1085850" cy="1085850"/>
          </a:xfrm>
        </p:grpSpPr>
        <p:sp>
          <p:nvSpPr>
            <p:cNvPr id="90" name="Oval 89"/>
            <p:cNvSpPr/>
            <p:nvPr/>
          </p:nvSpPr>
          <p:spPr>
            <a:xfrm>
              <a:off x="8850211" y="2905125"/>
              <a:ext cx="1085850" cy="1085850"/>
            </a:xfrm>
            <a:prstGeom prst="ellipse">
              <a:avLst/>
            </a:prstGeom>
            <a:solidFill>
              <a:srgbClr val="187AD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4"/>
              <a:endParaRPr lang="en-US">
                <a:solidFill>
                  <a:prstClr val="white"/>
                </a:solidFill>
              </a:endParaRPr>
            </a:p>
          </p:txBody>
        </p:sp>
        <p:sp>
          <p:nvSpPr>
            <p:cNvPr id="91" name="Freeform 61"/>
            <p:cNvSpPr>
              <a:spLocks noChangeAspect="1"/>
            </p:cNvSpPr>
            <p:nvPr/>
          </p:nvSpPr>
          <p:spPr bwMode="auto">
            <a:xfrm>
              <a:off x="9120999" y="3255913"/>
              <a:ext cx="540167" cy="354272"/>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82"/>
              <a:endParaRPr lang="en-US" sz="1730">
                <a:solidFill>
                  <a:prstClr val="black"/>
                </a:solidFill>
              </a:endParaRPr>
            </a:p>
          </p:txBody>
        </p:sp>
      </p:grpSp>
      <p:grpSp>
        <p:nvGrpSpPr>
          <p:cNvPr id="92" name="Group 91"/>
          <p:cNvGrpSpPr/>
          <p:nvPr/>
        </p:nvGrpSpPr>
        <p:grpSpPr>
          <a:xfrm>
            <a:off x="7536728" y="2848503"/>
            <a:ext cx="1064504" cy="1064504"/>
            <a:chOff x="7687854" y="2905125"/>
            <a:chExt cx="1085850" cy="1085850"/>
          </a:xfrm>
        </p:grpSpPr>
        <p:sp>
          <p:nvSpPr>
            <p:cNvPr id="93" name="Oval 92"/>
            <p:cNvSpPr/>
            <p:nvPr/>
          </p:nvSpPr>
          <p:spPr>
            <a:xfrm>
              <a:off x="7687854" y="2905125"/>
              <a:ext cx="1085850" cy="1085850"/>
            </a:xfrm>
            <a:prstGeom prst="ellipse">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4"/>
              <a:endParaRPr lang="en-US">
                <a:solidFill>
                  <a:prstClr val="white"/>
                </a:solidFill>
              </a:endParaRPr>
            </a:p>
          </p:txBody>
        </p:sp>
        <p:grpSp>
          <p:nvGrpSpPr>
            <p:cNvPr id="94" name="Group 93"/>
            <p:cNvGrpSpPr/>
            <p:nvPr/>
          </p:nvGrpSpPr>
          <p:grpSpPr>
            <a:xfrm>
              <a:off x="7934374" y="3170658"/>
              <a:ext cx="634010" cy="524782"/>
              <a:chOff x="12890500" y="-3265488"/>
              <a:chExt cx="3722688" cy="3081338"/>
            </a:xfrm>
            <a:solidFill>
              <a:schemeClr val="bg1"/>
            </a:solidFill>
          </p:grpSpPr>
          <p:sp>
            <p:nvSpPr>
              <p:cNvPr id="9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9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grpSp>
      <p:sp>
        <p:nvSpPr>
          <p:cNvPr id="5" name="Rectangle 4"/>
          <p:cNvSpPr/>
          <p:nvPr/>
        </p:nvSpPr>
        <p:spPr>
          <a:xfrm>
            <a:off x="7277353" y="2527907"/>
            <a:ext cx="3841820" cy="16843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4"/>
            <a:endParaRPr lang="en-US">
              <a:solidFill>
                <a:prstClr val="white"/>
              </a:solidFill>
            </a:endParaRPr>
          </a:p>
        </p:txBody>
      </p:sp>
      <p:sp>
        <p:nvSpPr>
          <p:cNvPr id="53" name="Title 1"/>
          <p:cNvSpPr>
            <a:spLocks noGrp="1"/>
          </p:cNvSpPr>
          <p:nvPr>
            <p:ph type="title"/>
          </p:nvPr>
        </p:nvSpPr>
        <p:spPr/>
        <p:txBody>
          <a:bodyPr/>
          <a:lstStyle/>
          <a:p>
            <a:r>
              <a:rPr lang="en-US" dirty="0" smtClean="0"/>
              <a:t>Improve efficiency</a:t>
            </a:r>
            <a:endParaRPr lang="en-IN" dirty="0"/>
          </a:p>
        </p:txBody>
      </p:sp>
      <p:sp>
        <p:nvSpPr>
          <p:cNvPr id="30" name="Rectangle 29"/>
          <p:cNvSpPr/>
          <p:nvPr/>
        </p:nvSpPr>
        <p:spPr>
          <a:xfrm>
            <a:off x="4782546" y="4654364"/>
            <a:ext cx="7140217" cy="980607"/>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986067" rIns="448212" rtlCol="0" anchor="ctr"/>
          <a:lstStyle/>
          <a:p>
            <a:pPr defTabSz="914314">
              <a:lnSpc>
                <a:spcPct val="90000"/>
              </a:lnSpc>
            </a:pPr>
            <a:r>
              <a:rPr lang="en-US" sz="1961" dirty="0">
                <a:solidFill>
                  <a:prstClr val="white"/>
                </a:solidFill>
                <a:latin typeface="Segoe UI Light"/>
              </a:rPr>
              <a:t>Collect and secure large amounts of data from your assets in the cloud for analysis</a:t>
            </a:r>
          </a:p>
        </p:txBody>
      </p:sp>
      <p:sp>
        <p:nvSpPr>
          <p:cNvPr id="27" name="Rectangle 26"/>
          <p:cNvSpPr/>
          <p:nvPr/>
        </p:nvSpPr>
        <p:spPr>
          <a:xfrm>
            <a:off x="4782546" y="3551379"/>
            <a:ext cx="7140217" cy="980607"/>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986067" rIns="448212" rtlCol="0" anchor="ctr"/>
          <a:lstStyle/>
          <a:p>
            <a:pPr defTabSz="914314">
              <a:lnSpc>
                <a:spcPct val="90000"/>
              </a:lnSpc>
            </a:pPr>
            <a:r>
              <a:rPr lang="en-US" sz="1961" dirty="0">
                <a:solidFill>
                  <a:prstClr val="white"/>
                </a:solidFill>
                <a:latin typeface="Segoe UI Light"/>
              </a:rPr>
              <a:t>Monitor and track the health of your assets to </a:t>
            </a:r>
            <a:br>
              <a:rPr lang="en-US" sz="1961" dirty="0">
                <a:solidFill>
                  <a:prstClr val="white"/>
                </a:solidFill>
                <a:latin typeface="Segoe UI Light"/>
              </a:rPr>
            </a:br>
            <a:r>
              <a:rPr lang="en-US" sz="1961" dirty="0">
                <a:solidFill>
                  <a:prstClr val="white"/>
                </a:solidFill>
                <a:latin typeface="Segoe UI Light"/>
              </a:rPr>
              <a:t>reduce costs</a:t>
            </a:r>
          </a:p>
        </p:txBody>
      </p:sp>
      <p:sp>
        <p:nvSpPr>
          <p:cNvPr id="3" name="Rectangle 2"/>
          <p:cNvSpPr/>
          <p:nvPr/>
        </p:nvSpPr>
        <p:spPr>
          <a:xfrm>
            <a:off x="4782546" y="2448394"/>
            <a:ext cx="7140217" cy="980607"/>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lIns="986067" rIns="448212" rtlCol="0" anchor="ctr"/>
          <a:lstStyle/>
          <a:p>
            <a:pPr defTabSz="914314">
              <a:lnSpc>
                <a:spcPct val="90000"/>
              </a:lnSpc>
            </a:pPr>
            <a:r>
              <a:rPr lang="en-US" sz="1961" dirty="0">
                <a:solidFill>
                  <a:prstClr val="white"/>
                </a:solidFill>
                <a:latin typeface="Segoe UI Light"/>
              </a:rPr>
              <a:t>Connect disparate line-of-business assets to automate and improve business processes</a:t>
            </a:r>
          </a:p>
        </p:txBody>
      </p:sp>
      <p:sp>
        <p:nvSpPr>
          <p:cNvPr id="2" name="Oval 1"/>
          <p:cNvSpPr/>
          <p:nvPr/>
        </p:nvSpPr>
        <p:spPr>
          <a:xfrm>
            <a:off x="377198" y="1419826"/>
            <a:ext cx="5153307" cy="5153307"/>
          </a:xfrm>
          <a:prstGeom prst="ellipse">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14"/>
            <a:endParaRPr lang="en-US">
              <a:solidFill>
                <a:prstClr val="white"/>
              </a:solidFill>
            </a:endParaRPr>
          </a:p>
        </p:txBody>
      </p:sp>
      <p:sp>
        <p:nvSpPr>
          <p:cNvPr id="10" name="Isosceles Triangle 60"/>
          <p:cNvSpPr/>
          <p:nvPr/>
        </p:nvSpPr>
        <p:spPr bwMode="auto">
          <a:xfrm rot="16200000">
            <a:off x="2013872" y="3173562"/>
            <a:ext cx="1897484" cy="1680157"/>
          </a:xfrm>
          <a:custGeom>
            <a:avLst/>
            <a:gdLst/>
            <a:ahLst/>
            <a:cxnLst/>
            <a:rect l="l" t="t" r="r" b="b"/>
            <a:pathLst>
              <a:path w="2108298" h="1866828">
                <a:moveTo>
                  <a:pt x="225150" y="844900"/>
                </a:moveTo>
                <a:lnTo>
                  <a:pt x="450299" y="1126706"/>
                </a:lnTo>
                <a:lnTo>
                  <a:pt x="300646" y="1126706"/>
                </a:lnTo>
                <a:cubicBezTo>
                  <a:pt x="383956" y="1463794"/>
                  <a:pt x="689152" y="1712441"/>
                  <a:pt x="1052423" y="1712441"/>
                </a:cubicBezTo>
                <a:cubicBezTo>
                  <a:pt x="1421279" y="1712441"/>
                  <a:pt x="1730261" y="1456089"/>
                  <a:pt x="1809108" y="1111403"/>
                </a:cubicBezTo>
                <a:lnTo>
                  <a:pt x="1968419" y="1111403"/>
                </a:lnTo>
                <a:cubicBezTo>
                  <a:pt x="1885742" y="1541826"/>
                  <a:pt x="1507036" y="1866828"/>
                  <a:pt x="1052423" y="1866828"/>
                </a:cubicBezTo>
                <a:cubicBezTo>
                  <a:pt x="603305" y="1866828"/>
                  <a:pt x="228270" y="1549636"/>
                  <a:pt x="140786" y="1126706"/>
                </a:cubicBezTo>
                <a:lnTo>
                  <a:pt x="0" y="1126706"/>
                </a:lnTo>
                <a:close/>
                <a:moveTo>
                  <a:pt x="1052423" y="0"/>
                </a:moveTo>
                <a:cubicBezTo>
                  <a:pt x="1501998" y="0"/>
                  <a:pt x="1877337" y="317836"/>
                  <a:pt x="1964421" y="741388"/>
                </a:cubicBezTo>
                <a:lnTo>
                  <a:pt x="2108298" y="741388"/>
                </a:lnTo>
                <a:lnTo>
                  <a:pt x="1883149" y="1023194"/>
                </a:lnTo>
                <a:lnTo>
                  <a:pt x="1657999" y="741388"/>
                </a:lnTo>
                <a:lnTo>
                  <a:pt x="1804607" y="741388"/>
                </a:lnTo>
                <a:cubicBezTo>
                  <a:pt x="1721669" y="403669"/>
                  <a:pt x="1416158" y="154387"/>
                  <a:pt x="1052423" y="154387"/>
                </a:cubicBezTo>
                <a:cubicBezTo>
                  <a:pt x="683568" y="154387"/>
                  <a:pt x="374587" y="410738"/>
                  <a:pt x="295739" y="755423"/>
                </a:cubicBezTo>
                <a:lnTo>
                  <a:pt x="136428" y="755423"/>
                </a:lnTo>
                <a:cubicBezTo>
                  <a:pt x="219106" y="325001"/>
                  <a:pt x="597811" y="0"/>
                  <a:pt x="1052423" y="0"/>
                </a:cubicBezTo>
                <a:close/>
              </a:path>
            </a:pathLst>
          </a:custGeom>
          <a:solidFill>
            <a:schemeClr val="tx1">
              <a:lumMod val="50000"/>
              <a:lumOff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b="1" dirty="0">
              <a:solidFill>
                <a:prstClr val="white"/>
              </a:solidFill>
              <a:latin typeface="Segoe UI Light"/>
              <a:ea typeface="Segoe UI" pitchFamily="34" charset="0"/>
              <a:cs typeface="Segoe UI" pitchFamily="34" charset="0"/>
            </a:endParaRPr>
          </a:p>
        </p:txBody>
      </p:sp>
      <p:sp>
        <p:nvSpPr>
          <p:cNvPr id="11" name="TextBox 10"/>
          <p:cNvSpPr txBox="1"/>
          <p:nvPr/>
        </p:nvSpPr>
        <p:spPr>
          <a:xfrm>
            <a:off x="1921660" y="3798420"/>
            <a:ext cx="2081912" cy="413791"/>
          </a:xfrm>
          <a:prstGeom prst="rect">
            <a:avLst/>
          </a:prstGeom>
          <a:noFill/>
        </p:spPr>
        <p:txBody>
          <a:bodyPr lIns="179285" tIns="143428" rIns="179285" bIns="143428" anchor="ctr"/>
          <a:lstStyle/>
          <a:p>
            <a:pPr algn="ctr" defTabSz="914314">
              <a:lnSpc>
                <a:spcPct val="90000"/>
              </a:lnSpc>
              <a:defRPr/>
            </a:pPr>
            <a:r>
              <a:rPr lang="en-US" sz="2745" dirty="0">
                <a:solidFill>
                  <a:srgbClr val="000000"/>
                </a:solidFill>
                <a:latin typeface="Segoe UI Light"/>
                <a:ea typeface="MS PGothic" panose="020B0600070205080204" pitchFamily="34" charset="-128"/>
              </a:rPr>
              <a:t>Things</a:t>
            </a:r>
          </a:p>
        </p:txBody>
      </p:sp>
      <p:sp>
        <p:nvSpPr>
          <p:cNvPr id="13" name="Freeform 12"/>
          <p:cNvSpPr/>
          <p:nvPr/>
        </p:nvSpPr>
        <p:spPr bwMode="auto">
          <a:xfrm>
            <a:off x="525438" y="1571054"/>
            <a:ext cx="2378045" cy="3437912"/>
          </a:xfrm>
          <a:custGeom>
            <a:avLst/>
            <a:gdLst>
              <a:gd name="connsiteX0" fmla="*/ 263544 w 2425730"/>
              <a:gd name="connsiteY0" fmla="*/ 3485485 h 3506849"/>
              <a:gd name="connsiteX1" fmla="*/ 222423 w 2425730"/>
              <a:gd name="connsiteY1" fmla="*/ 3506849 h 3506849"/>
              <a:gd name="connsiteX2" fmla="*/ 222113 w 2425730"/>
              <a:gd name="connsiteY2" fmla="*/ 3506205 h 3506849"/>
              <a:gd name="connsiteX3" fmla="*/ 2425730 w 2425730"/>
              <a:gd name="connsiteY3" fmla="*/ 0 h 3506849"/>
              <a:gd name="connsiteX4" fmla="*/ 2425730 w 2425730"/>
              <a:gd name="connsiteY4" fmla="*/ 1411223 h 3506849"/>
              <a:gd name="connsiteX5" fmla="*/ 2375998 w 2425730"/>
              <a:gd name="connsiteY5" fmla="*/ 1413734 h 3506849"/>
              <a:gd name="connsiteX6" fmla="*/ 1409700 w 2425730"/>
              <a:gd name="connsiteY6" fmla="*/ 2484525 h 3506849"/>
              <a:gd name="connsiteX7" fmla="*/ 1431568 w 2425730"/>
              <a:gd name="connsiteY7" fmla="*/ 2701447 h 3506849"/>
              <a:gd name="connsiteX8" fmla="*/ 1446377 w 2425730"/>
              <a:gd name="connsiteY8" fmla="*/ 2759042 h 3506849"/>
              <a:gd name="connsiteX9" fmla="*/ 174954 w 2425730"/>
              <a:gd name="connsiteY9" fmla="*/ 3394913 h 3506849"/>
              <a:gd name="connsiteX10" fmla="*/ 111768 w 2425730"/>
              <a:gd name="connsiteY10" fmla="*/ 3222276 h 3506849"/>
              <a:gd name="connsiteX11" fmla="*/ 0 w 2425730"/>
              <a:gd name="connsiteY11" fmla="*/ 2483001 h 3506849"/>
              <a:gd name="connsiteX12" fmla="*/ 2231863 w 2425730"/>
              <a:gd name="connsiteY12" fmla="*/ 9789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425730" h="3506849">
                <a:moveTo>
                  <a:pt x="263544" y="3485485"/>
                </a:moveTo>
                <a:lnTo>
                  <a:pt x="222423" y="3506849"/>
                </a:lnTo>
                <a:lnTo>
                  <a:pt x="222113" y="3506205"/>
                </a:lnTo>
                <a:close/>
                <a:moveTo>
                  <a:pt x="2425730" y="0"/>
                </a:moveTo>
                <a:lnTo>
                  <a:pt x="2425730" y="1411223"/>
                </a:lnTo>
                <a:lnTo>
                  <a:pt x="2375998" y="1413734"/>
                </a:lnTo>
                <a:cubicBezTo>
                  <a:pt x="1833243" y="1468854"/>
                  <a:pt x="1409700" y="1927227"/>
                  <a:pt x="1409700" y="2484525"/>
                </a:cubicBezTo>
                <a:cubicBezTo>
                  <a:pt x="1409700" y="2558831"/>
                  <a:pt x="1417230" y="2631379"/>
                  <a:pt x="1431568" y="2701447"/>
                </a:cubicBezTo>
                <a:lnTo>
                  <a:pt x="1446377" y="2759042"/>
                </a:lnTo>
                <a:lnTo>
                  <a:pt x="174954" y="3394913"/>
                </a:lnTo>
                <a:lnTo>
                  <a:pt x="111768" y="3222276"/>
                </a:lnTo>
                <a:cubicBezTo>
                  <a:pt x="39131" y="2988739"/>
                  <a:pt x="0" y="2740440"/>
                  <a:pt x="0" y="2483001"/>
                </a:cubicBezTo>
                <a:cubicBezTo>
                  <a:pt x="0" y="1195808"/>
                  <a:pt x="978259" y="137100"/>
                  <a:pt x="2231863" y="9789"/>
                </a:cubicBezTo>
                <a:close/>
              </a:path>
            </a:pathLst>
          </a:custGeom>
          <a:solidFill>
            <a:srgbClr val="5C2D9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Freeform 14"/>
          <p:cNvSpPr/>
          <p:nvPr/>
        </p:nvSpPr>
        <p:spPr bwMode="auto">
          <a:xfrm>
            <a:off x="743187" y="1571054"/>
            <a:ext cx="4656606" cy="343791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accent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23" name="Freeform 22"/>
          <p:cNvSpPr/>
          <p:nvPr/>
        </p:nvSpPr>
        <p:spPr bwMode="auto">
          <a:xfrm>
            <a:off x="743186" y="4389682"/>
            <a:ext cx="4438861" cy="2052739"/>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6" name="Freeform 45"/>
          <p:cNvSpPr/>
          <p:nvPr/>
        </p:nvSpPr>
        <p:spPr bwMode="auto">
          <a:xfrm>
            <a:off x="740220" y="1571054"/>
            <a:ext cx="4656279" cy="3437912"/>
          </a:xfrm>
          <a:custGeom>
            <a:avLst/>
            <a:gdLst>
              <a:gd name="connsiteX0" fmla="*/ 41432 w 4749981"/>
              <a:gd name="connsiteY0" fmla="*/ 3485484 h 3506849"/>
              <a:gd name="connsiteX1" fmla="*/ 310 w 4749981"/>
              <a:gd name="connsiteY1" fmla="*/ 3506849 h 3506849"/>
              <a:gd name="connsiteX2" fmla="*/ 0 w 4749981"/>
              <a:gd name="connsiteY2" fmla="*/ 3506205 h 3506849"/>
              <a:gd name="connsiteX3" fmla="*/ 2324249 w 4749981"/>
              <a:gd name="connsiteY3" fmla="*/ 0 h 3506849"/>
              <a:gd name="connsiteX4" fmla="*/ 2518118 w 4749981"/>
              <a:gd name="connsiteY4" fmla="*/ 9789 h 3506849"/>
              <a:gd name="connsiteX5" fmla="*/ 4749981 w 4749981"/>
              <a:gd name="connsiteY5" fmla="*/ 2483001 h 3506849"/>
              <a:gd name="connsiteX6" fmla="*/ 4638213 w 4749981"/>
              <a:gd name="connsiteY6" fmla="*/ 3222276 h 3506849"/>
              <a:gd name="connsiteX7" fmla="*/ 4575027 w 4749981"/>
              <a:gd name="connsiteY7" fmla="*/ 3394914 h 3506849"/>
              <a:gd name="connsiteX8" fmla="*/ 3303606 w 4749981"/>
              <a:gd name="connsiteY8" fmla="*/ 2759044 h 3506849"/>
              <a:gd name="connsiteX9" fmla="*/ 3318415 w 4749981"/>
              <a:gd name="connsiteY9" fmla="*/ 2701447 h 3506849"/>
              <a:gd name="connsiteX10" fmla="*/ 3340283 w 4749981"/>
              <a:gd name="connsiteY10" fmla="*/ 2484525 h 3506849"/>
              <a:gd name="connsiteX11" fmla="*/ 2373986 w 4749981"/>
              <a:gd name="connsiteY11" fmla="*/ 1413734 h 3506849"/>
              <a:gd name="connsiteX12" fmla="*/ 2324249 w 4749981"/>
              <a:gd name="connsiteY12" fmla="*/ 1411223 h 3506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749981" h="3506849">
                <a:moveTo>
                  <a:pt x="41432" y="3485484"/>
                </a:moveTo>
                <a:lnTo>
                  <a:pt x="310" y="3506849"/>
                </a:lnTo>
                <a:lnTo>
                  <a:pt x="0" y="3506205"/>
                </a:lnTo>
                <a:close/>
                <a:moveTo>
                  <a:pt x="2324249" y="0"/>
                </a:moveTo>
                <a:lnTo>
                  <a:pt x="2518118" y="9789"/>
                </a:lnTo>
                <a:cubicBezTo>
                  <a:pt x="3771722" y="137100"/>
                  <a:pt x="4749981" y="1195808"/>
                  <a:pt x="4749981" y="2483001"/>
                </a:cubicBezTo>
                <a:cubicBezTo>
                  <a:pt x="4749981" y="2740440"/>
                  <a:pt x="4710851" y="2988739"/>
                  <a:pt x="4638213" y="3222276"/>
                </a:cubicBezTo>
                <a:lnTo>
                  <a:pt x="4575027" y="3394914"/>
                </a:lnTo>
                <a:lnTo>
                  <a:pt x="3303606" y="2759044"/>
                </a:lnTo>
                <a:lnTo>
                  <a:pt x="3318415" y="2701447"/>
                </a:lnTo>
                <a:cubicBezTo>
                  <a:pt x="3332753" y="2631379"/>
                  <a:pt x="3340283" y="2558831"/>
                  <a:pt x="3340283" y="2484525"/>
                </a:cubicBezTo>
                <a:cubicBezTo>
                  <a:pt x="3340283" y="1927227"/>
                  <a:pt x="2916741" y="1468854"/>
                  <a:pt x="2373986" y="1413734"/>
                </a:cubicBezTo>
                <a:lnTo>
                  <a:pt x="2324249" y="1411223"/>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47" name="Freeform 46"/>
          <p:cNvSpPr/>
          <p:nvPr/>
        </p:nvSpPr>
        <p:spPr bwMode="auto">
          <a:xfrm>
            <a:off x="740796" y="4389682"/>
            <a:ext cx="4438549" cy="2052739"/>
          </a:xfrm>
          <a:custGeom>
            <a:avLst/>
            <a:gdLst>
              <a:gd name="connsiteX0" fmla="*/ 1261799 w 4527869"/>
              <a:gd name="connsiteY0" fmla="*/ 0 h 2093901"/>
              <a:gd name="connsiteX1" fmla="*/ 1272172 w 4527869"/>
              <a:gd name="connsiteY1" fmla="*/ 28342 h 2093901"/>
              <a:gd name="connsiteX2" fmla="*/ 2263935 w 4527869"/>
              <a:gd name="connsiteY2" fmla="*/ 685726 h 2093901"/>
              <a:gd name="connsiteX3" fmla="*/ 3255698 w 4527869"/>
              <a:gd name="connsiteY3" fmla="*/ 28342 h 2093901"/>
              <a:gd name="connsiteX4" fmla="*/ 3266071 w 4527869"/>
              <a:gd name="connsiteY4" fmla="*/ 1 h 2093901"/>
              <a:gd name="connsiteX5" fmla="*/ 4527869 w 4527869"/>
              <a:gd name="connsiteY5" fmla="*/ 631058 h 2093901"/>
              <a:gd name="connsiteX6" fmla="*/ 4449929 w 4527869"/>
              <a:gd name="connsiteY6" fmla="*/ 792852 h 2093901"/>
              <a:gd name="connsiteX7" fmla="*/ 2263934 w 4527869"/>
              <a:gd name="connsiteY7" fmla="*/ 2093901 h 2093901"/>
              <a:gd name="connsiteX8" fmla="*/ 77940 w 4527869"/>
              <a:gd name="connsiteY8" fmla="*/ 792852 h 2093901"/>
              <a:gd name="connsiteX9" fmla="*/ 0 w 4527869"/>
              <a:gd name="connsiteY9" fmla="*/ 631058 h 2093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27869" h="2093901">
                <a:moveTo>
                  <a:pt x="1261799" y="0"/>
                </a:moveTo>
                <a:lnTo>
                  <a:pt x="1272172" y="28342"/>
                </a:lnTo>
                <a:cubicBezTo>
                  <a:pt x="1435570" y="414659"/>
                  <a:pt x="1818097" y="685726"/>
                  <a:pt x="2263935" y="685726"/>
                </a:cubicBezTo>
                <a:cubicBezTo>
                  <a:pt x="2709773" y="685726"/>
                  <a:pt x="3092300" y="414659"/>
                  <a:pt x="3255698" y="28342"/>
                </a:cubicBezTo>
                <a:lnTo>
                  <a:pt x="3266071" y="1"/>
                </a:lnTo>
                <a:lnTo>
                  <a:pt x="4527869" y="631058"/>
                </a:lnTo>
                <a:lnTo>
                  <a:pt x="4449929" y="792852"/>
                </a:lnTo>
                <a:cubicBezTo>
                  <a:pt x="4028943" y="1567815"/>
                  <a:pt x="3207876" y="2093901"/>
                  <a:pt x="2263934" y="2093901"/>
                </a:cubicBezTo>
                <a:cubicBezTo>
                  <a:pt x="1319993" y="2093901"/>
                  <a:pt x="498925" y="1567815"/>
                  <a:pt x="77940" y="792852"/>
                </a:cubicBezTo>
                <a:lnTo>
                  <a:pt x="0" y="631058"/>
                </a:lnTo>
                <a:close/>
              </a:path>
            </a:pathLst>
          </a:custGeom>
          <a:solidFill>
            <a:schemeClr val="bg1">
              <a:lumMod val="85000"/>
            </a:schemeClr>
          </a:solidFill>
          <a:ln w="12700">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grpSp>
        <p:nvGrpSpPr>
          <p:cNvPr id="97" name="Group 96"/>
          <p:cNvGrpSpPr/>
          <p:nvPr/>
        </p:nvGrpSpPr>
        <p:grpSpPr>
          <a:xfrm>
            <a:off x="2510343" y="5370982"/>
            <a:ext cx="705405" cy="709421"/>
            <a:chOff x="10969809" y="2370994"/>
            <a:chExt cx="418861" cy="421246"/>
          </a:xfrm>
        </p:grpSpPr>
        <p:sp>
          <p:nvSpPr>
            <p:cNvPr id="98" name="Rectangle 97"/>
            <p:cNvSpPr/>
            <p:nvPr/>
          </p:nvSpPr>
          <p:spPr bwMode="auto">
            <a:xfrm>
              <a:off x="10994788" y="2597530"/>
              <a:ext cx="72412" cy="194709"/>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99" name="Rectangle 98"/>
            <p:cNvSpPr/>
            <p:nvPr/>
          </p:nvSpPr>
          <p:spPr bwMode="auto">
            <a:xfrm>
              <a:off x="11101945" y="2519077"/>
              <a:ext cx="72412" cy="273161"/>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0" name="Rectangle 99"/>
            <p:cNvSpPr/>
            <p:nvPr/>
          </p:nvSpPr>
          <p:spPr bwMode="auto">
            <a:xfrm>
              <a:off x="11209102" y="2455067"/>
              <a:ext cx="72412" cy="337173"/>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1" name="Rectangle 100"/>
            <p:cNvSpPr/>
            <p:nvPr/>
          </p:nvSpPr>
          <p:spPr bwMode="auto">
            <a:xfrm>
              <a:off x="11316258" y="2370994"/>
              <a:ext cx="72412" cy="421246"/>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sp>
          <p:nvSpPr>
            <p:cNvPr id="102" name="icon BULB"/>
            <p:cNvSpPr>
              <a:spLocks noChangeAspect="1" noEditPoints="1"/>
            </p:cNvSpPr>
            <p:nvPr/>
          </p:nvSpPr>
          <p:spPr bwMode="auto">
            <a:xfrm>
              <a:off x="10969809" y="2375442"/>
              <a:ext cx="114209" cy="182734"/>
            </a:xfrm>
            <a:custGeom>
              <a:avLst/>
              <a:gdLst>
                <a:gd name="T0" fmla="*/ 74 w 149"/>
                <a:gd name="T1" fmla="*/ 0 h 241"/>
                <a:gd name="T2" fmla="*/ 74 w 149"/>
                <a:gd name="T3" fmla="*/ 0 h 241"/>
                <a:gd name="T4" fmla="*/ 0 w 149"/>
                <a:gd name="T5" fmla="*/ 70 h 241"/>
                <a:gd name="T6" fmla="*/ 27 w 149"/>
                <a:gd name="T7" fmla="*/ 127 h 241"/>
                <a:gd name="T8" fmla="*/ 33 w 149"/>
                <a:gd name="T9" fmla="*/ 140 h 241"/>
                <a:gd name="T10" fmla="*/ 35 w 149"/>
                <a:gd name="T11" fmla="*/ 154 h 241"/>
                <a:gd name="T12" fmla="*/ 44 w 149"/>
                <a:gd name="T13" fmla="*/ 176 h 241"/>
                <a:gd name="T14" fmla="*/ 107 w 149"/>
                <a:gd name="T15" fmla="*/ 176 h 241"/>
                <a:gd name="T16" fmla="*/ 115 w 149"/>
                <a:gd name="T17" fmla="*/ 154 h 241"/>
                <a:gd name="T18" fmla="*/ 124 w 149"/>
                <a:gd name="T19" fmla="*/ 127 h 241"/>
                <a:gd name="T20" fmla="*/ 137 w 149"/>
                <a:gd name="T21" fmla="*/ 105 h 241"/>
                <a:gd name="T22" fmla="*/ 149 w 149"/>
                <a:gd name="T23" fmla="*/ 70 h 241"/>
                <a:gd name="T24" fmla="*/ 74 w 149"/>
                <a:gd name="T25" fmla="*/ 0 h 241"/>
                <a:gd name="T26" fmla="*/ 58 w 149"/>
                <a:gd name="T27" fmla="*/ 234 h 241"/>
                <a:gd name="T28" fmla="*/ 67 w 149"/>
                <a:gd name="T29" fmla="*/ 241 h 241"/>
                <a:gd name="T30" fmla="*/ 86 w 149"/>
                <a:gd name="T31" fmla="*/ 241 h 241"/>
                <a:gd name="T32" fmla="*/ 94 w 149"/>
                <a:gd name="T33" fmla="*/ 234 h 241"/>
                <a:gd name="T34" fmla="*/ 58 w 149"/>
                <a:gd name="T35" fmla="*/ 234 h 241"/>
                <a:gd name="T36" fmla="*/ 97 w 149"/>
                <a:gd name="T37" fmla="*/ 209 h 241"/>
                <a:gd name="T38" fmla="*/ 55 w 149"/>
                <a:gd name="T39" fmla="*/ 209 h 241"/>
                <a:gd name="T40" fmla="*/ 45 w 149"/>
                <a:gd name="T41" fmla="*/ 217 h 241"/>
                <a:gd name="T42" fmla="*/ 56 w 149"/>
                <a:gd name="T43" fmla="*/ 226 h 241"/>
                <a:gd name="T44" fmla="*/ 97 w 149"/>
                <a:gd name="T45" fmla="*/ 226 h 241"/>
                <a:gd name="T46" fmla="*/ 107 w 149"/>
                <a:gd name="T47" fmla="*/ 217 h 241"/>
                <a:gd name="T48" fmla="*/ 97 w 149"/>
                <a:gd name="T49" fmla="*/ 209 h 241"/>
                <a:gd name="T50" fmla="*/ 99 w 149"/>
                <a:gd name="T51" fmla="*/ 184 h 241"/>
                <a:gd name="T52" fmla="*/ 52 w 149"/>
                <a:gd name="T53" fmla="*/ 184 h 241"/>
                <a:gd name="T54" fmla="*/ 43 w 149"/>
                <a:gd name="T55" fmla="*/ 192 h 241"/>
                <a:gd name="T56" fmla="*/ 53 w 149"/>
                <a:gd name="T57" fmla="*/ 201 h 241"/>
                <a:gd name="T58" fmla="*/ 99 w 149"/>
                <a:gd name="T59" fmla="*/ 201 h 241"/>
                <a:gd name="T60" fmla="*/ 110 w 149"/>
                <a:gd name="T61" fmla="*/ 192 h 241"/>
                <a:gd name="T62" fmla="*/ 99 w 149"/>
                <a:gd name="T63" fmla="*/ 18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49" h="241">
                  <a:moveTo>
                    <a:pt x="74" y="0"/>
                  </a:moveTo>
                  <a:cubicBezTo>
                    <a:pt x="74" y="0"/>
                    <a:pt x="74" y="0"/>
                    <a:pt x="74" y="0"/>
                  </a:cubicBezTo>
                  <a:cubicBezTo>
                    <a:pt x="33" y="0"/>
                    <a:pt x="0" y="31"/>
                    <a:pt x="0" y="70"/>
                  </a:cubicBezTo>
                  <a:cubicBezTo>
                    <a:pt x="0" y="92"/>
                    <a:pt x="18" y="107"/>
                    <a:pt x="27" y="127"/>
                  </a:cubicBezTo>
                  <a:cubicBezTo>
                    <a:pt x="30" y="132"/>
                    <a:pt x="31" y="136"/>
                    <a:pt x="33" y="140"/>
                  </a:cubicBezTo>
                  <a:cubicBezTo>
                    <a:pt x="34" y="146"/>
                    <a:pt x="34" y="150"/>
                    <a:pt x="35" y="154"/>
                  </a:cubicBezTo>
                  <a:cubicBezTo>
                    <a:pt x="36" y="162"/>
                    <a:pt x="38" y="170"/>
                    <a:pt x="44" y="176"/>
                  </a:cubicBezTo>
                  <a:cubicBezTo>
                    <a:pt x="107" y="176"/>
                    <a:pt x="107" y="176"/>
                    <a:pt x="107" y="176"/>
                  </a:cubicBezTo>
                  <a:cubicBezTo>
                    <a:pt x="114" y="170"/>
                    <a:pt x="115" y="162"/>
                    <a:pt x="115" y="154"/>
                  </a:cubicBezTo>
                  <a:cubicBezTo>
                    <a:pt x="117" y="146"/>
                    <a:pt x="118" y="138"/>
                    <a:pt x="124" y="127"/>
                  </a:cubicBezTo>
                  <a:cubicBezTo>
                    <a:pt x="127" y="119"/>
                    <a:pt x="132" y="112"/>
                    <a:pt x="137" y="105"/>
                  </a:cubicBezTo>
                  <a:cubicBezTo>
                    <a:pt x="143" y="94"/>
                    <a:pt x="149" y="83"/>
                    <a:pt x="149" y="70"/>
                  </a:cubicBezTo>
                  <a:cubicBezTo>
                    <a:pt x="149" y="31"/>
                    <a:pt x="115" y="0"/>
                    <a:pt x="74" y="0"/>
                  </a:cubicBezTo>
                  <a:moveTo>
                    <a:pt x="58" y="234"/>
                  </a:moveTo>
                  <a:cubicBezTo>
                    <a:pt x="58" y="234"/>
                    <a:pt x="59" y="241"/>
                    <a:pt x="67" y="241"/>
                  </a:cubicBezTo>
                  <a:cubicBezTo>
                    <a:pt x="86" y="241"/>
                    <a:pt x="86" y="241"/>
                    <a:pt x="86" y="241"/>
                  </a:cubicBezTo>
                  <a:cubicBezTo>
                    <a:pt x="93" y="241"/>
                    <a:pt x="94" y="234"/>
                    <a:pt x="94" y="234"/>
                  </a:cubicBezTo>
                  <a:lnTo>
                    <a:pt x="58" y="234"/>
                  </a:lnTo>
                  <a:close/>
                  <a:moveTo>
                    <a:pt x="97" y="209"/>
                  </a:moveTo>
                  <a:cubicBezTo>
                    <a:pt x="55" y="209"/>
                    <a:pt x="55" y="209"/>
                    <a:pt x="55" y="209"/>
                  </a:cubicBezTo>
                  <a:cubicBezTo>
                    <a:pt x="50" y="209"/>
                    <a:pt x="45" y="213"/>
                    <a:pt x="45" y="217"/>
                  </a:cubicBezTo>
                  <a:cubicBezTo>
                    <a:pt x="45" y="223"/>
                    <a:pt x="50" y="226"/>
                    <a:pt x="56" y="226"/>
                  </a:cubicBezTo>
                  <a:cubicBezTo>
                    <a:pt x="97" y="226"/>
                    <a:pt x="97" y="226"/>
                    <a:pt x="97" y="226"/>
                  </a:cubicBezTo>
                  <a:cubicBezTo>
                    <a:pt x="103" y="226"/>
                    <a:pt x="107" y="223"/>
                    <a:pt x="107" y="217"/>
                  </a:cubicBezTo>
                  <a:cubicBezTo>
                    <a:pt x="107" y="213"/>
                    <a:pt x="103" y="209"/>
                    <a:pt x="97" y="209"/>
                  </a:cubicBezTo>
                  <a:moveTo>
                    <a:pt x="99" y="184"/>
                  </a:moveTo>
                  <a:cubicBezTo>
                    <a:pt x="52" y="184"/>
                    <a:pt x="52" y="184"/>
                    <a:pt x="52" y="184"/>
                  </a:cubicBezTo>
                  <a:cubicBezTo>
                    <a:pt x="47" y="184"/>
                    <a:pt x="43" y="187"/>
                    <a:pt x="43" y="192"/>
                  </a:cubicBezTo>
                  <a:cubicBezTo>
                    <a:pt x="43" y="197"/>
                    <a:pt x="47" y="201"/>
                    <a:pt x="53" y="201"/>
                  </a:cubicBezTo>
                  <a:cubicBezTo>
                    <a:pt x="99" y="201"/>
                    <a:pt x="99" y="201"/>
                    <a:pt x="99" y="201"/>
                  </a:cubicBezTo>
                  <a:cubicBezTo>
                    <a:pt x="105" y="201"/>
                    <a:pt x="110" y="197"/>
                    <a:pt x="110" y="192"/>
                  </a:cubicBezTo>
                  <a:cubicBezTo>
                    <a:pt x="110" y="187"/>
                    <a:pt x="105" y="184"/>
                    <a:pt x="99" y="184"/>
                  </a:cubicBezTo>
                </a:path>
              </a:pathLst>
            </a:custGeom>
            <a:solidFill>
              <a:schemeClr val="bg1"/>
            </a:solidFill>
            <a:ln>
              <a:noFill/>
            </a:ln>
            <a:extLst/>
          </p:spPr>
          <p:txBody>
            <a:bodyPr vert="horz" wrap="square" lIns="87880" tIns="43940" rIns="87880" bIns="4394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896447"/>
              <a:endParaRPr lang="en-US" sz="1730">
                <a:solidFill>
                  <a:srgbClr val="000000"/>
                </a:solidFill>
              </a:endParaRPr>
            </a:p>
          </p:txBody>
        </p:sp>
      </p:grpSp>
      <p:sp>
        <p:nvSpPr>
          <p:cNvPr id="103" name="Freeform 61"/>
          <p:cNvSpPr>
            <a:spLocks noChangeAspect="1"/>
          </p:cNvSpPr>
          <p:nvPr/>
        </p:nvSpPr>
        <p:spPr bwMode="auto">
          <a:xfrm>
            <a:off x="4074797" y="2805647"/>
            <a:ext cx="876884" cy="575109"/>
          </a:xfrm>
          <a:custGeom>
            <a:avLst/>
            <a:gdLst>
              <a:gd name="T0" fmla="*/ 33 w 206"/>
              <a:gd name="T1" fmla="*/ 59 h 135"/>
              <a:gd name="T2" fmla="*/ 33 w 206"/>
              <a:gd name="T3" fmla="*/ 57 h 135"/>
              <a:gd name="T4" fmla="*/ 90 w 206"/>
              <a:gd name="T5" fmla="*/ 0 h 135"/>
              <a:gd name="T6" fmla="*/ 137 w 206"/>
              <a:gd name="T7" fmla="*/ 25 h 135"/>
              <a:gd name="T8" fmla="*/ 153 w 206"/>
              <a:gd name="T9" fmla="*/ 21 h 135"/>
              <a:gd name="T10" fmla="*/ 171 w 206"/>
              <a:gd name="T11" fmla="*/ 27 h 135"/>
              <a:gd name="T12" fmla="*/ 186 w 206"/>
              <a:gd name="T13" fmla="*/ 53 h 135"/>
              <a:gd name="T14" fmla="*/ 206 w 206"/>
              <a:gd name="T15" fmla="*/ 91 h 135"/>
              <a:gd name="T16" fmla="*/ 166 w 206"/>
              <a:gd name="T17" fmla="*/ 135 h 135"/>
              <a:gd name="T18" fmla="*/ 161 w 206"/>
              <a:gd name="T19" fmla="*/ 135 h 135"/>
              <a:gd name="T20" fmla="*/ 157 w 206"/>
              <a:gd name="T21" fmla="*/ 135 h 135"/>
              <a:gd name="T22" fmla="*/ 64 w 206"/>
              <a:gd name="T23" fmla="*/ 135 h 135"/>
              <a:gd name="T24" fmla="*/ 62 w 206"/>
              <a:gd name="T25" fmla="*/ 135 h 135"/>
              <a:gd name="T26" fmla="*/ 60 w 206"/>
              <a:gd name="T27" fmla="*/ 135 h 135"/>
              <a:gd name="T28" fmla="*/ 53 w 206"/>
              <a:gd name="T29" fmla="*/ 135 h 135"/>
              <a:gd name="T30" fmla="*/ 38 w 206"/>
              <a:gd name="T31" fmla="*/ 135 h 135"/>
              <a:gd name="T32" fmla="*/ 0 w 206"/>
              <a:gd name="T33" fmla="*/ 97 h 135"/>
              <a:gd name="T34" fmla="*/ 33 w 206"/>
              <a:gd name="T35" fmla="*/ 59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06" h="135">
                <a:moveTo>
                  <a:pt x="33" y="59"/>
                </a:moveTo>
                <a:cubicBezTo>
                  <a:pt x="33" y="59"/>
                  <a:pt x="33" y="57"/>
                  <a:pt x="33" y="57"/>
                </a:cubicBezTo>
                <a:cubicBezTo>
                  <a:pt x="33" y="25"/>
                  <a:pt x="58" y="0"/>
                  <a:pt x="90" y="0"/>
                </a:cubicBezTo>
                <a:cubicBezTo>
                  <a:pt x="109" y="0"/>
                  <a:pt x="127" y="10"/>
                  <a:pt x="137" y="25"/>
                </a:cubicBezTo>
                <a:cubicBezTo>
                  <a:pt x="142" y="23"/>
                  <a:pt x="147" y="21"/>
                  <a:pt x="153" y="21"/>
                </a:cubicBezTo>
                <a:cubicBezTo>
                  <a:pt x="159" y="21"/>
                  <a:pt x="166" y="23"/>
                  <a:pt x="171" y="27"/>
                </a:cubicBezTo>
                <a:cubicBezTo>
                  <a:pt x="180" y="33"/>
                  <a:pt x="185" y="42"/>
                  <a:pt x="186" y="53"/>
                </a:cubicBezTo>
                <a:cubicBezTo>
                  <a:pt x="198" y="61"/>
                  <a:pt x="206" y="75"/>
                  <a:pt x="206" y="91"/>
                </a:cubicBezTo>
                <a:cubicBezTo>
                  <a:pt x="206" y="114"/>
                  <a:pt x="189" y="133"/>
                  <a:pt x="166" y="135"/>
                </a:cubicBezTo>
                <a:cubicBezTo>
                  <a:pt x="165" y="135"/>
                  <a:pt x="163" y="135"/>
                  <a:pt x="161" y="135"/>
                </a:cubicBezTo>
                <a:cubicBezTo>
                  <a:pt x="160" y="135"/>
                  <a:pt x="158" y="135"/>
                  <a:pt x="157" y="135"/>
                </a:cubicBezTo>
                <a:cubicBezTo>
                  <a:pt x="136" y="135"/>
                  <a:pt x="87" y="135"/>
                  <a:pt x="64" y="135"/>
                </a:cubicBezTo>
                <a:cubicBezTo>
                  <a:pt x="63" y="135"/>
                  <a:pt x="62" y="135"/>
                  <a:pt x="62" y="135"/>
                </a:cubicBezTo>
                <a:cubicBezTo>
                  <a:pt x="60" y="135"/>
                  <a:pt x="60" y="135"/>
                  <a:pt x="60" y="135"/>
                </a:cubicBezTo>
                <a:cubicBezTo>
                  <a:pt x="58" y="135"/>
                  <a:pt x="55" y="135"/>
                  <a:pt x="53" y="135"/>
                </a:cubicBezTo>
                <a:cubicBezTo>
                  <a:pt x="38" y="135"/>
                  <a:pt x="38" y="135"/>
                  <a:pt x="38" y="135"/>
                </a:cubicBezTo>
                <a:cubicBezTo>
                  <a:pt x="17" y="135"/>
                  <a:pt x="0" y="118"/>
                  <a:pt x="0" y="97"/>
                </a:cubicBezTo>
                <a:cubicBezTo>
                  <a:pt x="0" y="78"/>
                  <a:pt x="14" y="62"/>
                  <a:pt x="33" y="59"/>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7868" tIns="43933" rIns="87868" bIns="43933" numCol="1" anchor="t" anchorCtr="0" compatLnSpc="1">
            <a:prstTxWarp prst="textNoShape">
              <a:avLst/>
            </a:prstTxWarp>
          </a:bodyPr>
          <a:lstStyle/>
          <a:p>
            <a:pPr defTabSz="896182"/>
            <a:endParaRPr lang="en-US" sz="1730">
              <a:solidFill>
                <a:prstClr val="black"/>
              </a:solidFill>
            </a:endParaRPr>
          </a:p>
        </p:txBody>
      </p:sp>
      <p:grpSp>
        <p:nvGrpSpPr>
          <p:cNvPr id="104" name="Group 103"/>
          <p:cNvGrpSpPr/>
          <p:nvPr/>
        </p:nvGrpSpPr>
        <p:grpSpPr>
          <a:xfrm>
            <a:off x="1029587" y="2675532"/>
            <a:ext cx="940819" cy="778733"/>
            <a:chOff x="12890500" y="-3265488"/>
            <a:chExt cx="3722688" cy="3081338"/>
          </a:xfrm>
          <a:solidFill>
            <a:schemeClr val="bg1"/>
          </a:solidFill>
        </p:grpSpPr>
        <p:sp>
          <p:nvSpPr>
            <p:cNvPr id="105" name="Freeform 5"/>
            <p:cNvSpPr>
              <a:spLocks noEditPoints="1"/>
            </p:cNvSpPr>
            <p:nvPr/>
          </p:nvSpPr>
          <p:spPr bwMode="auto">
            <a:xfrm>
              <a:off x="12890500" y="-2878138"/>
              <a:ext cx="3722688" cy="2693988"/>
            </a:xfrm>
            <a:custGeom>
              <a:avLst/>
              <a:gdLst>
                <a:gd name="T0" fmla="*/ 857 w 990"/>
                <a:gd name="T1" fmla="*/ 0 h 716"/>
                <a:gd name="T2" fmla="*/ 693 w 990"/>
                <a:gd name="T3" fmla="*/ 0 h 716"/>
                <a:gd name="T4" fmla="*/ 670 w 990"/>
                <a:gd name="T5" fmla="*/ 9 h 716"/>
                <a:gd name="T6" fmla="*/ 519 w 990"/>
                <a:gd name="T7" fmla="*/ 159 h 716"/>
                <a:gd name="T8" fmla="*/ 519 w 990"/>
                <a:gd name="T9" fmla="*/ 113 h 716"/>
                <a:gd name="T10" fmla="*/ 451 w 990"/>
                <a:gd name="T11" fmla="*/ 46 h 716"/>
                <a:gd name="T12" fmla="*/ 384 w 990"/>
                <a:gd name="T13" fmla="*/ 113 h 716"/>
                <a:gd name="T14" fmla="*/ 384 w 990"/>
                <a:gd name="T15" fmla="*/ 290 h 716"/>
                <a:gd name="T16" fmla="*/ 217 w 990"/>
                <a:gd name="T17" fmla="*/ 450 h 716"/>
                <a:gd name="T18" fmla="*/ 133 w 990"/>
                <a:gd name="T19" fmla="*/ 450 h 716"/>
                <a:gd name="T20" fmla="*/ 0 w 990"/>
                <a:gd name="T21" fmla="*/ 583 h 716"/>
                <a:gd name="T22" fmla="*/ 133 w 990"/>
                <a:gd name="T23" fmla="*/ 716 h 716"/>
                <a:gd name="T24" fmla="*/ 285 w 990"/>
                <a:gd name="T25" fmla="*/ 716 h 716"/>
                <a:gd name="T26" fmla="*/ 308 w 990"/>
                <a:gd name="T27" fmla="*/ 707 h 716"/>
                <a:gd name="T28" fmla="*/ 759 w 990"/>
                <a:gd name="T29" fmla="*/ 266 h 716"/>
                <a:gd name="T30" fmla="*/ 857 w 990"/>
                <a:gd name="T31" fmla="*/ 266 h 716"/>
                <a:gd name="T32" fmla="*/ 990 w 990"/>
                <a:gd name="T33" fmla="*/ 133 h 716"/>
                <a:gd name="T34" fmla="*/ 857 w 990"/>
                <a:gd name="T35" fmla="*/ 0 h 716"/>
                <a:gd name="T36" fmla="*/ 855 w 990"/>
                <a:gd name="T37" fmla="*/ 202 h 716"/>
                <a:gd name="T38" fmla="*/ 801 w 990"/>
                <a:gd name="T39" fmla="*/ 202 h 716"/>
                <a:gd name="T40" fmla="*/ 677 w 990"/>
                <a:gd name="T41" fmla="*/ 202 h 716"/>
                <a:gd name="T42" fmla="*/ 624 w 990"/>
                <a:gd name="T43" fmla="*/ 202 h 716"/>
                <a:gd name="T44" fmla="*/ 619 w 990"/>
                <a:gd name="T45" fmla="*/ 206 h 716"/>
                <a:gd name="T46" fmla="*/ 619 w 990"/>
                <a:gd name="T47" fmla="*/ 310 h 716"/>
                <a:gd name="T48" fmla="*/ 614 w 990"/>
                <a:gd name="T49" fmla="*/ 315 h 716"/>
                <a:gd name="T50" fmla="*/ 508 w 990"/>
                <a:gd name="T51" fmla="*/ 315 h 716"/>
                <a:gd name="T52" fmla="*/ 504 w 990"/>
                <a:gd name="T53" fmla="*/ 320 h 716"/>
                <a:gd name="T54" fmla="*/ 504 w 990"/>
                <a:gd name="T55" fmla="*/ 423 h 716"/>
                <a:gd name="T56" fmla="*/ 499 w 990"/>
                <a:gd name="T57" fmla="*/ 428 h 716"/>
                <a:gd name="T58" fmla="*/ 393 w 990"/>
                <a:gd name="T59" fmla="*/ 428 h 716"/>
                <a:gd name="T60" fmla="*/ 388 w 990"/>
                <a:gd name="T61" fmla="*/ 433 h 716"/>
                <a:gd name="T62" fmla="*/ 388 w 990"/>
                <a:gd name="T63" fmla="*/ 537 h 716"/>
                <a:gd name="T64" fmla="*/ 383 w 990"/>
                <a:gd name="T65" fmla="*/ 541 h 716"/>
                <a:gd name="T66" fmla="*/ 277 w 990"/>
                <a:gd name="T67" fmla="*/ 541 h 716"/>
                <a:gd name="T68" fmla="*/ 272 w 990"/>
                <a:gd name="T69" fmla="*/ 546 h 716"/>
                <a:gd name="T70" fmla="*/ 272 w 990"/>
                <a:gd name="T71" fmla="*/ 647 h 716"/>
                <a:gd name="T72" fmla="*/ 267 w 990"/>
                <a:gd name="T73" fmla="*/ 652 h 716"/>
                <a:gd name="T74" fmla="*/ 135 w 990"/>
                <a:gd name="T75" fmla="*/ 652 h 716"/>
                <a:gd name="T76" fmla="*/ 65 w 990"/>
                <a:gd name="T77" fmla="*/ 582 h 716"/>
                <a:gd name="T78" fmla="*/ 133 w 990"/>
                <a:gd name="T79" fmla="*/ 514 h 716"/>
                <a:gd name="T80" fmla="*/ 230 w 990"/>
                <a:gd name="T81" fmla="*/ 514 h 716"/>
                <a:gd name="T82" fmla="*/ 253 w 990"/>
                <a:gd name="T83" fmla="*/ 505 h 716"/>
                <a:gd name="T84" fmla="*/ 706 w 990"/>
                <a:gd name="T85" fmla="*/ 64 h 716"/>
                <a:gd name="T86" fmla="*/ 857 w 990"/>
                <a:gd name="T87" fmla="*/ 64 h 716"/>
                <a:gd name="T88" fmla="*/ 926 w 990"/>
                <a:gd name="T89" fmla="*/ 132 h 716"/>
                <a:gd name="T90" fmla="*/ 855 w 990"/>
                <a:gd name="T91" fmla="*/ 202 h 7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90" h="716">
                  <a:moveTo>
                    <a:pt x="857" y="0"/>
                  </a:moveTo>
                  <a:cubicBezTo>
                    <a:pt x="693" y="0"/>
                    <a:pt x="693" y="0"/>
                    <a:pt x="693" y="0"/>
                  </a:cubicBezTo>
                  <a:cubicBezTo>
                    <a:pt x="684" y="0"/>
                    <a:pt x="676" y="3"/>
                    <a:pt x="670" y="9"/>
                  </a:cubicBezTo>
                  <a:cubicBezTo>
                    <a:pt x="519" y="159"/>
                    <a:pt x="519" y="159"/>
                    <a:pt x="519" y="159"/>
                  </a:cubicBezTo>
                  <a:cubicBezTo>
                    <a:pt x="519" y="113"/>
                    <a:pt x="519" y="113"/>
                    <a:pt x="519" y="113"/>
                  </a:cubicBezTo>
                  <a:cubicBezTo>
                    <a:pt x="519" y="76"/>
                    <a:pt x="489" y="46"/>
                    <a:pt x="451" y="46"/>
                  </a:cubicBezTo>
                  <a:cubicBezTo>
                    <a:pt x="414" y="46"/>
                    <a:pt x="384" y="76"/>
                    <a:pt x="384" y="113"/>
                  </a:cubicBezTo>
                  <a:cubicBezTo>
                    <a:pt x="384" y="290"/>
                    <a:pt x="384" y="290"/>
                    <a:pt x="384" y="290"/>
                  </a:cubicBezTo>
                  <a:cubicBezTo>
                    <a:pt x="217" y="450"/>
                    <a:pt x="217" y="450"/>
                    <a:pt x="217" y="450"/>
                  </a:cubicBezTo>
                  <a:cubicBezTo>
                    <a:pt x="133" y="450"/>
                    <a:pt x="133" y="450"/>
                    <a:pt x="133" y="450"/>
                  </a:cubicBezTo>
                  <a:cubicBezTo>
                    <a:pt x="60" y="450"/>
                    <a:pt x="0" y="510"/>
                    <a:pt x="0" y="583"/>
                  </a:cubicBezTo>
                  <a:cubicBezTo>
                    <a:pt x="0" y="657"/>
                    <a:pt x="60" y="716"/>
                    <a:pt x="133" y="716"/>
                  </a:cubicBezTo>
                  <a:cubicBezTo>
                    <a:pt x="285" y="716"/>
                    <a:pt x="285" y="716"/>
                    <a:pt x="285" y="716"/>
                  </a:cubicBezTo>
                  <a:cubicBezTo>
                    <a:pt x="294" y="716"/>
                    <a:pt x="302" y="713"/>
                    <a:pt x="308" y="707"/>
                  </a:cubicBezTo>
                  <a:cubicBezTo>
                    <a:pt x="759" y="266"/>
                    <a:pt x="759" y="266"/>
                    <a:pt x="759" y="266"/>
                  </a:cubicBezTo>
                  <a:cubicBezTo>
                    <a:pt x="857" y="266"/>
                    <a:pt x="857" y="266"/>
                    <a:pt x="857" y="266"/>
                  </a:cubicBezTo>
                  <a:cubicBezTo>
                    <a:pt x="930" y="266"/>
                    <a:pt x="990" y="206"/>
                    <a:pt x="990" y="133"/>
                  </a:cubicBezTo>
                  <a:cubicBezTo>
                    <a:pt x="990" y="59"/>
                    <a:pt x="930" y="0"/>
                    <a:pt x="857" y="0"/>
                  </a:cubicBezTo>
                  <a:close/>
                  <a:moveTo>
                    <a:pt x="855" y="202"/>
                  </a:moveTo>
                  <a:cubicBezTo>
                    <a:pt x="801" y="202"/>
                    <a:pt x="801" y="202"/>
                    <a:pt x="801" y="202"/>
                  </a:cubicBezTo>
                  <a:cubicBezTo>
                    <a:pt x="677" y="202"/>
                    <a:pt x="677" y="202"/>
                    <a:pt x="677" y="202"/>
                  </a:cubicBezTo>
                  <a:cubicBezTo>
                    <a:pt x="624" y="202"/>
                    <a:pt x="624" y="202"/>
                    <a:pt x="624" y="202"/>
                  </a:cubicBezTo>
                  <a:cubicBezTo>
                    <a:pt x="621" y="202"/>
                    <a:pt x="619" y="204"/>
                    <a:pt x="619" y="206"/>
                  </a:cubicBezTo>
                  <a:cubicBezTo>
                    <a:pt x="619" y="310"/>
                    <a:pt x="619" y="310"/>
                    <a:pt x="619" y="310"/>
                  </a:cubicBezTo>
                  <a:cubicBezTo>
                    <a:pt x="619" y="313"/>
                    <a:pt x="617" y="315"/>
                    <a:pt x="614" y="315"/>
                  </a:cubicBezTo>
                  <a:cubicBezTo>
                    <a:pt x="508" y="315"/>
                    <a:pt x="508" y="315"/>
                    <a:pt x="508" y="315"/>
                  </a:cubicBezTo>
                  <a:cubicBezTo>
                    <a:pt x="506" y="315"/>
                    <a:pt x="504" y="317"/>
                    <a:pt x="504" y="320"/>
                  </a:cubicBezTo>
                  <a:cubicBezTo>
                    <a:pt x="504" y="423"/>
                    <a:pt x="504" y="423"/>
                    <a:pt x="504" y="423"/>
                  </a:cubicBezTo>
                  <a:cubicBezTo>
                    <a:pt x="504" y="426"/>
                    <a:pt x="501" y="428"/>
                    <a:pt x="499" y="428"/>
                  </a:cubicBezTo>
                  <a:cubicBezTo>
                    <a:pt x="393" y="428"/>
                    <a:pt x="393" y="428"/>
                    <a:pt x="393" y="428"/>
                  </a:cubicBezTo>
                  <a:cubicBezTo>
                    <a:pt x="390" y="428"/>
                    <a:pt x="388" y="430"/>
                    <a:pt x="388" y="433"/>
                  </a:cubicBezTo>
                  <a:cubicBezTo>
                    <a:pt x="388" y="537"/>
                    <a:pt x="388" y="537"/>
                    <a:pt x="388" y="537"/>
                  </a:cubicBezTo>
                  <a:cubicBezTo>
                    <a:pt x="388" y="539"/>
                    <a:pt x="386" y="541"/>
                    <a:pt x="383" y="541"/>
                  </a:cubicBezTo>
                  <a:cubicBezTo>
                    <a:pt x="277" y="541"/>
                    <a:pt x="277" y="541"/>
                    <a:pt x="277" y="541"/>
                  </a:cubicBezTo>
                  <a:cubicBezTo>
                    <a:pt x="274" y="541"/>
                    <a:pt x="272" y="544"/>
                    <a:pt x="272" y="546"/>
                  </a:cubicBezTo>
                  <a:cubicBezTo>
                    <a:pt x="272" y="647"/>
                    <a:pt x="272" y="647"/>
                    <a:pt x="272" y="647"/>
                  </a:cubicBezTo>
                  <a:cubicBezTo>
                    <a:pt x="272" y="650"/>
                    <a:pt x="270" y="652"/>
                    <a:pt x="267" y="652"/>
                  </a:cubicBezTo>
                  <a:cubicBezTo>
                    <a:pt x="135" y="652"/>
                    <a:pt x="135" y="652"/>
                    <a:pt x="135" y="652"/>
                  </a:cubicBezTo>
                  <a:cubicBezTo>
                    <a:pt x="97" y="652"/>
                    <a:pt x="64" y="621"/>
                    <a:pt x="65" y="582"/>
                  </a:cubicBezTo>
                  <a:cubicBezTo>
                    <a:pt x="65" y="545"/>
                    <a:pt x="96" y="514"/>
                    <a:pt x="133" y="514"/>
                  </a:cubicBezTo>
                  <a:cubicBezTo>
                    <a:pt x="230" y="514"/>
                    <a:pt x="230" y="514"/>
                    <a:pt x="230" y="514"/>
                  </a:cubicBezTo>
                  <a:cubicBezTo>
                    <a:pt x="239" y="514"/>
                    <a:pt x="247" y="511"/>
                    <a:pt x="253" y="505"/>
                  </a:cubicBezTo>
                  <a:cubicBezTo>
                    <a:pt x="706" y="64"/>
                    <a:pt x="706" y="64"/>
                    <a:pt x="706" y="64"/>
                  </a:cubicBezTo>
                  <a:cubicBezTo>
                    <a:pt x="857" y="64"/>
                    <a:pt x="857" y="64"/>
                    <a:pt x="857" y="64"/>
                  </a:cubicBezTo>
                  <a:cubicBezTo>
                    <a:pt x="895" y="64"/>
                    <a:pt x="925" y="94"/>
                    <a:pt x="926" y="132"/>
                  </a:cubicBezTo>
                  <a:cubicBezTo>
                    <a:pt x="926" y="170"/>
                    <a:pt x="894" y="202"/>
                    <a:pt x="855"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sp>
          <p:nvSpPr>
            <p:cNvPr id="106" name="Oval 6"/>
            <p:cNvSpPr>
              <a:spLocks noChangeArrowheads="1"/>
            </p:cNvSpPr>
            <p:nvPr/>
          </p:nvSpPr>
          <p:spPr bwMode="auto">
            <a:xfrm>
              <a:off x="14333538" y="-3265488"/>
              <a:ext cx="508000" cy="50800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defTabSz="914314"/>
              <a:endParaRPr lang="en-US">
                <a:solidFill>
                  <a:prstClr val="black"/>
                </a:solidFill>
              </a:endParaRPr>
            </a:p>
          </p:txBody>
        </p:sp>
      </p:grpSp>
    </p:spTree>
    <p:extLst>
      <p:ext uri="{BB962C8B-B14F-4D97-AF65-F5344CB8AC3E}">
        <p14:creationId xmlns:p14="http://schemas.microsoft.com/office/powerpoint/2010/main" val="4008891350"/>
      </p:ext>
    </p:extLst>
  </p:cSld>
  <p:clrMapOvr>
    <a:masterClrMapping/>
  </p:clrMapOvr>
  <p:transition>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43477E-6 -4.13981E-6 L -0.53893 -0.04448 " pathEditMode="relative" rAng="0" ptsTypes="AA">
                                      <p:cBhvr>
                                        <p:cTn id="6" dur="1000" fill="hold"/>
                                        <p:tgtEl>
                                          <p:spTgt spid="92"/>
                                        </p:tgtEl>
                                        <p:attrNameLst>
                                          <p:attrName>ppt_x</p:attrName>
                                          <p:attrName>ppt_y</p:attrName>
                                        </p:attrNameLst>
                                      </p:cBhvr>
                                      <p:rCtr x="-26947" y="-2224"/>
                                    </p:animMotion>
                                  </p:childTnLst>
                                </p:cTn>
                              </p:par>
                              <p:par>
                                <p:cTn id="7" presetID="10" presetClass="exit" presetSubtype="0" fill="hold" nodeType="withEffect">
                                  <p:stCondLst>
                                    <p:cond delay="500"/>
                                  </p:stCondLst>
                                  <p:childTnLst>
                                    <p:animEffect transition="out" filter="fade">
                                      <p:cBhvr>
                                        <p:cTn id="8" dur="500"/>
                                        <p:tgtEl>
                                          <p:spTgt spid="92"/>
                                        </p:tgtEl>
                                      </p:cBhvr>
                                    </p:animEffect>
                                    <p:set>
                                      <p:cBhvr>
                                        <p:cTn id="9" dur="1" fill="hold">
                                          <p:stCondLst>
                                            <p:cond delay="499"/>
                                          </p:stCondLst>
                                        </p:cTn>
                                        <p:tgtEl>
                                          <p:spTgt spid="92"/>
                                        </p:tgtEl>
                                        <p:attrNameLst>
                                          <p:attrName>style.visibility</p:attrName>
                                        </p:attrNameLst>
                                      </p:cBhvr>
                                      <p:to>
                                        <p:strVal val="hidden"/>
                                      </p:to>
                                    </p:set>
                                  </p:childTnLst>
                                </p:cTn>
                              </p:par>
                              <p:par>
                                <p:cTn id="10" presetID="10" presetClass="entr" presetSubtype="0" fill="hold" grpId="0" nodeType="withEffect">
                                  <p:stCondLst>
                                    <p:cond delay="75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par>
                                <p:cTn id="13" presetID="10" presetClass="entr" presetSubtype="0" fill="hold" nodeType="withEffect">
                                  <p:stCondLst>
                                    <p:cond delay="750"/>
                                  </p:stCondLst>
                                  <p:childTnLst>
                                    <p:set>
                                      <p:cBhvr>
                                        <p:cTn id="14" dur="1" fill="hold">
                                          <p:stCondLst>
                                            <p:cond delay="0"/>
                                          </p:stCondLst>
                                        </p:cTn>
                                        <p:tgtEl>
                                          <p:spTgt spid="104"/>
                                        </p:tgtEl>
                                        <p:attrNameLst>
                                          <p:attrName>style.visibility</p:attrName>
                                        </p:attrNameLst>
                                      </p:cBhvr>
                                      <p:to>
                                        <p:strVal val="visible"/>
                                      </p:to>
                                    </p:set>
                                    <p:animEffect transition="in" filter="fade">
                                      <p:cBhvr>
                                        <p:cTn id="15" dur="500"/>
                                        <p:tgtEl>
                                          <p:spTgt spid="104"/>
                                        </p:tgtEl>
                                      </p:cBhvr>
                                    </p:animEffect>
                                  </p:childTnLst>
                                </p:cTn>
                              </p:par>
                              <p:par>
                                <p:cTn id="16" presetID="42" presetClass="path" presetSubtype="0" accel="50000" decel="50000" fill="hold" nodeType="withEffect">
                                  <p:stCondLst>
                                    <p:cond delay="750"/>
                                  </p:stCondLst>
                                  <p:childTnLst>
                                    <p:animMotion origin="layout" path="M 2.5785E-6 -4.13981E-6 L -0.38512 -0.03767 " pathEditMode="relative" rAng="0" ptsTypes="AA">
                                      <p:cBhvr>
                                        <p:cTn id="17" dur="1000" fill="hold"/>
                                        <p:tgtEl>
                                          <p:spTgt spid="89"/>
                                        </p:tgtEl>
                                        <p:attrNameLst>
                                          <p:attrName>ppt_x</p:attrName>
                                          <p:attrName>ppt_y</p:attrName>
                                        </p:attrNameLst>
                                      </p:cBhvr>
                                      <p:rCtr x="-19262" y="-1884"/>
                                    </p:animMotion>
                                  </p:childTnLst>
                                </p:cTn>
                              </p:par>
                              <p:par>
                                <p:cTn id="18" presetID="10" presetClass="exit" presetSubtype="0" fill="hold" nodeType="withEffect">
                                  <p:stCondLst>
                                    <p:cond delay="1250"/>
                                  </p:stCondLst>
                                  <p:childTnLst>
                                    <p:animEffect transition="out" filter="fade">
                                      <p:cBhvr>
                                        <p:cTn id="19" dur="500"/>
                                        <p:tgtEl>
                                          <p:spTgt spid="89"/>
                                        </p:tgtEl>
                                      </p:cBhvr>
                                    </p:animEffect>
                                    <p:set>
                                      <p:cBhvr>
                                        <p:cTn id="20" dur="1" fill="hold">
                                          <p:stCondLst>
                                            <p:cond delay="499"/>
                                          </p:stCondLst>
                                        </p:cTn>
                                        <p:tgtEl>
                                          <p:spTgt spid="89"/>
                                        </p:tgtEl>
                                        <p:attrNameLst>
                                          <p:attrName>style.visibility</p:attrName>
                                        </p:attrNameLst>
                                      </p:cBhvr>
                                      <p:to>
                                        <p:strVal val="hidden"/>
                                      </p:to>
                                    </p:set>
                                  </p:childTnLst>
                                </p:cTn>
                              </p:par>
                              <p:par>
                                <p:cTn id="21" presetID="10" presetClass="entr" presetSubtype="0" fill="hold" grpId="0" nodeType="withEffect">
                                  <p:stCondLst>
                                    <p:cond delay="150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500"/>
                                        <p:tgtEl>
                                          <p:spTgt spid="15"/>
                                        </p:tgtEl>
                                      </p:cBhvr>
                                    </p:animEffect>
                                  </p:childTnLst>
                                </p:cTn>
                              </p:par>
                              <p:par>
                                <p:cTn id="24" presetID="10" presetClass="entr" presetSubtype="0" fill="hold" grpId="0" nodeType="withEffect">
                                  <p:stCondLst>
                                    <p:cond delay="1500"/>
                                  </p:stCondLst>
                                  <p:childTnLst>
                                    <p:set>
                                      <p:cBhvr>
                                        <p:cTn id="25" dur="1" fill="hold">
                                          <p:stCondLst>
                                            <p:cond delay="0"/>
                                          </p:stCondLst>
                                        </p:cTn>
                                        <p:tgtEl>
                                          <p:spTgt spid="103"/>
                                        </p:tgtEl>
                                        <p:attrNameLst>
                                          <p:attrName>style.visibility</p:attrName>
                                        </p:attrNameLst>
                                      </p:cBhvr>
                                      <p:to>
                                        <p:strVal val="visible"/>
                                      </p:to>
                                    </p:set>
                                    <p:animEffect transition="in" filter="fade">
                                      <p:cBhvr>
                                        <p:cTn id="26" dur="500"/>
                                        <p:tgtEl>
                                          <p:spTgt spid="103"/>
                                        </p:tgtEl>
                                      </p:cBhvr>
                                    </p:animEffect>
                                  </p:childTnLst>
                                </p:cTn>
                              </p:par>
                              <p:par>
                                <p:cTn id="27" presetID="42" presetClass="path" presetSubtype="0" accel="50000" decel="50000" fill="hold" nodeType="withEffect">
                                  <p:stCondLst>
                                    <p:cond delay="1500"/>
                                  </p:stCondLst>
                                  <p:childTnLst>
                                    <p:animMotion origin="layout" path="M -4.52132E-6 4.60281E-6 L -0.61488 0.34929 " pathEditMode="relative" rAng="0" ptsTypes="AA">
                                      <p:cBhvr>
                                        <p:cTn id="28" dur="1000" fill="hold"/>
                                        <p:tgtEl>
                                          <p:spTgt spid="81"/>
                                        </p:tgtEl>
                                        <p:attrNameLst>
                                          <p:attrName>ppt_x</p:attrName>
                                          <p:attrName>ppt_y</p:attrName>
                                        </p:attrNameLst>
                                      </p:cBhvr>
                                      <p:rCtr x="-30751" y="17453"/>
                                    </p:animMotion>
                                  </p:childTnLst>
                                </p:cTn>
                              </p:par>
                              <p:par>
                                <p:cTn id="29" presetID="10" presetClass="exit" presetSubtype="0" fill="hold" nodeType="withEffect">
                                  <p:stCondLst>
                                    <p:cond delay="2000"/>
                                  </p:stCondLst>
                                  <p:childTnLst>
                                    <p:animEffect transition="out" filter="fade">
                                      <p:cBhvr>
                                        <p:cTn id="30" dur="500"/>
                                        <p:tgtEl>
                                          <p:spTgt spid="81"/>
                                        </p:tgtEl>
                                      </p:cBhvr>
                                    </p:animEffect>
                                    <p:set>
                                      <p:cBhvr>
                                        <p:cTn id="31" dur="1" fill="hold">
                                          <p:stCondLst>
                                            <p:cond delay="499"/>
                                          </p:stCondLst>
                                        </p:cTn>
                                        <p:tgtEl>
                                          <p:spTgt spid="81"/>
                                        </p:tgtEl>
                                        <p:attrNameLst>
                                          <p:attrName>style.visibility</p:attrName>
                                        </p:attrNameLst>
                                      </p:cBhvr>
                                      <p:to>
                                        <p:strVal val="hidden"/>
                                      </p:to>
                                    </p:set>
                                  </p:childTnLst>
                                </p:cTn>
                              </p:par>
                              <p:par>
                                <p:cTn id="32" presetID="10" presetClass="entr" presetSubtype="0" fill="hold" grpId="0" nodeType="withEffect">
                                  <p:stCondLst>
                                    <p:cond delay="225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10" presetClass="entr" presetSubtype="0" fill="hold" nodeType="withEffect">
                                  <p:stCondLst>
                                    <p:cond delay="2250"/>
                                  </p:stCondLst>
                                  <p:childTnLst>
                                    <p:set>
                                      <p:cBhvr>
                                        <p:cTn id="36" dur="1" fill="hold">
                                          <p:stCondLst>
                                            <p:cond delay="0"/>
                                          </p:stCondLst>
                                        </p:cTn>
                                        <p:tgtEl>
                                          <p:spTgt spid="97"/>
                                        </p:tgtEl>
                                        <p:attrNameLst>
                                          <p:attrName>style.visibility</p:attrName>
                                        </p:attrNameLst>
                                      </p:cBhvr>
                                      <p:to>
                                        <p:strVal val="visible"/>
                                      </p:to>
                                    </p:set>
                                    <p:animEffect transition="in" filter="fade">
                                      <p:cBhvr>
                                        <p:cTn id="37" dur="500"/>
                                        <p:tgtEl>
                                          <p:spTgt spid="97"/>
                                        </p:tgtEl>
                                      </p:cBhvr>
                                    </p:animEffect>
                                  </p:childTnLst>
                                </p:cTn>
                              </p:par>
                              <p:par>
                                <p:cTn id="38" presetID="10" presetClass="entr" presetSubtype="0" fill="hold" grpId="1" nodeType="withEffect">
                                  <p:stCondLst>
                                    <p:cond delay="2750"/>
                                  </p:stCondLst>
                                  <p:childTnLst>
                                    <p:set>
                                      <p:cBhvr>
                                        <p:cTn id="39" dur="1" fill="hold">
                                          <p:stCondLst>
                                            <p:cond delay="0"/>
                                          </p:stCondLst>
                                        </p:cTn>
                                        <p:tgtEl>
                                          <p:spTgt spid="10"/>
                                        </p:tgtEl>
                                        <p:attrNameLst>
                                          <p:attrName>style.visibility</p:attrName>
                                        </p:attrNameLst>
                                      </p:cBhvr>
                                      <p:to>
                                        <p:strVal val="visible"/>
                                      </p:to>
                                    </p:set>
                                    <p:animEffect transition="in" filter="fade">
                                      <p:cBhvr>
                                        <p:cTn id="40" dur="1000"/>
                                        <p:tgtEl>
                                          <p:spTgt spid="10"/>
                                        </p:tgtEl>
                                      </p:cBhvr>
                                    </p:animEffect>
                                  </p:childTnLst>
                                </p:cTn>
                              </p:par>
                              <p:par>
                                <p:cTn id="41" presetID="8" presetClass="emph" presetSubtype="0" decel="100000" fill="hold" grpId="0" nodeType="withEffect">
                                  <p:stCondLst>
                                    <p:cond delay="2250"/>
                                  </p:stCondLst>
                                  <p:childTnLst>
                                    <p:animRot by="43200000">
                                      <p:cBhvr>
                                        <p:cTn id="42" dur="1500" fill="hold"/>
                                        <p:tgtEl>
                                          <p:spTgt spid="10"/>
                                        </p:tgtEl>
                                        <p:attrNameLst>
                                          <p:attrName>r</p:attrName>
                                        </p:attrNameLst>
                                      </p:cBhvr>
                                    </p:animRot>
                                  </p:childTnLst>
                                </p:cTn>
                              </p:par>
                              <p:par>
                                <p:cTn id="43" presetID="10" presetClass="entr" presetSubtype="0" fill="hold" grpId="0" nodeType="withEffect">
                                  <p:stCondLst>
                                    <p:cond delay="350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childTnLst>
                          </p:cTn>
                        </p:par>
                        <p:par>
                          <p:cTn id="46" fill="hold">
                            <p:stCondLst>
                              <p:cond delay="4000"/>
                            </p:stCondLst>
                            <p:childTnLst>
                              <p:par>
                                <p:cTn id="47" presetID="10" presetClass="entr" presetSubtype="0" fill="hold" grpId="0" nodeType="afterEffect">
                                  <p:stCondLst>
                                    <p:cond delay="0"/>
                                  </p:stCondLst>
                                  <p:childTnLst>
                                    <p:set>
                                      <p:cBhvr>
                                        <p:cTn id="48" dur="1" fill="hold">
                                          <p:stCondLst>
                                            <p:cond delay="0"/>
                                          </p:stCondLst>
                                        </p:cTn>
                                        <p:tgtEl>
                                          <p:spTgt spid="46"/>
                                        </p:tgtEl>
                                        <p:attrNameLst>
                                          <p:attrName>style.visibility</p:attrName>
                                        </p:attrNameLst>
                                      </p:cBhvr>
                                      <p:to>
                                        <p:strVal val="visible"/>
                                      </p:to>
                                    </p:set>
                                    <p:animEffect transition="in" filter="fade">
                                      <p:cBhvr>
                                        <p:cTn id="49" dur="500"/>
                                        <p:tgtEl>
                                          <p:spTgt spid="46"/>
                                        </p:tgtEl>
                                      </p:cBhvr>
                                    </p:animEffect>
                                  </p:childTnLst>
                                </p:cTn>
                              </p:par>
                              <p:par>
                                <p:cTn id="50" presetID="10" presetClass="entr" presetSubtype="0" fill="hold" grpId="0" nodeType="withEffect">
                                  <p:stCondLst>
                                    <p:cond delay="0"/>
                                  </p:stCondLst>
                                  <p:childTnLst>
                                    <p:set>
                                      <p:cBhvr>
                                        <p:cTn id="51" dur="1" fill="hold">
                                          <p:stCondLst>
                                            <p:cond delay="0"/>
                                          </p:stCondLst>
                                        </p:cTn>
                                        <p:tgtEl>
                                          <p:spTgt spid="47"/>
                                        </p:tgtEl>
                                        <p:attrNameLst>
                                          <p:attrName>style.visibility</p:attrName>
                                        </p:attrNameLst>
                                      </p:cBhvr>
                                      <p:to>
                                        <p:strVal val="visible"/>
                                      </p:to>
                                    </p:set>
                                    <p:animEffect transition="in" filter="fade">
                                      <p:cBhvr>
                                        <p:cTn id="52" dur="500"/>
                                        <p:tgtEl>
                                          <p:spTgt spid="47"/>
                                        </p:tgtEl>
                                      </p:cBhvr>
                                    </p:animEffect>
                                  </p:childTnLst>
                                </p:cTn>
                              </p:par>
                              <p:par>
                                <p:cTn id="53" presetID="1" presetClass="entr" presetSubtype="0" fill="hold" grpId="0" nodeType="withEffect">
                                  <p:stCondLst>
                                    <p:cond delay="0"/>
                                  </p:stCondLst>
                                  <p:childTnLst>
                                    <p:set>
                                      <p:cBhvr>
                                        <p:cTn id="54" dur="1" fill="hold">
                                          <p:stCondLst>
                                            <p:cond delay="0"/>
                                          </p:stCondLst>
                                        </p:cTn>
                                        <p:tgtEl>
                                          <p:spTgt spid="2"/>
                                        </p:tgtEl>
                                        <p:attrNameLst>
                                          <p:attrName>style.visibility</p:attrName>
                                        </p:attrNameLst>
                                      </p:cBhvr>
                                      <p:to>
                                        <p:strVal val="visible"/>
                                      </p:to>
                                    </p:set>
                                  </p:childTnLst>
                                </p:cTn>
                              </p:par>
                            </p:childTnLst>
                          </p:cTn>
                        </p:par>
                        <p:par>
                          <p:cTn id="55" fill="hold">
                            <p:stCondLst>
                              <p:cond delay="4500"/>
                            </p:stCondLst>
                            <p:childTnLst>
                              <p:par>
                                <p:cTn id="56" presetID="2" presetClass="entr" presetSubtype="2" decel="100000" fill="hold" grpId="0" nodeType="afterEffect">
                                  <p:stCondLst>
                                    <p:cond delay="0"/>
                                  </p:stCondLst>
                                  <p:childTnLst>
                                    <p:set>
                                      <p:cBhvr>
                                        <p:cTn id="57" dur="1" fill="hold">
                                          <p:stCondLst>
                                            <p:cond delay="0"/>
                                          </p:stCondLst>
                                        </p:cTn>
                                        <p:tgtEl>
                                          <p:spTgt spid="3"/>
                                        </p:tgtEl>
                                        <p:attrNameLst>
                                          <p:attrName>style.visibility</p:attrName>
                                        </p:attrNameLst>
                                      </p:cBhvr>
                                      <p:to>
                                        <p:strVal val="visible"/>
                                      </p:to>
                                    </p:set>
                                    <p:anim calcmode="lin" valueType="num">
                                      <p:cBhvr additive="base">
                                        <p:cTn id="58" dur="1000" fill="hold"/>
                                        <p:tgtEl>
                                          <p:spTgt spid="3"/>
                                        </p:tgtEl>
                                        <p:attrNameLst>
                                          <p:attrName>ppt_x</p:attrName>
                                        </p:attrNameLst>
                                      </p:cBhvr>
                                      <p:tavLst>
                                        <p:tav tm="0">
                                          <p:val>
                                            <p:strVal val="1+#ppt_w/2"/>
                                          </p:val>
                                        </p:tav>
                                        <p:tav tm="100000">
                                          <p:val>
                                            <p:strVal val="#ppt_x"/>
                                          </p:val>
                                        </p:tav>
                                      </p:tavLst>
                                    </p:anim>
                                    <p:anim calcmode="lin" valueType="num">
                                      <p:cBhvr additive="base">
                                        <p:cTn id="59" dur="1000" fill="hold"/>
                                        <p:tgtEl>
                                          <p:spTgt spid="3"/>
                                        </p:tgtEl>
                                        <p:attrNameLst>
                                          <p:attrName>ppt_y</p:attrName>
                                        </p:attrNameLst>
                                      </p:cBhvr>
                                      <p:tavLst>
                                        <p:tav tm="0">
                                          <p:val>
                                            <p:strVal val="#ppt_y"/>
                                          </p:val>
                                        </p:tav>
                                        <p:tav tm="100000">
                                          <p:val>
                                            <p:strVal val="#ppt_y"/>
                                          </p:val>
                                        </p:tav>
                                      </p:tavLst>
                                    </p:anim>
                                  </p:childTnLst>
                                </p:cTn>
                              </p:par>
                              <p:par>
                                <p:cTn id="60" presetID="2" presetClass="entr" presetSubtype="2" decel="100000" fill="hold" grpId="0" nodeType="withEffect">
                                  <p:stCondLst>
                                    <p:cond delay="250"/>
                                  </p:stCondLst>
                                  <p:childTnLst>
                                    <p:set>
                                      <p:cBhvr>
                                        <p:cTn id="61" dur="1" fill="hold">
                                          <p:stCondLst>
                                            <p:cond delay="0"/>
                                          </p:stCondLst>
                                        </p:cTn>
                                        <p:tgtEl>
                                          <p:spTgt spid="27"/>
                                        </p:tgtEl>
                                        <p:attrNameLst>
                                          <p:attrName>style.visibility</p:attrName>
                                        </p:attrNameLst>
                                      </p:cBhvr>
                                      <p:to>
                                        <p:strVal val="visible"/>
                                      </p:to>
                                    </p:set>
                                    <p:anim calcmode="lin" valueType="num">
                                      <p:cBhvr additive="base">
                                        <p:cTn id="62" dur="1000" fill="hold"/>
                                        <p:tgtEl>
                                          <p:spTgt spid="27"/>
                                        </p:tgtEl>
                                        <p:attrNameLst>
                                          <p:attrName>ppt_x</p:attrName>
                                        </p:attrNameLst>
                                      </p:cBhvr>
                                      <p:tavLst>
                                        <p:tav tm="0">
                                          <p:val>
                                            <p:strVal val="1+#ppt_w/2"/>
                                          </p:val>
                                        </p:tav>
                                        <p:tav tm="100000">
                                          <p:val>
                                            <p:strVal val="#ppt_x"/>
                                          </p:val>
                                        </p:tav>
                                      </p:tavLst>
                                    </p:anim>
                                    <p:anim calcmode="lin" valueType="num">
                                      <p:cBhvr additive="base">
                                        <p:cTn id="63" dur="1000" fill="hold"/>
                                        <p:tgtEl>
                                          <p:spTgt spid="27"/>
                                        </p:tgtEl>
                                        <p:attrNameLst>
                                          <p:attrName>ppt_y</p:attrName>
                                        </p:attrNameLst>
                                      </p:cBhvr>
                                      <p:tavLst>
                                        <p:tav tm="0">
                                          <p:val>
                                            <p:strVal val="#ppt_y"/>
                                          </p:val>
                                        </p:tav>
                                        <p:tav tm="100000">
                                          <p:val>
                                            <p:strVal val="#ppt_y"/>
                                          </p:val>
                                        </p:tav>
                                      </p:tavLst>
                                    </p:anim>
                                  </p:childTnLst>
                                </p:cTn>
                              </p:par>
                              <p:par>
                                <p:cTn id="64" presetID="2" presetClass="entr" presetSubtype="2" decel="100000" fill="hold" grpId="0" nodeType="withEffect">
                                  <p:stCondLst>
                                    <p:cond delay="500"/>
                                  </p:stCondLst>
                                  <p:childTnLst>
                                    <p:set>
                                      <p:cBhvr>
                                        <p:cTn id="65" dur="1" fill="hold">
                                          <p:stCondLst>
                                            <p:cond delay="0"/>
                                          </p:stCondLst>
                                        </p:cTn>
                                        <p:tgtEl>
                                          <p:spTgt spid="30"/>
                                        </p:tgtEl>
                                        <p:attrNameLst>
                                          <p:attrName>style.visibility</p:attrName>
                                        </p:attrNameLst>
                                      </p:cBhvr>
                                      <p:to>
                                        <p:strVal val="visible"/>
                                      </p:to>
                                    </p:set>
                                    <p:anim calcmode="lin" valueType="num">
                                      <p:cBhvr additive="base">
                                        <p:cTn id="66" dur="1000" fill="hold"/>
                                        <p:tgtEl>
                                          <p:spTgt spid="30"/>
                                        </p:tgtEl>
                                        <p:attrNameLst>
                                          <p:attrName>ppt_x</p:attrName>
                                        </p:attrNameLst>
                                      </p:cBhvr>
                                      <p:tavLst>
                                        <p:tav tm="0">
                                          <p:val>
                                            <p:strVal val="1+#ppt_w/2"/>
                                          </p:val>
                                        </p:tav>
                                        <p:tav tm="100000">
                                          <p:val>
                                            <p:strVal val="#ppt_x"/>
                                          </p:val>
                                        </p:tav>
                                      </p:tavLst>
                                    </p:anim>
                                    <p:anim calcmode="lin" valueType="num">
                                      <p:cBhvr additive="base">
                                        <p:cTn id="67" dur="1000" fill="hold"/>
                                        <p:tgtEl>
                                          <p:spTgt spid="30"/>
                                        </p:tgtEl>
                                        <p:attrNameLst>
                                          <p:attrName>ppt_y</p:attrName>
                                        </p:attrNameLst>
                                      </p:cBhvr>
                                      <p:tavLst>
                                        <p:tav tm="0">
                                          <p:val>
                                            <p:strVal val="#ppt_y"/>
                                          </p:val>
                                        </p:tav>
                                        <p:tav tm="100000">
                                          <p:val>
                                            <p:strVal val="#ppt_y"/>
                                          </p:val>
                                        </p:tav>
                                      </p:tavLst>
                                    </p:anim>
                                  </p:childTnLst>
                                </p:cTn>
                              </p:par>
                            </p:childTnLst>
                          </p:cTn>
                        </p:par>
                        <p:par>
                          <p:cTn id="68" fill="hold">
                            <p:stCondLst>
                              <p:cond delay="6000"/>
                            </p:stCondLst>
                            <p:childTnLst>
                              <p:par>
                                <p:cTn id="69" presetID="1" presetClass="entr" presetSubtype="0" fill="hold" grpId="0" nodeType="afterEffect">
                                  <p:stCondLst>
                                    <p:cond delay="0"/>
                                  </p:stCondLst>
                                  <p:childTnLst>
                                    <p:set>
                                      <p:cBhvr>
                                        <p:cTn id="7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30" grpId="0" animBg="1"/>
      <p:bldP spid="27" grpId="0" animBg="1"/>
      <p:bldP spid="3" grpId="0" animBg="1"/>
      <p:bldP spid="2" grpId="0" animBg="1"/>
      <p:bldP spid="10" grpId="0" animBg="1"/>
      <p:bldP spid="10" grpId="1" animBg="1"/>
      <p:bldP spid="11" grpId="0"/>
      <p:bldP spid="13" grpId="0" animBg="1"/>
      <p:bldP spid="15" grpId="0" animBg="1"/>
      <p:bldP spid="23" grpId="0" animBg="1"/>
      <p:bldP spid="46" grpId="0" animBg="1"/>
      <p:bldP spid="47" grpId="0" animBg="1"/>
      <p:bldP spid="10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189110" cy="6858000"/>
          </a:xfrm>
          <a:prstGeom prst="rect">
            <a:avLst/>
          </a:prstGeom>
        </p:spPr>
      </p:pic>
      <p:grpSp>
        <p:nvGrpSpPr>
          <p:cNvPr id="8" name="Group 7"/>
          <p:cNvGrpSpPr/>
          <p:nvPr/>
        </p:nvGrpSpPr>
        <p:grpSpPr>
          <a:xfrm>
            <a:off x="7766779" y="712163"/>
            <a:ext cx="4083066" cy="5572632"/>
            <a:chOff x="7766779" y="712163"/>
            <a:chExt cx="4083066" cy="5572632"/>
          </a:xfrm>
        </p:grpSpPr>
        <p:sp>
          <p:nvSpPr>
            <p:cNvPr id="3" name="Rectangle 2"/>
            <p:cNvSpPr/>
            <p:nvPr/>
          </p:nvSpPr>
          <p:spPr bwMode="auto">
            <a:xfrm>
              <a:off x="7766779" y="712163"/>
              <a:ext cx="4083066" cy="5572632"/>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latin typeface="Segoe UI Light"/>
                <a:ea typeface="Segoe UI" pitchFamily="34" charset="0"/>
                <a:cs typeface="Segoe UI" pitchFamily="34" charset="0"/>
              </a:endParaRPr>
            </a:p>
          </p:txBody>
        </p:sp>
        <p:sp>
          <p:nvSpPr>
            <p:cNvPr id="4" name="Subtitle 2"/>
            <p:cNvSpPr txBox="1">
              <a:spLocks/>
            </p:cNvSpPr>
            <p:nvPr/>
          </p:nvSpPr>
          <p:spPr>
            <a:xfrm>
              <a:off x="9510305" y="5209892"/>
              <a:ext cx="2094174" cy="878803"/>
            </a:xfrm>
            <a:prstGeom prst="rect">
              <a:avLst/>
            </a:prstGeom>
          </p:spPr>
          <p:txBody>
            <a:bodyPr lIns="263640" tIns="140609" rIns="175761" bIns="140609" anchor="t" anchorCtr="0"/>
            <a:lstStyle>
              <a:lvl1pPr marL="0" indent="0" algn="l" defTabSz="914400" rtl="0" eaLnBrk="1" latinLnBrk="0" hangingPunct="1">
                <a:lnSpc>
                  <a:spcPct val="90000"/>
                </a:lnSpc>
                <a:spcBef>
                  <a:spcPct val="20000"/>
                </a:spcBef>
                <a:buFont typeface="Arial" pitchFamily="34" charset="0"/>
                <a:buNone/>
                <a:defRPr sz="2200" kern="1200">
                  <a:gradFill>
                    <a:gsLst>
                      <a:gs pos="0">
                        <a:srgbClr val="FFFFFF"/>
                      </a:gs>
                      <a:gs pos="100000">
                        <a:srgbClr val="FFFFFF"/>
                      </a:gs>
                    </a:gsLst>
                    <a:lin ang="5400000" scaled="0"/>
                  </a:gra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fontAlgn="base">
                <a:lnSpc>
                  <a:spcPct val="100000"/>
                </a:lnSpc>
                <a:spcBef>
                  <a:spcPts val="0"/>
                </a:spcBef>
                <a:spcAft>
                  <a:spcPct val="0"/>
                </a:spcAft>
              </a:pPr>
              <a:r>
                <a:rPr lang="nl-NL" sz="1400" dirty="0" smtClean="0">
                  <a:solidFill>
                    <a:schemeClr val="bg2">
                      <a:lumMod val="25000"/>
                    </a:schemeClr>
                  </a:solidFill>
                  <a:latin typeface="Segoe UI"/>
                </a:rPr>
                <a:t>ELIOT MAZZOCCA</a:t>
              </a:r>
              <a:br>
                <a:rPr lang="nl-NL" sz="1400" dirty="0" smtClean="0">
                  <a:solidFill>
                    <a:schemeClr val="bg2">
                      <a:lumMod val="25000"/>
                    </a:schemeClr>
                  </a:solidFill>
                  <a:latin typeface="Segoe UI"/>
                </a:rPr>
              </a:br>
              <a:r>
                <a:rPr lang="en-US" sz="1345" dirty="0" smtClean="0">
                  <a:solidFill>
                    <a:schemeClr val="bg2">
                      <a:lumMod val="25000"/>
                    </a:schemeClr>
                  </a:solidFill>
                </a:rPr>
                <a:t>PRESIDENT</a:t>
              </a:r>
              <a:endParaRPr lang="en-US" sz="1345" dirty="0">
                <a:solidFill>
                  <a:schemeClr val="bg2">
                    <a:lumMod val="25000"/>
                  </a:schemeClr>
                </a:solidFill>
              </a:endParaRPr>
            </a:p>
            <a:p>
              <a:pPr fontAlgn="base">
                <a:lnSpc>
                  <a:spcPct val="100000"/>
                </a:lnSpc>
                <a:spcBef>
                  <a:spcPts val="0"/>
                </a:spcBef>
                <a:spcAft>
                  <a:spcPct val="0"/>
                </a:spcAft>
              </a:pPr>
              <a:r>
                <a:rPr lang="en-US" sz="1345" dirty="0" smtClean="0">
                  <a:solidFill>
                    <a:schemeClr val="bg2">
                      <a:lumMod val="25000"/>
                    </a:schemeClr>
                  </a:solidFill>
                </a:rPr>
                <a:t>LIDO STONE</a:t>
              </a:r>
              <a:endParaRPr lang="en-US" sz="1345" dirty="0">
                <a:solidFill>
                  <a:schemeClr val="bg2">
                    <a:lumMod val="25000"/>
                  </a:schemeClr>
                </a:solidFill>
              </a:endParaRPr>
            </a:p>
          </p:txBody>
        </p:sp>
        <p:sp>
          <p:nvSpPr>
            <p:cNvPr id="5" name="Rectangle 4"/>
            <p:cNvSpPr/>
            <p:nvPr/>
          </p:nvSpPr>
          <p:spPr>
            <a:xfrm>
              <a:off x="7766779" y="819953"/>
              <a:ext cx="4083066" cy="3774150"/>
            </a:xfrm>
            <a:prstGeom prst="rect">
              <a:avLst/>
            </a:prstGeom>
          </p:spPr>
          <p:txBody>
            <a:bodyPr wrap="square" lIns="175761" tIns="140609" rIns="175761" bIns="140609">
              <a:spAutoFit/>
            </a:bodyPr>
            <a:lstStyle/>
            <a:p>
              <a:pPr defTabSz="685845"/>
              <a:r>
                <a:rPr lang="en-US" sz="2800" dirty="0">
                  <a:latin typeface="Segoe UI Light"/>
                </a:rPr>
                <a:t>“We’re able to work more effectively with smaller crews for a variety of tasks and keep handwork to a minimum. We’ve increased productivity by at least 30 percent.” </a:t>
              </a:r>
            </a:p>
          </p:txBody>
        </p:sp>
      </p:grpSp>
      <p:pic>
        <p:nvPicPr>
          <p:cNvPr id="6" name="Pictur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90218" y="5405930"/>
            <a:ext cx="1154645" cy="486725"/>
          </a:xfrm>
          <a:prstGeom prst="rect">
            <a:avLst/>
          </a:prstGeom>
        </p:spPr>
      </p:pic>
    </p:spTree>
    <p:extLst>
      <p:ext uri="{BB962C8B-B14F-4D97-AF65-F5344CB8AC3E}">
        <p14:creationId xmlns:p14="http://schemas.microsoft.com/office/powerpoint/2010/main" val="247097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6_Custom Design">
  <a:themeElements>
    <a:clrScheme name="Custom 14">
      <a:dk1>
        <a:sysClr val="windowText" lastClr="000000"/>
      </a:dk1>
      <a:lt1>
        <a:sysClr val="window" lastClr="FFFFFF"/>
      </a:lt1>
      <a:dk2>
        <a:srgbClr val="000000"/>
      </a:dk2>
      <a:lt2>
        <a:srgbClr val="F8F8F8"/>
      </a:lt2>
      <a:accent1>
        <a:srgbClr val="0078D7"/>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7_Custom Design">
  <a:themeElements>
    <a:clrScheme name="Custom 14">
      <a:dk1>
        <a:sysClr val="windowText" lastClr="000000"/>
      </a:dk1>
      <a:lt1>
        <a:sysClr val="window" lastClr="FFFFFF"/>
      </a:lt1>
      <a:dk2>
        <a:srgbClr val="000000"/>
      </a:dk2>
      <a:lt2>
        <a:srgbClr val="F8F8F8"/>
      </a:lt2>
      <a:accent1>
        <a:srgbClr val="0078D7"/>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8_Custom Design">
  <a:themeElements>
    <a:clrScheme name="Custom 14">
      <a:dk1>
        <a:sysClr val="windowText" lastClr="000000"/>
      </a:dk1>
      <a:lt1>
        <a:sysClr val="window" lastClr="FFFFFF"/>
      </a:lt1>
      <a:dk2>
        <a:srgbClr val="000000"/>
      </a:dk2>
      <a:lt2>
        <a:srgbClr val="F8F8F8"/>
      </a:lt2>
      <a:accent1>
        <a:srgbClr val="0078D7"/>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9_Custom Design">
  <a:themeElements>
    <a:clrScheme name="Custom 14">
      <a:dk1>
        <a:sysClr val="windowText" lastClr="000000"/>
      </a:dk1>
      <a:lt1>
        <a:sysClr val="window" lastClr="FFFFFF"/>
      </a:lt1>
      <a:dk2>
        <a:srgbClr val="000000"/>
      </a:dk2>
      <a:lt2>
        <a:srgbClr val="F8F8F8"/>
      </a:lt2>
      <a:accent1>
        <a:srgbClr val="0078D7"/>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0_Custom Design">
  <a:themeElements>
    <a:clrScheme name="Custom 14">
      <a:dk1>
        <a:sysClr val="windowText" lastClr="000000"/>
      </a:dk1>
      <a:lt1>
        <a:sysClr val="window" lastClr="FFFFFF"/>
      </a:lt1>
      <a:dk2>
        <a:srgbClr val="000000"/>
      </a:dk2>
      <a:lt2>
        <a:srgbClr val="F8F8F8"/>
      </a:lt2>
      <a:accent1>
        <a:srgbClr val="0078D7"/>
      </a:accent1>
      <a:accent2>
        <a:srgbClr val="DC3C00"/>
      </a:accent2>
      <a:accent3>
        <a:srgbClr val="008272"/>
      </a:accent3>
      <a:accent4>
        <a:srgbClr val="68217A"/>
      </a:accent4>
      <a:accent5>
        <a:srgbClr val="737373"/>
      </a:accent5>
      <a:accent6>
        <a:srgbClr val="505050"/>
      </a:accent6>
      <a:hlink>
        <a:srgbClr val="5F5F5F"/>
      </a:hlink>
      <a:folHlink>
        <a:srgbClr val="919191"/>
      </a:folHlink>
    </a:clrScheme>
    <a:fontScheme name="Segoe UI">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30651 Convergence 2015 General Session 16x9">
  <a:themeElements>
    <a:clrScheme name="3-30651 GS Convergence15">
      <a:dk1>
        <a:srgbClr val="505050"/>
      </a:dk1>
      <a:lt1>
        <a:srgbClr val="FFFFFF"/>
      </a:lt1>
      <a:dk2>
        <a:srgbClr val="5C2D91"/>
      </a:dk2>
      <a:lt2>
        <a:srgbClr val="EAEAEA"/>
      </a:lt2>
      <a:accent1>
        <a:srgbClr val="A80000"/>
      </a:accent1>
      <a:accent2>
        <a:srgbClr val="0078D7"/>
      </a:accent2>
      <a:accent3>
        <a:srgbClr val="004B1C"/>
      </a:accent3>
      <a:accent4>
        <a:srgbClr val="BAD80A"/>
      </a:accent4>
      <a:accent5>
        <a:srgbClr val="00BCF2"/>
      </a:accent5>
      <a:accent6>
        <a:srgbClr val="FFB900"/>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2015_General_Session_16x9_v03.potx" id="{4B953143-F03C-4680-AC9B-1E10AF72104A}" vid="{639BA6A8-5342-4E9C-9FDC-B98E66D3490E}"/>
    </a:ext>
  </a:extLst>
</a:theme>
</file>

<file path=ppt/theme/theme8.xml><?xml version="1.0" encoding="utf-8"?>
<a:theme xmlns:a="http://schemas.openxmlformats.org/drawingml/2006/main" name="1_3-30651 Convergence 2015 General Session 16x9">
  <a:themeElements>
    <a:clrScheme name="3-30651 GS Convergence15">
      <a:dk1>
        <a:srgbClr val="505050"/>
      </a:dk1>
      <a:lt1>
        <a:srgbClr val="FFFFFF"/>
      </a:lt1>
      <a:dk2>
        <a:srgbClr val="5C2D91"/>
      </a:dk2>
      <a:lt2>
        <a:srgbClr val="EAEAEA"/>
      </a:lt2>
      <a:accent1>
        <a:srgbClr val="A80000"/>
      </a:accent1>
      <a:accent2>
        <a:srgbClr val="0078D7"/>
      </a:accent2>
      <a:accent3>
        <a:srgbClr val="004B1C"/>
      </a:accent3>
      <a:accent4>
        <a:srgbClr val="BAD80A"/>
      </a:accent4>
      <a:accent5>
        <a:srgbClr val="00BCF2"/>
      </a:accent5>
      <a:accent6>
        <a:srgbClr val="FFB900"/>
      </a:accent6>
      <a:hlink>
        <a:srgbClr val="5C2D91"/>
      </a:hlink>
      <a:folHlink>
        <a:srgbClr val="5C2D91"/>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onvergence_2015_General_Session_16x9_v03.potx" id="{4B953143-F03C-4680-AC9B-1E10AF72104A}" vid="{639BA6A8-5342-4E9C-9FDC-B98E66D3490E}"/>
    </a:ext>
  </a:extLst>
</a:theme>
</file>

<file path=ppt/theme/theme9.xml><?xml version="1.0" encoding="utf-8"?>
<a:theme xmlns:a="http://schemas.openxmlformats.org/drawingml/2006/main" name="STB Conversations 2013">
  <a:themeElements>
    <a:clrScheme name="IoT">
      <a:dk1>
        <a:srgbClr val="FFFFFF"/>
      </a:dk1>
      <a:lt1>
        <a:sysClr val="window" lastClr="FFFFFF"/>
      </a:lt1>
      <a:dk2>
        <a:srgbClr val="505050"/>
      </a:dk2>
      <a:lt2>
        <a:srgbClr val="0078D7"/>
      </a:lt2>
      <a:accent1>
        <a:srgbClr val="FFB900"/>
      </a:accent1>
      <a:accent2>
        <a:srgbClr val="D83B00"/>
      </a:accent2>
      <a:accent3>
        <a:srgbClr val="5C2D91"/>
      </a:accent3>
      <a:accent4>
        <a:srgbClr val="008272"/>
      </a:accent4>
      <a:accent5>
        <a:srgbClr val="002050"/>
      </a:accent5>
      <a:accent6>
        <a:srgbClr val="00BCF2"/>
      </a:accent6>
      <a:hlink>
        <a:srgbClr val="5F5F5F"/>
      </a:hlink>
      <a:folHlink>
        <a:srgbClr val="919191"/>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4"/>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000" b="1" dirty="0" smtClean="0">
            <a:solidFill>
              <a:schemeClr val="bg1"/>
            </a:solidFill>
            <a:latin typeface="+mj-lt"/>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noAutofit/>
      </a:bodyPr>
      <a:lstStyle>
        <a:defPPr>
          <a:lnSpc>
            <a:spcPct val="90000"/>
          </a:lnSpc>
          <a:spcAft>
            <a:spcPts val="600"/>
          </a:spcAft>
          <a:defRPr sz="2400" smtClean="0">
            <a:gradFill>
              <a:gsLst>
                <a:gs pos="2917">
                  <a:schemeClr val="tx1"/>
                </a:gs>
                <a:gs pos="30000">
                  <a:schemeClr val="tx1"/>
                </a:gs>
              </a:gsLst>
              <a:lin ang="5400000" scaled="0"/>
            </a:gradFill>
          </a:defRPr>
        </a:defPPr>
      </a:lstStyle>
    </a:tx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h9a868b2ee15488883f623ae5237ecae xmlns="12a172fe-0250-434a-85cf-03b10810c5e5">
      <Terms xmlns="http://schemas.microsoft.com/office/infopath/2007/PartnerControls"/>
    </h9a868b2ee15488883f623ae5237ecae>
    <k62f7d35b80b40fb8c27985e50b34fcd xmlns="12a172fe-0250-434a-85cf-03b10810c5e5">
      <Terms xmlns="http://schemas.microsoft.com/office/infopath/2007/PartnerControls"/>
    </k62f7d35b80b40fb8c27985e50b34fcd>
    <LikesCount xmlns="http://schemas.microsoft.com/sharepoint/v3" xsi:nil="true"/>
    <pfbfa50075a04958bd8757dc155d3e08 xmlns="12a172fe-0250-434a-85cf-03b10810c5e5">
      <Terms xmlns="http://schemas.microsoft.com/office/infopath/2007/PartnerControls">
        <TermInfo xmlns="http://schemas.microsoft.com/office/infopath/2007/PartnerControls">
          <TermName xmlns="http://schemas.microsoft.com/office/infopath/2007/PartnerControls">Atlanta</TermName>
          <TermId xmlns="http://schemas.microsoft.com/office/infopath/2007/PartnerControls">01fb9831-5840-48a0-a576-3e48f42baa53</TermId>
        </TermInfo>
      </Terms>
    </pfbfa50075a04958bd8757dc155d3e08>
    <Presentation_x0020_Date xmlns="12a172fe-0250-434a-85cf-03b10810c5e5">2015-03-17T07:00:00+00:00</Presentation_x0020_Date>
    <o72fbe6ee5ae4131af0832c08ec51202 xmlns="12a172fe-0250-434a-85cf-03b10810c5e5">
      <Terms xmlns="http://schemas.microsoft.com/office/infopath/2007/PartnerControls"/>
    </o72fbe6ee5ae4131af0832c08ec51202>
    <Event_x0020_Start_x0020_Date xmlns="12a172fe-0250-434a-85cf-03b10810c5e5">2015-03-16T07:00:00+00:00</Event_x0020_Start_x0020_Date>
    <MS_x0020_Content_x0020_Owner xmlns="12a172fe-0250-434a-85cf-03b10810c5e5">
      <UserInfo>
        <DisplayName>Tracy Stenhjem (Xtreme Consulting Group Inc)</DisplayName>
        <AccountId>8440</AccountId>
        <AccountType/>
      </UserInfo>
    </MS_x0020_Content_x0020_Owner>
    <MS_x0020_Speaker xmlns="12a172fe-0250-434a-85cf-03b10810c5e5">
      <UserInfo>
        <DisplayName/>
        <AccountId xsi:nil="true"/>
        <AccountType/>
      </UserInfo>
    </MS_x0020_Speaker>
    <External_x0020_Speaker xmlns="12a172fe-0250-434a-85cf-03b10810c5e5" xsi:nil="true"/>
    <Session_x0020_Code xmlns="12a172fe-0250-434a-85cf-03b10810c5e5">CS15T044</Session_x0020_Code>
    <le8386062bd54e24a95c83b32ccbdb34 xmlns="12a172fe-0250-434a-85cf-03b10810c5e5">
      <Terms xmlns="http://schemas.microsoft.com/office/infopath/2007/PartnerControls"/>
    </le8386062bd54e24a95c83b32ccbdb34>
    <j4d4d959795b4220a289a041ed046605 xmlns="12a172fe-0250-434a-85cf-03b10810c5e5">
      <Terms xmlns="http://schemas.microsoft.com/office/infopath/2007/PartnerControls"/>
    </j4d4d959795b4220a289a041ed046605>
    <Event_x0020_End_x0020_Date xmlns="12a172fe-0250-434a-85cf-03b10810c5e5">2015-03-19T07:00:00+00:00</Event_x0020_End_x0020_Date>
    <TaxKeywordTaxHTField xmlns="230e9df3-be65-4c73-a93b-d1236ebd677e">
      <Terms xmlns="http://schemas.microsoft.com/office/infopath/2007/PartnerControls"/>
    </TaxKeywordTaxHTField>
    <TaxCatchAll xmlns="230e9df3-be65-4c73-a93b-d1236ebd677e">
      <Value>196</Value>
    </TaxCatchAll>
    <eb9cf3a3af7b473faa5c9c98148a90a4 xmlns="12a172fe-0250-434a-85cf-03b10810c5e5">
      <Terms xmlns="http://schemas.microsoft.com/office/infopath/2007/PartnerControls"/>
    </eb9cf3a3af7b473faa5c9c98148a90a4>
    <SharedWithUsers xmlns="12a172fe-0250-434a-85cf-03b10810c5e5">
      <UserInfo>
        <DisplayName/>
        <AccountId xsi:nil="true"/>
        <AccountType/>
      </UserInfo>
    </SharedWithUsers>
    <_ip_UnifiedCompliancePolicyUIAction xmlns="http://schemas.microsoft.com/sharepoint/v3" xsi:nil="true"/>
    <_ip_UnifiedCompliancePolicyProperties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PresentationsDoc" ma:contentTypeID="0x01010046EBBE4F454C2C47A5E89CD935B1FC7800E83BCD34BAE21044A0567CF64FDFDE54" ma:contentTypeVersion="8" ma:contentTypeDescription="Create a new document." ma:contentTypeScope="" ma:versionID="53bab20f9588ec5cda1119ee75bf7ede">
  <xsd:schema xmlns:xsd="http://www.w3.org/2001/XMLSchema" xmlns:xs="http://www.w3.org/2001/XMLSchema" xmlns:p="http://schemas.microsoft.com/office/2006/metadata/properties" xmlns:ns1="http://schemas.microsoft.com/sharepoint/v3" xmlns:ns2="12a172fe-0250-434a-85cf-03b10810c5e5" xmlns:ns3="230e9df3-be65-4c73-a93b-d1236ebd677e" targetNamespace="http://schemas.microsoft.com/office/2006/metadata/properties" ma:root="true" ma:fieldsID="bf037927c5caf745e5f2af6fc2aa013d" ns1:_="" ns2:_="" ns3:_="">
    <xsd:import namespace="http://schemas.microsoft.com/sharepoint/v3"/>
    <xsd:import namespace="12a172fe-0250-434a-85cf-03b10810c5e5"/>
    <xsd:import namespace="230e9df3-be65-4c73-a93b-d1236ebd677e"/>
    <xsd:element name="properties">
      <xsd:complexType>
        <xsd:sequence>
          <xsd:element name="documentManagement">
            <xsd:complexType>
              <xsd:all>
                <xsd:element ref="ns2:k62f7d35b80b40fb8c27985e50b34fcd" minOccurs="0"/>
                <xsd:element ref="ns3:TaxCatchAll" minOccurs="0"/>
                <xsd:element ref="ns3:TaxCatchAllLabel" minOccurs="0"/>
                <xsd:element ref="ns2:pfbfa50075a04958bd8757dc155d3e08" minOccurs="0"/>
                <xsd:element ref="ns2:h9a868b2ee15488883f623ae5237ecae"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72fbe6ee5ae4131af0832c08ec51202" minOccurs="0"/>
                <xsd:element ref="ns2:eb9cf3a3af7b473faa5c9c98148a90a4" minOccurs="0"/>
                <xsd:element ref="ns2:Session_x0020_Code" minOccurs="0"/>
                <xsd:element ref="ns2:MS_x0020_Content_x0020_Owner" minOccurs="0"/>
                <xsd:element ref="ns2:le8386062bd54e24a95c83b32ccbdb34" minOccurs="0"/>
                <xsd:element ref="ns2:j4d4d959795b4220a289a041ed046605" minOccurs="0"/>
                <xsd:element ref="ns3:TaxKeywordTaxHTField" minOccurs="0"/>
                <xsd:element ref="ns1:AverageRating" minOccurs="0"/>
                <xsd:element ref="ns1:RatingCount" minOccurs="0"/>
                <xsd:element ref="ns1:LikesCount" minOccurs="0"/>
                <xsd:element ref="ns2:SharedWithUsers" minOccurs="0"/>
                <xsd:element ref="ns2:SharingHintHash" minOccurs="0"/>
                <xsd:element ref="ns2:SharedWithDetail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3" nillable="true" ma:displayName="Rating (0-5)" ma:decimals="2" ma:description="Average value of all the ratings that have been submitted" ma:internalName="AverageRating" ma:readOnly="true">
      <xsd:simpleType>
        <xsd:restriction base="dms:Number"/>
      </xsd:simpleType>
    </xsd:element>
    <xsd:element name="RatingCount" ma:index="34" nillable="true" ma:displayName="Number of Ratings" ma:decimals="0" ma:description="Number of ratings submitted" ma:internalName="RatingCount" ma:readOnly="true">
      <xsd:simpleType>
        <xsd:restriction base="dms:Number"/>
      </xsd:simpleType>
    </xsd:element>
    <xsd:element name="LikesCount" ma:index="35" nillable="true" ma:displayName="Number of Likes" ma:internalName="LikesCount">
      <xsd:simpleType>
        <xsd:restriction base="dms:Unknown"/>
      </xsd:simpleType>
    </xsd:element>
    <xsd:element name="_ip_UnifiedCompliancePolicyProperties" ma:index="40" nillable="true" ma:displayName="Unified Compliance Policy Properties" ma:hidden="true" ma:internalName="_ip_UnifiedCompliancePolicyProperties">
      <xsd:simpleType>
        <xsd:restriction base="dms:Note"/>
      </xsd:simpleType>
    </xsd:element>
    <xsd:element name="_ip_UnifiedCompliancePolicyUIAction" ma:index="4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2a172fe-0250-434a-85cf-03b10810c5e5" elementFormDefault="qualified">
    <xsd:import namespace="http://schemas.microsoft.com/office/2006/documentManagement/types"/>
    <xsd:import namespace="http://schemas.microsoft.com/office/infopath/2007/PartnerControls"/>
    <xsd:element name="k62f7d35b80b40fb8c27985e50b34fcd" ma:index="8" nillable="true" ma:taxonomy="true" ma:internalName="k62f7d35b80b40fb8c27985e50b34fcd" ma:taxonomyFieldName="Event_x0020_Name" ma:displayName="Event Name" ma:default="" ma:fieldId="{462f7d35-b80b-40fb-8c27-985e50b34fcd}"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pfbfa50075a04958bd8757dc155d3e08" ma:index="12" nillable="true" ma:taxonomy="true" ma:internalName="pfbfa50075a04958bd8757dc155d3e08" ma:taxonomyFieldName="Event_x0020_Location" ma:displayName="Event Location" ma:default="" ma:fieldId="{9fbfa500-75a0-4958-bd87-57dc155d3e08}"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h9a868b2ee15488883f623ae5237ecae" ma:index="14" nillable="true" ma:taxonomy="true" ma:internalName="h9a868b2ee15488883f623ae5237ecae" ma:taxonomyFieldName="Event_x0020_Venue" ma:displayName="Event Venue" ma:default="" ma:fieldId="{19a868b2-ee15-4888-83f6-23ae5237ecae}"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72fbe6ee5ae4131af0832c08ec51202" ma:index="21" nillable="true" ma:taxonomy="true" ma:internalName="o72fbe6ee5ae4131af0832c08ec51202" ma:taxonomyFieldName="Product" ma:displayName="Product" ma:default="" ma:fieldId="{872fbe6e-e5ae-4131-af08-32c08ec51202}" ma:taxonomyMulti="true" ma:sspId="e385fb40-52d4-4fae-9c5b-3e8ff8a5878e" ma:termSetId="e8298524-23d5-441d-8e61-21bed1c2c470" ma:anchorId="00000000-0000-0000-0000-000000000000" ma:open="false" ma:isKeyword="false">
      <xsd:complexType>
        <xsd:sequence>
          <xsd:element ref="pc:Terms" minOccurs="0" maxOccurs="1"/>
        </xsd:sequence>
      </xsd:complexType>
    </xsd:element>
    <xsd:element name="eb9cf3a3af7b473faa5c9c98148a90a4" ma:index="23" nillable="true" ma:taxonomy="true" ma:internalName="eb9cf3a3af7b473faa5c9c98148a90a4" ma:taxonomyFieldName="Campaign" ma:displayName="Campaign" ma:default="" ma:fieldId="{eb9cf3a3-af7b-473f-aa5c-9c98148a90a4}" ma:sspId="e385fb40-52d4-4fae-9c5b-3e8ff8a5878e" ma:termSetId="eb6054b1-3a98-4c79-97b4-d20150dd266e" ma:anchorId="a7bf803d-fc4f-4bb4-903c-88e76437cc17" ma:open="false" ma:isKeyword="false">
      <xsd:complexType>
        <xsd:sequence>
          <xsd:element ref="pc:Terms" minOccurs="0" maxOccurs="1"/>
        </xsd:sequence>
      </xsd:complexType>
    </xsd:element>
    <xsd:element name="Session_x0020_Code" ma:index="25" nillable="true" ma:displayName="Session Code" ma:internalName="Session_x0020_Code">
      <xsd:simpleType>
        <xsd:restriction base="dms:Text">
          <xsd:maxLength value="255"/>
        </xsd:restriction>
      </xsd:simpleType>
    </xsd:element>
    <xsd:element name="MS_x0020_Content_x0020_Owner" ma:index="26"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e8386062bd54e24a95c83b32ccbdb34" ma:index="27" nillable="true" ma:taxonomy="true" ma:internalName="le8386062bd54e24a95c83b32ccbdb34" ma:taxonomyFieldName="Track" ma:displayName="Track" ma:default="" ma:fieldId="{5e838606-2bd5-4e24-a95c-83b32ccbdb34}" ma:sspId="e385fb40-52d4-4fae-9c5b-3e8ff8a5878e" ma:termSetId="043e2b11-12ce-49cc-a347-2f73f2b7fe4b" ma:anchorId="00000000-0000-0000-0000-000000000000" ma:open="false" ma:isKeyword="false">
      <xsd:complexType>
        <xsd:sequence>
          <xsd:element ref="pc:Terms" minOccurs="0" maxOccurs="1"/>
        </xsd:sequence>
      </xsd:complexType>
    </xsd:element>
    <xsd:element name="j4d4d959795b4220a289a041ed046605" ma:index="29" nillable="true" ma:taxonomy="true" ma:internalName="j4d4d959795b4220a289a041ed046605" ma:taxonomyFieldName="Audience1" ma:displayName="Audience" ma:default="" ma:fieldId="{34d4d959-795b-4220-a289-a041ed046605}"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SharedWithUsers" ma:index="3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38" nillable="true" ma:displayName="Sharing Hint Hash" ma:internalName="SharingHintHash" ma:readOnly="true">
      <xsd:simpleType>
        <xsd:restriction base="dms:Text"/>
      </xsd:simpleType>
    </xsd:element>
    <xsd:element name="SharedWithDetails" ma:index="3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5b797c71-5459-41dc-9095-63a63c56aa91}" ma:internalName="TaxCatchAll" ma:showField="CatchAllData"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5b797c71-5459-41dc-9095-63a63c56aa91}" ma:internalName="TaxCatchAllLabel" ma:readOnly="true" ma:showField="CatchAllDataLabel" ma:web="12a172fe-0250-434a-85cf-03b10810c5e5">
      <xsd:complexType>
        <xsd:complexContent>
          <xsd:extension base="dms:MultiChoiceLookup">
            <xsd:sequence>
              <xsd:element name="Value" type="dms:Lookup" maxOccurs="unbounded" minOccurs="0" nillable="true"/>
            </xsd:sequence>
          </xsd:extension>
        </xsd:complexContent>
      </xsd:complexType>
    </xsd:element>
    <xsd:element name="TaxKeywordTaxHTField" ma:index="31"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ma:index="36"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2556095-A3A2-46F1-9CBD-75D915260591}">
  <ds:schemaRefs>
    <ds:schemaRef ds:uri="http://schemas.microsoft.com/office/2006/metadata/properties"/>
    <ds:schemaRef ds:uri="http://schemas.microsoft.com/office/infopath/2007/PartnerControls"/>
    <ds:schemaRef ds:uri="12a172fe-0250-434a-85cf-03b10810c5e5"/>
    <ds:schemaRef ds:uri="http://schemas.microsoft.com/sharepoint/v3"/>
    <ds:schemaRef ds:uri="230e9df3-be65-4c73-a93b-d1236ebd677e"/>
  </ds:schemaRefs>
</ds:datastoreItem>
</file>

<file path=customXml/itemProps2.xml><?xml version="1.0" encoding="utf-8"?>
<ds:datastoreItem xmlns:ds="http://schemas.openxmlformats.org/officeDocument/2006/customXml" ds:itemID="{E638E308-7600-44DC-A253-81544FB3AFFA}">
  <ds:schemaRefs>
    <ds:schemaRef ds:uri="http://schemas.microsoft.com/sharepoint/v3/contenttype/forms"/>
  </ds:schemaRefs>
</ds:datastoreItem>
</file>

<file path=customXml/itemProps3.xml><?xml version="1.0" encoding="utf-8"?>
<ds:datastoreItem xmlns:ds="http://schemas.openxmlformats.org/officeDocument/2006/customXml" ds:itemID="{34CBDC67-1509-4498-B94D-5023994FDE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12a172fe-0250-434a-85cf-03b10810c5e5"/>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5022</TotalTime>
  <Words>1601</Words>
  <Application>Microsoft Office PowerPoint</Application>
  <PresentationFormat>Widescreen</PresentationFormat>
  <Paragraphs>190</Paragraphs>
  <Slides>23</Slides>
  <Notes>23</Notes>
  <HiddenSlides>0</HiddenSlides>
  <MMClips>0</MMClips>
  <ScaleCrop>false</ScaleCrop>
  <HeadingPairs>
    <vt:vector size="8" baseType="variant">
      <vt:variant>
        <vt:lpstr>Fonts Used</vt:lpstr>
      </vt:variant>
      <vt:variant>
        <vt:i4>12</vt:i4>
      </vt:variant>
      <vt:variant>
        <vt:lpstr>Theme</vt:lpstr>
      </vt:variant>
      <vt:variant>
        <vt:i4>9</vt:i4>
      </vt:variant>
      <vt:variant>
        <vt:lpstr>Embedded OLE Servers</vt:lpstr>
      </vt:variant>
      <vt:variant>
        <vt:i4>1</vt:i4>
      </vt:variant>
      <vt:variant>
        <vt:lpstr>Slide Titles</vt:lpstr>
      </vt:variant>
      <vt:variant>
        <vt:i4>23</vt:i4>
      </vt:variant>
    </vt:vector>
  </HeadingPairs>
  <TitlesOfParts>
    <vt:vector size="45" baseType="lpstr">
      <vt:lpstr>Arial</vt:lpstr>
      <vt:lpstr>Calibri</vt:lpstr>
      <vt:lpstr>Calibri Light</vt:lpstr>
      <vt:lpstr>Consolas</vt:lpstr>
      <vt:lpstr>MS PGothic</vt:lpstr>
      <vt:lpstr>MS PGothic</vt:lpstr>
      <vt:lpstr>Segoe Light</vt:lpstr>
      <vt:lpstr>Segoe UI</vt:lpstr>
      <vt:lpstr>Segoe UI Light</vt:lpstr>
      <vt:lpstr>Segoe UI Semibold</vt:lpstr>
      <vt:lpstr>Segoe UI Semilight</vt:lpstr>
      <vt:lpstr>Wingdings</vt:lpstr>
      <vt:lpstr>Office Theme</vt:lpstr>
      <vt:lpstr>16_Custom Design</vt:lpstr>
      <vt:lpstr>17_Custom Design</vt:lpstr>
      <vt:lpstr>18_Custom Design</vt:lpstr>
      <vt:lpstr>19_Custom Design</vt:lpstr>
      <vt:lpstr>20_Custom Design</vt:lpstr>
      <vt:lpstr>3-30651 Convergence 2015 General Session 16x9</vt:lpstr>
      <vt:lpstr>1_3-30651 Convergence 2015 General Session 16x9</vt:lpstr>
      <vt:lpstr>STB Conversations 2013</vt:lpstr>
      <vt:lpstr>think-cell Slide</vt:lpstr>
      <vt:lpstr>Create the Internet of Your Things</vt:lpstr>
      <vt:lpstr>What is the Internet of Things?</vt:lpstr>
      <vt:lpstr>PowerPoint Presentation</vt:lpstr>
      <vt:lpstr>PowerPoint Presentation</vt:lpstr>
      <vt:lpstr>Microsoft’s view</vt:lpstr>
      <vt:lpstr>Bringing the Internet of Things to life</vt:lpstr>
      <vt:lpstr>Bringing the Internet of Things to life</vt:lpstr>
      <vt:lpstr>Improve efficiency</vt:lpstr>
      <vt:lpstr>PowerPoint Presentation</vt:lpstr>
      <vt:lpstr>Enable Innovation</vt:lpstr>
      <vt:lpstr>PowerPoint Presentation</vt:lpstr>
      <vt:lpstr>Transform Your Business</vt:lpstr>
      <vt:lpstr>PowerPoint Presentation</vt:lpstr>
      <vt:lpstr>Bringing the Internet of Things to life </vt:lpstr>
      <vt:lpstr> Microsoft Azure IoT services</vt:lpstr>
      <vt:lpstr>Announcing…</vt:lpstr>
      <vt:lpstr>Azure IoT Suite</vt:lpstr>
      <vt:lpstr>Azure IoT Suite</vt:lpstr>
      <vt:lpstr>Azure IoT Suite</vt:lpstr>
      <vt:lpstr>Azure IoT Suite</vt:lpstr>
      <vt:lpstr>IoT Quick Start consul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Internet of Things</dc:title>
  <dc:creator>Noury Bernard-Hasan (Nayamode Inc)</dc:creator>
  <cp:lastModifiedBy>Jan Pospisil</cp:lastModifiedBy>
  <cp:revision>148</cp:revision>
  <dcterms:created xsi:type="dcterms:W3CDTF">2015-03-05T17:59:01Z</dcterms:created>
  <dcterms:modified xsi:type="dcterms:W3CDTF">2015-12-03T08:37: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6EBBE4F454C2C47A5E89CD935B1FC7800E83BCD34BAE21044A0567CF64FDFDE54</vt:lpwstr>
  </property>
  <property fmtid="{D5CDD505-2E9C-101B-9397-08002B2CF9AE}" pid="3" name="TaxKeyword">
    <vt:lpwstr/>
  </property>
  <property fmtid="{D5CDD505-2E9C-101B-9397-08002B2CF9AE}" pid="4" name="Audience1">
    <vt:lpwstr/>
  </property>
  <property fmtid="{D5CDD505-2E9C-101B-9397-08002B2CF9AE}" pid="5" name="Event Name">
    <vt:lpwstr/>
  </property>
  <property fmtid="{D5CDD505-2E9C-101B-9397-08002B2CF9AE}" pid="6" name="Product">
    <vt:lpwstr/>
  </property>
  <property fmtid="{D5CDD505-2E9C-101B-9397-08002B2CF9AE}" pid="7" name="Event Venue">
    <vt:lpwstr/>
  </property>
  <property fmtid="{D5CDD505-2E9C-101B-9397-08002B2CF9AE}" pid="8" name="Track">
    <vt:lpwstr/>
  </property>
  <property fmtid="{D5CDD505-2E9C-101B-9397-08002B2CF9AE}" pid="9" name="Event Location">
    <vt:lpwstr>196;#Atlanta|01fb9831-5840-48a0-a576-3e48f42baa53</vt:lpwstr>
  </property>
  <property fmtid="{D5CDD505-2E9C-101B-9397-08002B2CF9AE}" pid="10" name="Campaign">
    <vt:lpwstr/>
  </property>
</Properties>
</file>